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4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handoutMasterIdLst>
    <p:handoutMasterId r:id="rId29"/>
  </p:handoutMasterIdLst>
  <p:sldIdLst>
    <p:sldId id="256" r:id="rId2"/>
    <p:sldId id="269" r:id="rId3"/>
    <p:sldId id="258" r:id="rId4"/>
    <p:sldId id="272" r:id="rId5"/>
    <p:sldId id="273" r:id="rId6"/>
    <p:sldId id="274" r:id="rId7"/>
    <p:sldId id="275" r:id="rId8"/>
    <p:sldId id="276" r:id="rId9"/>
    <p:sldId id="277" r:id="rId10"/>
    <p:sldId id="279" r:id="rId11"/>
    <p:sldId id="280" r:id="rId12"/>
    <p:sldId id="281" r:id="rId13"/>
    <p:sldId id="282" r:id="rId14"/>
    <p:sldId id="283" r:id="rId15"/>
    <p:sldId id="284" r:id="rId16"/>
    <p:sldId id="286" r:id="rId17"/>
    <p:sldId id="287" r:id="rId18"/>
    <p:sldId id="288" r:id="rId19"/>
    <p:sldId id="290" r:id="rId20"/>
    <p:sldId id="291" r:id="rId21"/>
    <p:sldId id="294" r:id="rId22"/>
    <p:sldId id="295" r:id="rId23"/>
    <p:sldId id="296" r:id="rId24"/>
    <p:sldId id="297" r:id="rId25"/>
    <p:sldId id="298" r:id="rId26"/>
    <p:sldId id="261" r:id="rId27"/>
  </p:sldIdLst>
  <p:sldSz cx="12192000" cy="6858000"/>
  <p:notesSz cx="6858000" cy="9144000"/>
  <p:custDataLst>
    <p:tags r:id="rId30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7C1F0"/>
    <a:srgbClr val="313C45"/>
    <a:srgbClr val="16C0F1"/>
    <a:srgbClr val="3D4D5D"/>
    <a:srgbClr val="2D3945"/>
    <a:srgbClr val="2B3840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89" d="100"/>
          <a:sy n="89" d="100"/>
        </p:scale>
        <p:origin x="44" y="332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-540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Relationship Id="rId8" Type="http://schemas.openxmlformats.org/officeDocument/2006/relationships/slide" Target="slides/slide7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1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>
            <a:extLst>
              <a:ext uri="{FF2B5EF4-FFF2-40B4-BE49-F238E27FC236}">
                <a16:creationId xmlns:a16="http://schemas.microsoft.com/office/drawing/2014/main" id="{18E0E893-E87D-4C87-B77D-A25813E33D17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860" b="29417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矩形 6">
            <a:extLst>
              <a:ext uri="{FF2B5EF4-FFF2-40B4-BE49-F238E27FC236}">
                <a16:creationId xmlns:a16="http://schemas.microsoft.com/office/drawing/2014/main" id="{60BE7C47-77B3-484A-A55A-8C076C878D06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41000">
                <a:schemeClr val="accent2"/>
              </a:gs>
              <a:gs pos="100000">
                <a:schemeClr val="accent2">
                  <a:alpha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127079" y="3851930"/>
            <a:ext cx="10391819" cy="341632"/>
          </a:xfrm>
          <a:noFill/>
        </p:spPr>
        <p:txBody>
          <a:bodyPr wrap="square">
            <a:spAutoFit/>
          </a:bodyPr>
          <a:lstStyle>
            <a:lvl1pPr marL="0" indent="0">
              <a:buNone/>
              <a:defRPr lang="en-US" u="sng" dirty="0"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pPr marL="0" lvl="0" defTabSz="914400"/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110217" y="1773936"/>
            <a:ext cx="6432160" cy="1833931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lnSpc>
                <a:spcPct val="120000"/>
              </a:lnSpc>
              <a:defRPr lang="zh-CN" altLang="en-US" sz="4000" b="0" dirty="0">
                <a:solidFill>
                  <a:schemeClr val="bg1"/>
                </a:solidFill>
                <a:latin typeface="+mj-ea"/>
              </a:defRPr>
            </a:lvl1pPr>
          </a:lstStyle>
          <a:p>
            <a:pPr marL="0" lvl="0" indent="0" fontAlgn="b">
              <a:lnSpc>
                <a:spcPct val="100000"/>
              </a:lnSpc>
              <a:buFont typeface="Arial" panose="020B0604020202020204" pitchFamily="34" charset="0"/>
            </a:pPr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9206727" y="5474393"/>
            <a:ext cx="2312172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9206727" y="5770664"/>
            <a:ext cx="2312172" cy="296271"/>
          </a:xfrm>
        </p:spPr>
        <p:txBody>
          <a:bodyPr vert="horz" anchor="ctr">
            <a:noAutofit/>
          </a:bodyPr>
          <a:lstStyle>
            <a:lvl1pPr marL="0" indent="0" algn="r">
              <a:buFont typeface="Arial" panose="020B0604020202020204" pitchFamily="34" charset="0"/>
              <a:buNone/>
              <a:defRPr sz="1400" b="0">
                <a:solidFill>
                  <a:schemeClr val="accent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grpSp>
        <p:nvGrpSpPr>
          <p:cNvPr id="154" name="组合 15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B321D1A-2D52-43E1-B3DB-3F4637B5373D}"/>
              </a:ext>
            </a:extLst>
          </p:cNvPr>
          <p:cNvGrpSpPr>
            <a:grpSpLocks noChangeAspect="1"/>
          </p:cNvGrpSpPr>
          <p:nvPr userDrawn="1">
            <p:custDataLst>
              <p:tags r:id="rId1"/>
            </p:custDataLst>
          </p:nvPr>
        </p:nvGrpSpPr>
        <p:grpSpPr>
          <a:xfrm>
            <a:off x="1211817" y="881904"/>
            <a:ext cx="2037291" cy="485589"/>
            <a:chOff x="2246313" y="2511425"/>
            <a:chExt cx="7699375" cy="1835150"/>
          </a:xfrm>
          <a:solidFill>
            <a:schemeClr val="bg1"/>
          </a:solidFill>
        </p:grpSpPr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455FA9AE-D314-43F0-97FA-66114F09E0AF}"/>
                </a:ext>
              </a:extLst>
            </p:cNvPr>
            <p:cNvSpPr/>
            <p:nvPr/>
          </p:nvSpPr>
          <p:spPr bwMode="auto">
            <a:xfrm>
              <a:off x="5649913" y="3900488"/>
              <a:ext cx="219075" cy="223838"/>
            </a:xfrm>
            <a:custGeom>
              <a:avLst/>
              <a:gdLst>
                <a:gd name="T0" fmla="*/ 143 w 283"/>
                <a:gd name="T1" fmla="*/ 170 h 288"/>
                <a:gd name="T2" fmla="*/ 209 w 283"/>
                <a:gd name="T3" fmla="*/ 170 h 288"/>
                <a:gd name="T4" fmla="*/ 209 w 283"/>
                <a:gd name="T5" fmla="*/ 216 h 288"/>
                <a:gd name="T6" fmla="*/ 98 w 283"/>
                <a:gd name="T7" fmla="*/ 216 h 288"/>
                <a:gd name="T8" fmla="*/ 69 w 283"/>
                <a:gd name="T9" fmla="*/ 185 h 288"/>
                <a:gd name="T10" fmla="*/ 69 w 283"/>
                <a:gd name="T11" fmla="*/ 96 h 288"/>
                <a:gd name="T12" fmla="*/ 98 w 283"/>
                <a:gd name="T13" fmla="*/ 67 h 288"/>
                <a:gd name="T14" fmla="*/ 269 w 283"/>
                <a:gd name="T15" fmla="*/ 67 h 288"/>
                <a:gd name="T16" fmla="*/ 269 w 283"/>
                <a:gd name="T17" fmla="*/ 0 h 288"/>
                <a:gd name="T18" fmla="*/ 76 w 283"/>
                <a:gd name="T19" fmla="*/ 0 h 288"/>
                <a:gd name="T20" fmla="*/ 0 w 283"/>
                <a:gd name="T21" fmla="*/ 89 h 288"/>
                <a:gd name="T22" fmla="*/ 0 w 283"/>
                <a:gd name="T23" fmla="*/ 177 h 288"/>
                <a:gd name="T24" fmla="*/ 106 w 283"/>
                <a:gd name="T25" fmla="*/ 288 h 288"/>
                <a:gd name="T26" fmla="*/ 283 w 283"/>
                <a:gd name="T27" fmla="*/ 288 h 288"/>
                <a:gd name="T28" fmla="*/ 283 w 283"/>
                <a:gd name="T29" fmla="*/ 115 h 288"/>
                <a:gd name="T30" fmla="*/ 143 w 283"/>
                <a:gd name="T31" fmla="*/ 115 h 288"/>
                <a:gd name="T32" fmla="*/ 143 w 283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3" h="288">
                  <a:moveTo>
                    <a:pt x="143" y="170"/>
                  </a:moveTo>
                  <a:cubicBezTo>
                    <a:pt x="209" y="170"/>
                    <a:pt x="209" y="170"/>
                    <a:pt x="209" y="170"/>
                  </a:cubicBezTo>
                  <a:cubicBezTo>
                    <a:pt x="209" y="216"/>
                    <a:pt x="209" y="216"/>
                    <a:pt x="209" y="216"/>
                  </a:cubicBezTo>
                  <a:cubicBezTo>
                    <a:pt x="98" y="216"/>
                    <a:pt x="98" y="216"/>
                    <a:pt x="98" y="216"/>
                  </a:cubicBezTo>
                  <a:cubicBezTo>
                    <a:pt x="81" y="216"/>
                    <a:pt x="69" y="202"/>
                    <a:pt x="69" y="185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79"/>
                    <a:pt x="81" y="67"/>
                    <a:pt x="98" y="67"/>
                  </a:cubicBezTo>
                  <a:cubicBezTo>
                    <a:pt x="269" y="67"/>
                    <a:pt x="269" y="67"/>
                    <a:pt x="269" y="6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5" y="0"/>
                    <a:pt x="0" y="49"/>
                    <a:pt x="0" y="89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8"/>
                    <a:pt x="35" y="288"/>
                    <a:pt x="106" y="288"/>
                  </a:cubicBezTo>
                  <a:cubicBezTo>
                    <a:pt x="283" y="288"/>
                    <a:pt x="283" y="288"/>
                    <a:pt x="283" y="288"/>
                  </a:cubicBezTo>
                  <a:cubicBezTo>
                    <a:pt x="283" y="115"/>
                    <a:pt x="283" y="115"/>
                    <a:pt x="283" y="115"/>
                  </a:cubicBezTo>
                  <a:cubicBezTo>
                    <a:pt x="143" y="115"/>
                    <a:pt x="143" y="115"/>
                    <a:pt x="143" y="115"/>
                  </a:cubicBezTo>
                  <a:lnTo>
                    <a:pt x="14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6" name="矩形 155">
              <a:extLst>
                <a:ext uri="{FF2B5EF4-FFF2-40B4-BE49-F238E27FC236}">
                  <a16:creationId xmlns:a16="http://schemas.microsoft.com/office/drawing/2014/main" id="{57C2FEF8-6A8F-4009-8705-10035C160B5D}"/>
                </a:ext>
              </a:extLst>
            </p:cNvPr>
            <p:cNvSpPr/>
            <p:nvPr/>
          </p:nvSpPr>
          <p:spPr bwMode="auto">
            <a:xfrm>
              <a:off x="6121401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9969DB03-D8B1-4C6D-9AE1-24E7D195F674}"/>
                </a:ext>
              </a:extLst>
            </p:cNvPr>
            <p:cNvSpPr/>
            <p:nvPr/>
          </p:nvSpPr>
          <p:spPr bwMode="auto">
            <a:xfrm>
              <a:off x="9520238" y="3900488"/>
              <a:ext cx="195263" cy="223838"/>
            </a:xfrm>
            <a:custGeom>
              <a:avLst/>
              <a:gdLst>
                <a:gd name="T0" fmla="*/ 0 w 123"/>
                <a:gd name="T1" fmla="*/ 37 h 141"/>
                <a:gd name="T2" fmla="*/ 43 w 123"/>
                <a:gd name="T3" fmla="*/ 37 h 141"/>
                <a:gd name="T4" fmla="*/ 43 w 123"/>
                <a:gd name="T5" fmla="*/ 141 h 141"/>
                <a:gd name="T6" fmla="*/ 79 w 123"/>
                <a:gd name="T7" fmla="*/ 141 h 141"/>
                <a:gd name="T8" fmla="*/ 79 w 123"/>
                <a:gd name="T9" fmla="*/ 37 h 141"/>
                <a:gd name="T10" fmla="*/ 123 w 123"/>
                <a:gd name="T11" fmla="*/ 37 h 141"/>
                <a:gd name="T12" fmla="*/ 123 w 123"/>
                <a:gd name="T13" fmla="*/ 0 h 141"/>
                <a:gd name="T14" fmla="*/ 0 w 123"/>
                <a:gd name="T15" fmla="*/ 0 h 141"/>
                <a:gd name="T16" fmla="*/ 0 w 123"/>
                <a:gd name="T17" fmla="*/ 3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141">
                  <a:moveTo>
                    <a:pt x="0" y="37"/>
                  </a:moveTo>
                  <a:lnTo>
                    <a:pt x="43" y="37"/>
                  </a:lnTo>
                  <a:lnTo>
                    <a:pt x="43" y="141"/>
                  </a:lnTo>
                  <a:lnTo>
                    <a:pt x="79" y="141"/>
                  </a:lnTo>
                  <a:lnTo>
                    <a:pt x="79" y="37"/>
                  </a:lnTo>
                  <a:lnTo>
                    <a:pt x="123" y="37"/>
                  </a:lnTo>
                  <a:lnTo>
                    <a:pt x="123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8" name="矩形 157">
              <a:extLst>
                <a:ext uri="{FF2B5EF4-FFF2-40B4-BE49-F238E27FC236}">
                  <a16:creationId xmlns:a16="http://schemas.microsoft.com/office/drawing/2014/main" id="{3A478BB3-A760-43AB-A732-22F49CE2B2F0}"/>
                </a:ext>
              </a:extLst>
            </p:cNvPr>
            <p:cNvSpPr/>
            <p:nvPr/>
          </p:nvSpPr>
          <p:spPr bwMode="auto">
            <a:xfrm>
              <a:off x="8416926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33436B7A-7355-4DE1-B9A8-428B3DE4EA20}"/>
                </a:ext>
              </a:extLst>
            </p:cNvPr>
            <p:cNvSpPr/>
            <p:nvPr/>
          </p:nvSpPr>
          <p:spPr bwMode="auto">
            <a:xfrm>
              <a:off x="5880101" y="3900488"/>
              <a:ext cx="225425" cy="223838"/>
            </a:xfrm>
            <a:custGeom>
              <a:avLst/>
              <a:gdLst>
                <a:gd name="T0" fmla="*/ 281 w 289"/>
                <a:gd name="T1" fmla="*/ 0 h 288"/>
                <a:gd name="T2" fmla="*/ 197 w 289"/>
                <a:gd name="T3" fmla="*/ 0 h 288"/>
                <a:gd name="T4" fmla="*/ 145 w 289"/>
                <a:gd name="T5" fmla="*/ 85 h 288"/>
                <a:gd name="T6" fmla="*/ 91 w 289"/>
                <a:gd name="T7" fmla="*/ 0 h 288"/>
                <a:gd name="T8" fmla="*/ 1 w 289"/>
                <a:gd name="T9" fmla="*/ 0 h 288"/>
                <a:gd name="T10" fmla="*/ 97 w 289"/>
                <a:gd name="T11" fmla="*/ 140 h 288"/>
                <a:gd name="T12" fmla="*/ 0 w 289"/>
                <a:gd name="T13" fmla="*/ 288 h 288"/>
                <a:gd name="T14" fmla="*/ 89 w 289"/>
                <a:gd name="T15" fmla="*/ 288 h 288"/>
                <a:gd name="T16" fmla="*/ 137 w 289"/>
                <a:gd name="T17" fmla="*/ 209 h 288"/>
                <a:gd name="T18" fmla="*/ 148 w 289"/>
                <a:gd name="T19" fmla="*/ 207 h 288"/>
                <a:gd name="T20" fmla="*/ 193 w 289"/>
                <a:gd name="T21" fmla="*/ 288 h 288"/>
                <a:gd name="T22" fmla="*/ 289 w 289"/>
                <a:gd name="T23" fmla="*/ 288 h 288"/>
                <a:gd name="T24" fmla="*/ 192 w 289"/>
                <a:gd name="T25" fmla="*/ 148 h 288"/>
                <a:gd name="T26" fmla="*/ 281 w 289"/>
                <a:gd name="T2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288">
                  <a:moveTo>
                    <a:pt x="281" y="0"/>
                  </a:moveTo>
                  <a:cubicBezTo>
                    <a:pt x="197" y="0"/>
                    <a:pt x="197" y="0"/>
                    <a:pt x="197" y="0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89" y="288"/>
                    <a:pt x="89" y="288"/>
                    <a:pt x="89" y="288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48" y="207"/>
                    <a:pt x="148" y="207"/>
                    <a:pt x="148" y="207"/>
                  </a:cubicBezTo>
                  <a:cubicBezTo>
                    <a:pt x="193" y="288"/>
                    <a:pt x="193" y="288"/>
                    <a:pt x="193" y="288"/>
                  </a:cubicBezTo>
                  <a:cubicBezTo>
                    <a:pt x="289" y="288"/>
                    <a:pt x="289" y="288"/>
                    <a:pt x="289" y="288"/>
                  </a:cubicBezTo>
                  <a:cubicBezTo>
                    <a:pt x="280" y="275"/>
                    <a:pt x="192" y="150"/>
                    <a:pt x="192" y="148"/>
                  </a:cubicBezTo>
                  <a:cubicBezTo>
                    <a:pt x="192" y="115"/>
                    <a:pt x="270" y="42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F9204CB1-A97A-48C8-9765-CDB517AC5A25}"/>
                </a:ext>
              </a:extLst>
            </p:cNvPr>
            <p:cNvSpPr/>
            <p:nvPr/>
          </p:nvSpPr>
          <p:spPr bwMode="auto">
            <a:xfrm>
              <a:off x="6810376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63 w 289"/>
                <a:gd name="T11" fmla="*/ 288 h 288"/>
                <a:gd name="T12" fmla="*/ 259 w 289"/>
                <a:gd name="T13" fmla="*/ 288 h 288"/>
                <a:gd name="T14" fmla="*/ 178 w 289"/>
                <a:gd name="T15" fmla="*/ 221 h 288"/>
                <a:gd name="T16" fmla="*/ 289 w 289"/>
                <a:gd name="T17" fmla="*/ 110 h 288"/>
                <a:gd name="T18" fmla="*/ 289 w 289"/>
                <a:gd name="T19" fmla="*/ 103 h 288"/>
                <a:gd name="T20" fmla="*/ 178 w 289"/>
                <a:gd name="T21" fmla="*/ 0 h 288"/>
                <a:gd name="T22" fmla="*/ 215 w 289"/>
                <a:gd name="T23" fmla="*/ 110 h 288"/>
                <a:gd name="T24" fmla="*/ 207 w 289"/>
                <a:gd name="T25" fmla="*/ 147 h 288"/>
                <a:gd name="T26" fmla="*/ 67 w 289"/>
                <a:gd name="T27" fmla="*/ 147 h 288"/>
                <a:gd name="T28" fmla="*/ 67 w 289"/>
                <a:gd name="T29" fmla="*/ 73 h 288"/>
                <a:gd name="T30" fmla="*/ 193 w 289"/>
                <a:gd name="T31" fmla="*/ 73 h 288"/>
                <a:gd name="T32" fmla="*/ 215 w 289"/>
                <a:gd name="T33" fmla="*/ 95 h 288"/>
                <a:gd name="T34" fmla="*/ 215 w 289"/>
                <a:gd name="T35" fmla="*/ 1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63" y="288"/>
                    <a:pt x="163" y="288"/>
                    <a:pt x="163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47" y="221"/>
                    <a:pt x="289" y="178"/>
                    <a:pt x="289" y="110"/>
                  </a:cubicBezTo>
                  <a:cubicBezTo>
                    <a:pt x="289" y="103"/>
                    <a:pt x="289" y="103"/>
                    <a:pt x="289" y="103"/>
                  </a:cubicBezTo>
                  <a:cubicBezTo>
                    <a:pt x="289" y="32"/>
                    <a:pt x="250" y="0"/>
                    <a:pt x="178" y="0"/>
                  </a:cubicBezTo>
                  <a:close/>
                  <a:moveTo>
                    <a:pt x="215" y="110"/>
                  </a:moveTo>
                  <a:cubicBezTo>
                    <a:pt x="215" y="130"/>
                    <a:pt x="211" y="131"/>
                    <a:pt x="207" y="147"/>
                  </a:cubicBezTo>
                  <a:cubicBezTo>
                    <a:pt x="67" y="147"/>
                    <a:pt x="67" y="147"/>
                    <a:pt x="67" y="147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210" y="73"/>
                    <a:pt x="215" y="78"/>
                    <a:pt x="215" y="95"/>
                  </a:cubicBezTo>
                  <a:lnTo>
                    <a:pt x="2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0FD2C963-AA4B-4BBC-BAEC-09B52BD63F86}"/>
                </a:ext>
              </a:extLst>
            </p:cNvPr>
            <p:cNvSpPr/>
            <p:nvPr/>
          </p:nvSpPr>
          <p:spPr bwMode="auto">
            <a:xfrm>
              <a:off x="4887913" y="3900488"/>
              <a:ext cx="223838" cy="223838"/>
            </a:xfrm>
            <a:custGeom>
              <a:avLst/>
              <a:gdLst>
                <a:gd name="T0" fmla="*/ 214 w 288"/>
                <a:gd name="T1" fmla="*/ 192 h 288"/>
                <a:gd name="T2" fmla="*/ 192 w 288"/>
                <a:gd name="T3" fmla="*/ 214 h 288"/>
                <a:gd name="T4" fmla="*/ 110 w 288"/>
                <a:gd name="T5" fmla="*/ 214 h 288"/>
                <a:gd name="T6" fmla="*/ 73 w 288"/>
                <a:gd name="T7" fmla="*/ 207 h 288"/>
                <a:gd name="T8" fmla="*/ 73 w 288"/>
                <a:gd name="T9" fmla="*/ 0 h 288"/>
                <a:gd name="T10" fmla="*/ 0 w 288"/>
                <a:gd name="T11" fmla="*/ 0 h 288"/>
                <a:gd name="T12" fmla="*/ 0 w 288"/>
                <a:gd name="T13" fmla="*/ 185 h 288"/>
                <a:gd name="T14" fmla="*/ 81 w 288"/>
                <a:gd name="T15" fmla="*/ 288 h 288"/>
                <a:gd name="T16" fmla="*/ 199 w 288"/>
                <a:gd name="T17" fmla="*/ 288 h 288"/>
                <a:gd name="T18" fmla="*/ 288 w 288"/>
                <a:gd name="T19" fmla="*/ 192 h 288"/>
                <a:gd name="T20" fmla="*/ 288 w 288"/>
                <a:gd name="T21" fmla="*/ 0 h 288"/>
                <a:gd name="T22" fmla="*/ 214 w 288"/>
                <a:gd name="T23" fmla="*/ 0 h 288"/>
                <a:gd name="T24" fmla="*/ 214 w 288"/>
                <a:gd name="T25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14" y="192"/>
                  </a:moveTo>
                  <a:cubicBezTo>
                    <a:pt x="214" y="209"/>
                    <a:pt x="209" y="214"/>
                    <a:pt x="192" y="214"/>
                  </a:cubicBezTo>
                  <a:cubicBezTo>
                    <a:pt x="110" y="214"/>
                    <a:pt x="110" y="214"/>
                    <a:pt x="110" y="214"/>
                  </a:cubicBezTo>
                  <a:cubicBezTo>
                    <a:pt x="90" y="214"/>
                    <a:pt x="90" y="211"/>
                    <a:pt x="73" y="20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235"/>
                    <a:pt x="42" y="288"/>
                    <a:pt x="81" y="288"/>
                  </a:cubicBezTo>
                  <a:cubicBezTo>
                    <a:pt x="199" y="288"/>
                    <a:pt x="199" y="288"/>
                    <a:pt x="199" y="288"/>
                  </a:cubicBezTo>
                  <a:cubicBezTo>
                    <a:pt x="249" y="288"/>
                    <a:pt x="288" y="245"/>
                    <a:pt x="288" y="19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21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DE3B517E-4ACD-45CA-AFDE-6F2C458921CD}"/>
                </a:ext>
              </a:extLst>
            </p:cNvPr>
            <p:cNvSpPr/>
            <p:nvPr/>
          </p:nvSpPr>
          <p:spPr bwMode="auto">
            <a:xfrm>
              <a:off x="8951913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70 w 289"/>
                <a:gd name="T11" fmla="*/ 288 h 288"/>
                <a:gd name="T12" fmla="*/ 267 w 289"/>
                <a:gd name="T13" fmla="*/ 288 h 288"/>
                <a:gd name="T14" fmla="*/ 178 w 289"/>
                <a:gd name="T15" fmla="*/ 214 h 288"/>
                <a:gd name="T16" fmla="*/ 289 w 289"/>
                <a:gd name="T17" fmla="*/ 133 h 288"/>
                <a:gd name="T18" fmla="*/ 289 w 289"/>
                <a:gd name="T19" fmla="*/ 74 h 288"/>
                <a:gd name="T20" fmla="*/ 178 w 289"/>
                <a:gd name="T21" fmla="*/ 0 h 288"/>
                <a:gd name="T22" fmla="*/ 222 w 289"/>
                <a:gd name="T23" fmla="*/ 111 h 288"/>
                <a:gd name="T24" fmla="*/ 193 w 289"/>
                <a:gd name="T25" fmla="*/ 140 h 288"/>
                <a:gd name="T26" fmla="*/ 74 w 289"/>
                <a:gd name="T27" fmla="*/ 140 h 288"/>
                <a:gd name="T28" fmla="*/ 74 w 289"/>
                <a:gd name="T29" fmla="*/ 66 h 288"/>
                <a:gd name="T30" fmla="*/ 163 w 289"/>
                <a:gd name="T31" fmla="*/ 66 h 288"/>
                <a:gd name="T32" fmla="*/ 222 w 289"/>
                <a:gd name="T33" fmla="*/ 96 h 288"/>
                <a:gd name="T34" fmla="*/ 222 w 289"/>
                <a:gd name="T35" fmla="*/ 11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267" y="288"/>
                    <a:pt x="267" y="288"/>
                    <a:pt x="267" y="288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239" y="214"/>
                    <a:pt x="289" y="190"/>
                    <a:pt x="289" y="133"/>
                  </a:cubicBezTo>
                  <a:cubicBezTo>
                    <a:pt x="289" y="74"/>
                    <a:pt x="289" y="74"/>
                    <a:pt x="289" y="74"/>
                  </a:cubicBezTo>
                  <a:cubicBezTo>
                    <a:pt x="289" y="17"/>
                    <a:pt x="236" y="0"/>
                    <a:pt x="178" y="0"/>
                  </a:cubicBezTo>
                  <a:close/>
                  <a:moveTo>
                    <a:pt x="222" y="111"/>
                  </a:moveTo>
                  <a:cubicBezTo>
                    <a:pt x="222" y="128"/>
                    <a:pt x="210" y="140"/>
                    <a:pt x="193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89" y="66"/>
                    <a:pt x="222" y="70"/>
                    <a:pt x="222" y="96"/>
                  </a:cubicBezTo>
                  <a:lnTo>
                    <a:pt x="222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577C9504-CDE5-4A79-A472-3F05F634F445}"/>
                </a:ext>
              </a:extLst>
            </p:cNvPr>
            <p:cNvSpPr/>
            <p:nvPr/>
          </p:nvSpPr>
          <p:spPr bwMode="auto">
            <a:xfrm>
              <a:off x="4646613" y="3900488"/>
              <a:ext cx="217488" cy="223838"/>
            </a:xfrm>
            <a:custGeom>
              <a:avLst/>
              <a:gdLst>
                <a:gd name="T0" fmla="*/ 133 w 281"/>
                <a:gd name="T1" fmla="*/ 170 h 288"/>
                <a:gd name="T2" fmla="*/ 207 w 281"/>
                <a:gd name="T3" fmla="*/ 170 h 288"/>
                <a:gd name="T4" fmla="*/ 207 w 281"/>
                <a:gd name="T5" fmla="*/ 214 h 288"/>
                <a:gd name="T6" fmla="*/ 96 w 281"/>
                <a:gd name="T7" fmla="*/ 214 h 288"/>
                <a:gd name="T8" fmla="*/ 66 w 281"/>
                <a:gd name="T9" fmla="*/ 185 h 288"/>
                <a:gd name="T10" fmla="*/ 66 w 281"/>
                <a:gd name="T11" fmla="*/ 96 h 288"/>
                <a:gd name="T12" fmla="*/ 96 w 281"/>
                <a:gd name="T13" fmla="*/ 67 h 288"/>
                <a:gd name="T14" fmla="*/ 259 w 281"/>
                <a:gd name="T15" fmla="*/ 67 h 288"/>
                <a:gd name="T16" fmla="*/ 259 w 281"/>
                <a:gd name="T17" fmla="*/ 0 h 288"/>
                <a:gd name="T18" fmla="*/ 74 w 281"/>
                <a:gd name="T19" fmla="*/ 0 h 288"/>
                <a:gd name="T20" fmla="*/ 0 w 281"/>
                <a:gd name="T21" fmla="*/ 74 h 288"/>
                <a:gd name="T22" fmla="*/ 0 w 281"/>
                <a:gd name="T23" fmla="*/ 192 h 288"/>
                <a:gd name="T24" fmla="*/ 74 w 281"/>
                <a:gd name="T25" fmla="*/ 288 h 288"/>
                <a:gd name="T26" fmla="*/ 281 w 281"/>
                <a:gd name="T27" fmla="*/ 288 h 288"/>
                <a:gd name="T28" fmla="*/ 281 w 281"/>
                <a:gd name="T29" fmla="*/ 111 h 288"/>
                <a:gd name="T30" fmla="*/ 133 w 281"/>
                <a:gd name="T31" fmla="*/ 111 h 288"/>
                <a:gd name="T32" fmla="*/ 133 w 281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" h="288">
                  <a:moveTo>
                    <a:pt x="133" y="170"/>
                  </a:moveTo>
                  <a:cubicBezTo>
                    <a:pt x="207" y="170"/>
                    <a:pt x="207" y="170"/>
                    <a:pt x="207" y="170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66" y="202"/>
                    <a:pt x="66" y="185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79"/>
                    <a:pt x="79" y="67"/>
                    <a:pt x="96" y="67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7" y="0"/>
                    <a:pt x="0" y="37"/>
                    <a:pt x="0" y="7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40"/>
                    <a:pt x="37" y="288"/>
                    <a:pt x="74" y="288"/>
                  </a:cubicBezTo>
                  <a:cubicBezTo>
                    <a:pt x="281" y="288"/>
                    <a:pt x="281" y="288"/>
                    <a:pt x="281" y="288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133" y="111"/>
                    <a:pt x="133" y="111"/>
                    <a:pt x="133" y="111"/>
                  </a:cubicBezTo>
                  <a:lnTo>
                    <a:pt x="13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491A2332-C2E6-4A6C-8478-A1BEDD7F39D5}"/>
                </a:ext>
              </a:extLst>
            </p:cNvPr>
            <p:cNvSpPr/>
            <p:nvPr/>
          </p:nvSpPr>
          <p:spPr bwMode="auto">
            <a:xfrm>
              <a:off x="8497888" y="3900488"/>
              <a:ext cx="220663" cy="223838"/>
            </a:xfrm>
            <a:custGeom>
              <a:avLst/>
              <a:gdLst>
                <a:gd name="T0" fmla="*/ 70 w 139"/>
                <a:gd name="T1" fmla="*/ 103 h 141"/>
                <a:gd name="T2" fmla="*/ 38 w 139"/>
                <a:gd name="T3" fmla="*/ 0 h 141"/>
                <a:gd name="T4" fmla="*/ 0 w 139"/>
                <a:gd name="T5" fmla="*/ 0 h 141"/>
                <a:gd name="T6" fmla="*/ 49 w 139"/>
                <a:gd name="T7" fmla="*/ 141 h 141"/>
                <a:gd name="T8" fmla="*/ 91 w 139"/>
                <a:gd name="T9" fmla="*/ 141 h 141"/>
                <a:gd name="T10" fmla="*/ 139 w 139"/>
                <a:gd name="T11" fmla="*/ 0 h 141"/>
                <a:gd name="T12" fmla="*/ 101 w 139"/>
                <a:gd name="T13" fmla="*/ 0 h 141"/>
                <a:gd name="T14" fmla="*/ 70 w 139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141">
                  <a:moveTo>
                    <a:pt x="70" y="103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49" y="141"/>
                  </a:lnTo>
                  <a:lnTo>
                    <a:pt x="91" y="141"/>
                  </a:lnTo>
                  <a:lnTo>
                    <a:pt x="139" y="0"/>
                  </a:lnTo>
                  <a:lnTo>
                    <a:pt x="101" y="0"/>
                  </a:lnTo>
                  <a:lnTo>
                    <a:pt x="7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24AE1458-893F-47B4-8D50-E90CE529D74C}"/>
                </a:ext>
              </a:extLst>
            </p:cNvPr>
            <p:cNvSpPr/>
            <p:nvPr/>
          </p:nvSpPr>
          <p:spPr bwMode="auto">
            <a:xfrm>
              <a:off x="5389563" y="3900488"/>
              <a:ext cx="233363" cy="223838"/>
            </a:xfrm>
            <a:custGeom>
              <a:avLst/>
              <a:gdLst>
                <a:gd name="T0" fmla="*/ 114 w 147"/>
                <a:gd name="T1" fmla="*/ 110 h 141"/>
                <a:gd name="T2" fmla="*/ 51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3 w 147"/>
                <a:gd name="T9" fmla="*/ 141 h 141"/>
                <a:gd name="T10" fmla="*/ 33 w 147"/>
                <a:gd name="T11" fmla="*/ 26 h 141"/>
                <a:gd name="T12" fmla="*/ 97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4 w 147"/>
                <a:gd name="T19" fmla="*/ 0 h 141"/>
                <a:gd name="T20" fmla="*/ 114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C67AE7D0-D520-4490-B21C-F36A30ACE89C}"/>
                </a:ext>
              </a:extLst>
            </p:cNvPr>
            <p:cNvSpPr/>
            <p:nvPr/>
          </p:nvSpPr>
          <p:spPr bwMode="auto">
            <a:xfrm>
              <a:off x="6569076" y="3900488"/>
              <a:ext cx="223838" cy="223838"/>
            </a:xfrm>
            <a:custGeom>
              <a:avLst/>
              <a:gdLst>
                <a:gd name="T0" fmla="*/ 214 w 287"/>
                <a:gd name="T1" fmla="*/ 0 h 288"/>
                <a:gd name="T2" fmla="*/ 66 w 287"/>
                <a:gd name="T3" fmla="*/ 0 h 288"/>
                <a:gd name="T4" fmla="*/ 0 w 287"/>
                <a:gd name="T5" fmla="*/ 67 h 288"/>
                <a:gd name="T6" fmla="*/ 0 w 287"/>
                <a:gd name="T7" fmla="*/ 207 h 288"/>
                <a:gd name="T8" fmla="*/ 66 w 287"/>
                <a:gd name="T9" fmla="*/ 288 h 288"/>
                <a:gd name="T10" fmla="*/ 207 w 287"/>
                <a:gd name="T11" fmla="*/ 288 h 288"/>
                <a:gd name="T12" fmla="*/ 287 w 287"/>
                <a:gd name="T13" fmla="*/ 185 h 288"/>
                <a:gd name="T14" fmla="*/ 287 w 287"/>
                <a:gd name="T15" fmla="*/ 81 h 288"/>
                <a:gd name="T16" fmla="*/ 214 w 287"/>
                <a:gd name="T17" fmla="*/ 0 h 288"/>
                <a:gd name="T18" fmla="*/ 214 w 287"/>
                <a:gd name="T19" fmla="*/ 177 h 288"/>
                <a:gd name="T20" fmla="*/ 207 w 287"/>
                <a:gd name="T21" fmla="*/ 214 h 288"/>
                <a:gd name="T22" fmla="*/ 88 w 287"/>
                <a:gd name="T23" fmla="*/ 214 h 288"/>
                <a:gd name="T24" fmla="*/ 66 w 287"/>
                <a:gd name="T25" fmla="*/ 192 h 288"/>
                <a:gd name="T26" fmla="*/ 66 w 287"/>
                <a:gd name="T27" fmla="*/ 81 h 288"/>
                <a:gd name="T28" fmla="*/ 103 w 287"/>
                <a:gd name="T29" fmla="*/ 74 h 288"/>
                <a:gd name="T30" fmla="*/ 192 w 287"/>
                <a:gd name="T31" fmla="*/ 74 h 288"/>
                <a:gd name="T32" fmla="*/ 214 w 287"/>
                <a:gd name="T33" fmla="*/ 96 h 288"/>
                <a:gd name="T34" fmla="*/ 214 w 287"/>
                <a:gd name="T3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7" h="288">
                  <a:moveTo>
                    <a:pt x="214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7" y="0"/>
                    <a:pt x="0" y="44"/>
                    <a:pt x="0" y="6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0"/>
                    <a:pt x="38" y="288"/>
                    <a:pt x="66" y="288"/>
                  </a:cubicBezTo>
                  <a:cubicBezTo>
                    <a:pt x="207" y="288"/>
                    <a:pt x="207" y="288"/>
                    <a:pt x="207" y="288"/>
                  </a:cubicBezTo>
                  <a:cubicBezTo>
                    <a:pt x="254" y="288"/>
                    <a:pt x="287" y="233"/>
                    <a:pt x="287" y="185"/>
                  </a:cubicBezTo>
                  <a:cubicBezTo>
                    <a:pt x="287" y="81"/>
                    <a:pt x="287" y="81"/>
                    <a:pt x="287" y="81"/>
                  </a:cubicBezTo>
                  <a:cubicBezTo>
                    <a:pt x="287" y="55"/>
                    <a:pt x="243" y="0"/>
                    <a:pt x="214" y="0"/>
                  </a:cubicBezTo>
                  <a:close/>
                  <a:moveTo>
                    <a:pt x="214" y="177"/>
                  </a:moveTo>
                  <a:cubicBezTo>
                    <a:pt x="214" y="197"/>
                    <a:pt x="211" y="198"/>
                    <a:pt x="207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71" y="214"/>
                    <a:pt x="66" y="209"/>
                    <a:pt x="66" y="192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75" y="78"/>
                    <a:pt x="92" y="74"/>
                    <a:pt x="103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209" y="74"/>
                    <a:pt x="214" y="79"/>
                    <a:pt x="214" y="96"/>
                  </a:cubicBezTo>
                  <a:lnTo>
                    <a:pt x="21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652FA001-2CC1-4367-BEB3-47C131AE4F97}"/>
                </a:ext>
              </a:extLst>
            </p:cNvPr>
            <p:cNvSpPr/>
            <p:nvPr/>
          </p:nvSpPr>
          <p:spPr bwMode="auto">
            <a:xfrm>
              <a:off x="7051676" y="3900488"/>
              <a:ext cx="276225" cy="223838"/>
            </a:xfrm>
            <a:custGeom>
              <a:avLst/>
              <a:gdLst>
                <a:gd name="T0" fmla="*/ 87 w 174"/>
                <a:gd name="T1" fmla="*/ 105 h 141"/>
                <a:gd name="T2" fmla="*/ 57 w 174"/>
                <a:gd name="T3" fmla="*/ 0 h 141"/>
                <a:gd name="T4" fmla="*/ 0 w 174"/>
                <a:gd name="T5" fmla="*/ 0 h 141"/>
                <a:gd name="T6" fmla="*/ 0 w 174"/>
                <a:gd name="T7" fmla="*/ 141 h 141"/>
                <a:gd name="T8" fmla="*/ 33 w 174"/>
                <a:gd name="T9" fmla="*/ 141 h 141"/>
                <a:gd name="T10" fmla="*/ 33 w 174"/>
                <a:gd name="T11" fmla="*/ 29 h 141"/>
                <a:gd name="T12" fmla="*/ 71 w 174"/>
                <a:gd name="T13" fmla="*/ 141 h 141"/>
                <a:gd name="T14" fmla="*/ 104 w 174"/>
                <a:gd name="T15" fmla="*/ 141 h 141"/>
                <a:gd name="T16" fmla="*/ 143 w 174"/>
                <a:gd name="T17" fmla="*/ 25 h 141"/>
                <a:gd name="T18" fmla="*/ 145 w 174"/>
                <a:gd name="T19" fmla="*/ 141 h 141"/>
                <a:gd name="T20" fmla="*/ 174 w 174"/>
                <a:gd name="T21" fmla="*/ 141 h 141"/>
                <a:gd name="T22" fmla="*/ 174 w 174"/>
                <a:gd name="T23" fmla="*/ 0 h 141"/>
                <a:gd name="T24" fmla="*/ 118 w 174"/>
                <a:gd name="T25" fmla="*/ 0 h 141"/>
                <a:gd name="T26" fmla="*/ 87 w 174"/>
                <a:gd name="T27" fmla="*/ 10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141">
                  <a:moveTo>
                    <a:pt x="87" y="105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9"/>
                  </a:lnTo>
                  <a:lnTo>
                    <a:pt x="71" y="141"/>
                  </a:lnTo>
                  <a:lnTo>
                    <a:pt x="104" y="141"/>
                  </a:lnTo>
                  <a:lnTo>
                    <a:pt x="143" y="25"/>
                  </a:lnTo>
                  <a:lnTo>
                    <a:pt x="145" y="141"/>
                  </a:lnTo>
                  <a:lnTo>
                    <a:pt x="174" y="141"/>
                  </a:lnTo>
                  <a:lnTo>
                    <a:pt x="174" y="0"/>
                  </a:lnTo>
                  <a:lnTo>
                    <a:pt x="118" y="0"/>
                  </a:lnTo>
                  <a:lnTo>
                    <a:pt x="87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CB1CF34E-2A33-4692-9C9F-7315335B8483}"/>
                </a:ext>
              </a:extLst>
            </p:cNvPr>
            <p:cNvSpPr/>
            <p:nvPr/>
          </p:nvSpPr>
          <p:spPr bwMode="auto">
            <a:xfrm>
              <a:off x="9193213" y="3900488"/>
              <a:ext cx="223838" cy="223838"/>
            </a:xfrm>
            <a:custGeom>
              <a:avLst/>
              <a:gdLst>
                <a:gd name="T0" fmla="*/ 74 w 288"/>
                <a:gd name="T1" fmla="*/ 89 h 288"/>
                <a:gd name="T2" fmla="*/ 96 w 288"/>
                <a:gd name="T3" fmla="*/ 67 h 288"/>
                <a:gd name="T4" fmla="*/ 274 w 288"/>
                <a:gd name="T5" fmla="*/ 67 h 288"/>
                <a:gd name="T6" fmla="*/ 274 w 288"/>
                <a:gd name="T7" fmla="*/ 0 h 288"/>
                <a:gd name="T8" fmla="*/ 89 w 288"/>
                <a:gd name="T9" fmla="*/ 0 h 288"/>
                <a:gd name="T10" fmla="*/ 0 w 288"/>
                <a:gd name="T11" fmla="*/ 81 h 288"/>
                <a:gd name="T12" fmla="*/ 214 w 288"/>
                <a:gd name="T13" fmla="*/ 177 h 288"/>
                <a:gd name="T14" fmla="*/ 207 w 288"/>
                <a:gd name="T15" fmla="*/ 214 h 288"/>
                <a:gd name="T16" fmla="*/ 15 w 288"/>
                <a:gd name="T17" fmla="*/ 214 h 288"/>
                <a:gd name="T18" fmla="*/ 15 w 288"/>
                <a:gd name="T19" fmla="*/ 288 h 288"/>
                <a:gd name="T20" fmla="*/ 192 w 288"/>
                <a:gd name="T21" fmla="*/ 288 h 288"/>
                <a:gd name="T22" fmla="*/ 288 w 288"/>
                <a:gd name="T23" fmla="*/ 200 h 288"/>
                <a:gd name="T24" fmla="*/ 74 w 288"/>
                <a:gd name="T25" fmla="*/ 8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74" y="89"/>
                  </a:moveTo>
                  <a:cubicBezTo>
                    <a:pt x="74" y="72"/>
                    <a:pt x="79" y="67"/>
                    <a:pt x="96" y="67"/>
                  </a:cubicBezTo>
                  <a:cubicBezTo>
                    <a:pt x="274" y="67"/>
                    <a:pt x="274" y="67"/>
                    <a:pt x="274" y="67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44" y="0"/>
                    <a:pt x="0" y="37"/>
                    <a:pt x="0" y="81"/>
                  </a:cubicBezTo>
                  <a:cubicBezTo>
                    <a:pt x="0" y="199"/>
                    <a:pt x="120" y="155"/>
                    <a:pt x="214" y="177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46" y="288"/>
                    <a:pt x="288" y="252"/>
                    <a:pt x="288" y="200"/>
                  </a:cubicBezTo>
                  <a:cubicBezTo>
                    <a:pt x="288" y="57"/>
                    <a:pt x="74" y="145"/>
                    <a:pt x="74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C1D7209D-1B6F-4F6D-BE0C-88FDC1671703}"/>
                </a:ext>
              </a:extLst>
            </p:cNvPr>
            <p:cNvSpPr/>
            <p:nvPr/>
          </p:nvSpPr>
          <p:spPr bwMode="auto">
            <a:xfrm>
              <a:off x="9720263" y="3900488"/>
              <a:ext cx="219075" cy="223838"/>
            </a:xfrm>
            <a:custGeom>
              <a:avLst/>
              <a:gdLst>
                <a:gd name="T0" fmla="*/ 193 w 281"/>
                <a:gd name="T1" fmla="*/ 0 h 288"/>
                <a:gd name="T2" fmla="*/ 144 w 281"/>
                <a:gd name="T3" fmla="*/ 109 h 288"/>
                <a:gd name="T4" fmla="*/ 92 w 281"/>
                <a:gd name="T5" fmla="*/ 0 h 288"/>
                <a:gd name="T6" fmla="*/ 0 w 281"/>
                <a:gd name="T7" fmla="*/ 0 h 288"/>
                <a:gd name="T8" fmla="*/ 104 w 281"/>
                <a:gd name="T9" fmla="*/ 192 h 288"/>
                <a:gd name="T10" fmla="*/ 104 w 281"/>
                <a:gd name="T11" fmla="*/ 288 h 288"/>
                <a:gd name="T12" fmla="*/ 178 w 281"/>
                <a:gd name="T13" fmla="*/ 288 h 288"/>
                <a:gd name="T14" fmla="*/ 178 w 281"/>
                <a:gd name="T15" fmla="*/ 200 h 288"/>
                <a:gd name="T16" fmla="*/ 281 w 281"/>
                <a:gd name="T17" fmla="*/ 0 h 288"/>
                <a:gd name="T18" fmla="*/ 193 w 281"/>
                <a:gd name="T1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8">
                  <a:moveTo>
                    <a:pt x="193" y="0"/>
                  </a:moveTo>
                  <a:cubicBezTo>
                    <a:pt x="144" y="109"/>
                    <a:pt x="144" y="109"/>
                    <a:pt x="144" y="109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29"/>
                    <a:pt x="104" y="171"/>
                    <a:pt x="104" y="192"/>
                  </a:cubicBezTo>
                  <a:cubicBezTo>
                    <a:pt x="104" y="288"/>
                    <a:pt x="104" y="288"/>
                    <a:pt x="104" y="288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78" y="151"/>
                    <a:pt x="269" y="52"/>
                    <a:pt x="281" y="0"/>
                  </a:cubicBezTo>
                  <a:lnTo>
                    <a:pt x="1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E2A239E5-1A6E-447C-831F-A71549F6E524}"/>
                </a:ext>
              </a:extLst>
            </p:cNvPr>
            <p:cNvSpPr/>
            <p:nvPr/>
          </p:nvSpPr>
          <p:spPr bwMode="auto">
            <a:xfrm>
              <a:off x="7608888" y="3900488"/>
              <a:ext cx="182563" cy="223838"/>
            </a:xfrm>
            <a:custGeom>
              <a:avLst/>
              <a:gdLst>
                <a:gd name="T0" fmla="*/ 36 w 115"/>
                <a:gd name="T1" fmla="*/ 0 h 141"/>
                <a:gd name="T2" fmla="*/ 0 w 115"/>
                <a:gd name="T3" fmla="*/ 0 h 141"/>
                <a:gd name="T4" fmla="*/ 0 w 115"/>
                <a:gd name="T5" fmla="*/ 141 h 141"/>
                <a:gd name="T6" fmla="*/ 115 w 115"/>
                <a:gd name="T7" fmla="*/ 141 h 141"/>
                <a:gd name="T8" fmla="*/ 115 w 115"/>
                <a:gd name="T9" fmla="*/ 105 h 141"/>
                <a:gd name="T10" fmla="*/ 36 w 115"/>
                <a:gd name="T11" fmla="*/ 105 h 141"/>
                <a:gd name="T12" fmla="*/ 36 w 115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41">
                  <a:moveTo>
                    <a:pt x="36" y="0"/>
                  </a:moveTo>
                  <a:lnTo>
                    <a:pt x="0" y="0"/>
                  </a:lnTo>
                  <a:lnTo>
                    <a:pt x="0" y="141"/>
                  </a:lnTo>
                  <a:lnTo>
                    <a:pt x="115" y="141"/>
                  </a:lnTo>
                  <a:lnTo>
                    <a:pt x="115" y="105"/>
                  </a:lnTo>
                  <a:lnTo>
                    <a:pt x="36" y="105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8B0280B1-8B3A-41F6-B0C5-4F7865E6D2C0}"/>
                </a:ext>
              </a:extLst>
            </p:cNvPr>
            <p:cNvSpPr/>
            <p:nvPr/>
          </p:nvSpPr>
          <p:spPr bwMode="auto">
            <a:xfrm>
              <a:off x="7907338" y="3900488"/>
              <a:ext cx="223838" cy="223838"/>
            </a:xfrm>
            <a:custGeom>
              <a:avLst/>
              <a:gdLst>
                <a:gd name="T0" fmla="*/ 215 w 289"/>
                <a:gd name="T1" fmla="*/ 177 h 288"/>
                <a:gd name="T2" fmla="*/ 207 w 289"/>
                <a:gd name="T3" fmla="*/ 214 h 288"/>
                <a:gd name="T4" fmla="*/ 96 w 289"/>
                <a:gd name="T5" fmla="*/ 214 h 288"/>
                <a:gd name="T6" fmla="*/ 74 w 289"/>
                <a:gd name="T7" fmla="*/ 192 h 288"/>
                <a:gd name="T8" fmla="*/ 74 w 289"/>
                <a:gd name="T9" fmla="*/ 0 h 288"/>
                <a:gd name="T10" fmla="*/ 0 w 289"/>
                <a:gd name="T11" fmla="*/ 0 h 288"/>
                <a:gd name="T12" fmla="*/ 0 w 289"/>
                <a:gd name="T13" fmla="*/ 207 h 288"/>
                <a:gd name="T14" fmla="*/ 96 w 289"/>
                <a:gd name="T15" fmla="*/ 288 h 288"/>
                <a:gd name="T16" fmla="*/ 200 w 289"/>
                <a:gd name="T17" fmla="*/ 288 h 288"/>
                <a:gd name="T18" fmla="*/ 289 w 289"/>
                <a:gd name="T19" fmla="*/ 200 h 288"/>
                <a:gd name="T20" fmla="*/ 289 w 289"/>
                <a:gd name="T21" fmla="*/ 0 h 288"/>
                <a:gd name="T22" fmla="*/ 215 w 289"/>
                <a:gd name="T23" fmla="*/ 0 h 288"/>
                <a:gd name="T24" fmla="*/ 215 w 289"/>
                <a:gd name="T2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288">
                  <a:moveTo>
                    <a:pt x="215" y="177"/>
                  </a:moveTo>
                  <a:cubicBezTo>
                    <a:pt x="215" y="197"/>
                    <a:pt x="211" y="198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74" y="209"/>
                    <a:pt x="74" y="19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54"/>
                    <a:pt x="47" y="288"/>
                    <a:pt x="96" y="288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44" y="288"/>
                    <a:pt x="289" y="241"/>
                    <a:pt x="289" y="20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15" y="0"/>
                    <a:pt x="215" y="0"/>
                    <a:pt x="215" y="0"/>
                  </a:cubicBezTo>
                  <a:lnTo>
                    <a:pt x="21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79FC9D91-7A79-43BA-BB2B-B9F1B3814992}"/>
                </a:ext>
              </a:extLst>
            </p:cNvPr>
            <p:cNvSpPr/>
            <p:nvPr/>
          </p:nvSpPr>
          <p:spPr bwMode="auto">
            <a:xfrm>
              <a:off x="8732838" y="3900488"/>
              <a:ext cx="196850" cy="223838"/>
            </a:xfrm>
            <a:custGeom>
              <a:avLst/>
              <a:gdLst>
                <a:gd name="T0" fmla="*/ 37 w 124"/>
                <a:gd name="T1" fmla="*/ 84 h 141"/>
                <a:gd name="T2" fmla="*/ 106 w 124"/>
                <a:gd name="T3" fmla="*/ 84 h 141"/>
                <a:gd name="T4" fmla="*/ 106 w 124"/>
                <a:gd name="T5" fmla="*/ 55 h 141"/>
                <a:gd name="T6" fmla="*/ 37 w 124"/>
                <a:gd name="T7" fmla="*/ 55 h 141"/>
                <a:gd name="T8" fmla="*/ 37 w 124"/>
                <a:gd name="T9" fmla="*/ 33 h 141"/>
                <a:gd name="T10" fmla="*/ 116 w 124"/>
                <a:gd name="T11" fmla="*/ 33 h 141"/>
                <a:gd name="T12" fmla="*/ 116 w 124"/>
                <a:gd name="T13" fmla="*/ 0 h 141"/>
                <a:gd name="T14" fmla="*/ 0 w 124"/>
                <a:gd name="T15" fmla="*/ 0 h 141"/>
                <a:gd name="T16" fmla="*/ 0 w 124"/>
                <a:gd name="T17" fmla="*/ 141 h 141"/>
                <a:gd name="T18" fmla="*/ 124 w 124"/>
                <a:gd name="T19" fmla="*/ 141 h 141"/>
                <a:gd name="T20" fmla="*/ 124 w 124"/>
                <a:gd name="T21" fmla="*/ 105 h 141"/>
                <a:gd name="T22" fmla="*/ 37 w 124"/>
                <a:gd name="T23" fmla="*/ 105 h 141"/>
                <a:gd name="T24" fmla="*/ 37 w 124"/>
                <a:gd name="T25" fmla="*/ 8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41">
                  <a:moveTo>
                    <a:pt x="37" y="84"/>
                  </a:moveTo>
                  <a:lnTo>
                    <a:pt x="106" y="84"/>
                  </a:lnTo>
                  <a:lnTo>
                    <a:pt x="106" y="55"/>
                  </a:lnTo>
                  <a:lnTo>
                    <a:pt x="37" y="55"/>
                  </a:lnTo>
                  <a:lnTo>
                    <a:pt x="37" y="33"/>
                  </a:lnTo>
                  <a:lnTo>
                    <a:pt x="116" y="33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124" y="141"/>
                  </a:lnTo>
                  <a:lnTo>
                    <a:pt x="124" y="105"/>
                  </a:lnTo>
                  <a:lnTo>
                    <a:pt x="37" y="105"/>
                  </a:lnTo>
                  <a:lnTo>
                    <a:pt x="37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3" name="矩形 172">
              <a:extLst>
                <a:ext uri="{FF2B5EF4-FFF2-40B4-BE49-F238E27FC236}">
                  <a16:creationId xmlns:a16="http://schemas.microsoft.com/office/drawing/2014/main" id="{6531F472-6984-4D2D-90E3-01982398E56D}"/>
                </a:ext>
              </a:extLst>
            </p:cNvPr>
            <p:cNvSpPr/>
            <p:nvPr/>
          </p:nvSpPr>
          <p:spPr bwMode="auto">
            <a:xfrm>
              <a:off x="9439276" y="3900488"/>
              <a:ext cx="5238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FA546A7B-44DA-42E0-BFA5-4F5C2A43DCDB}"/>
                </a:ext>
              </a:extLst>
            </p:cNvPr>
            <p:cNvSpPr/>
            <p:nvPr/>
          </p:nvSpPr>
          <p:spPr bwMode="auto">
            <a:xfrm>
              <a:off x="6315076" y="3900488"/>
              <a:ext cx="231775" cy="223838"/>
            </a:xfrm>
            <a:custGeom>
              <a:avLst/>
              <a:gdLst>
                <a:gd name="T0" fmla="*/ 114 w 146"/>
                <a:gd name="T1" fmla="*/ 110 h 141"/>
                <a:gd name="T2" fmla="*/ 51 w 146"/>
                <a:gd name="T3" fmla="*/ 0 h 141"/>
                <a:gd name="T4" fmla="*/ 0 w 146"/>
                <a:gd name="T5" fmla="*/ 0 h 141"/>
                <a:gd name="T6" fmla="*/ 0 w 146"/>
                <a:gd name="T7" fmla="*/ 141 h 141"/>
                <a:gd name="T8" fmla="*/ 33 w 146"/>
                <a:gd name="T9" fmla="*/ 141 h 141"/>
                <a:gd name="T10" fmla="*/ 33 w 146"/>
                <a:gd name="T11" fmla="*/ 26 h 141"/>
                <a:gd name="T12" fmla="*/ 97 w 146"/>
                <a:gd name="T13" fmla="*/ 141 h 141"/>
                <a:gd name="T14" fmla="*/ 146 w 146"/>
                <a:gd name="T15" fmla="*/ 141 h 141"/>
                <a:gd name="T16" fmla="*/ 146 w 146"/>
                <a:gd name="T17" fmla="*/ 0 h 141"/>
                <a:gd name="T18" fmla="*/ 114 w 146"/>
                <a:gd name="T19" fmla="*/ 0 h 141"/>
                <a:gd name="T20" fmla="*/ 114 w 146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6" y="141"/>
                  </a:lnTo>
                  <a:lnTo>
                    <a:pt x="146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B664A36B-1365-4D57-A04B-099AAB64347D}"/>
                </a:ext>
              </a:extLst>
            </p:cNvPr>
            <p:cNvSpPr/>
            <p:nvPr/>
          </p:nvSpPr>
          <p:spPr bwMode="auto">
            <a:xfrm>
              <a:off x="5113338" y="3900488"/>
              <a:ext cx="263525" cy="223838"/>
            </a:xfrm>
            <a:custGeom>
              <a:avLst/>
              <a:gdLst>
                <a:gd name="T0" fmla="*/ 62 w 166"/>
                <a:gd name="T1" fmla="*/ 0 h 141"/>
                <a:gd name="T2" fmla="*/ 0 w 166"/>
                <a:gd name="T3" fmla="*/ 141 h 141"/>
                <a:gd name="T4" fmla="*/ 34 w 166"/>
                <a:gd name="T5" fmla="*/ 141 h 141"/>
                <a:gd name="T6" fmla="*/ 47 w 166"/>
                <a:gd name="T7" fmla="*/ 110 h 141"/>
                <a:gd name="T8" fmla="*/ 115 w 166"/>
                <a:gd name="T9" fmla="*/ 110 h 141"/>
                <a:gd name="T10" fmla="*/ 129 w 166"/>
                <a:gd name="T11" fmla="*/ 141 h 141"/>
                <a:gd name="T12" fmla="*/ 166 w 166"/>
                <a:gd name="T13" fmla="*/ 141 h 141"/>
                <a:gd name="T14" fmla="*/ 104 w 166"/>
                <a:gd name="T15" fmla="*/ 0 h 141"/>
                <a:gd name="T16" fmla="*/ 62 w 166"/>
                <a:gd name="T17" fmla="*/ 0 h 141"/>
                <a:gd name="T18" fmla="*/ 56 w 166"/>
                <a:gd name="T19" fmla="*/ 89 h 141"/>
                <a:gd name="T20" fmla="*/ 82 w 166"/>
                <a:gd name="T21" fmla="*/ 26 h 141"/>
                <a:gd name="T22" fmla="*/ 106 w 166"/>
                <a:gd name="T23" fmla="*/ 89 h 141"/>
                <a:gd name="T24" fmla="*/ 56 w 166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41">
                  <a:moveTo>
                    <a:pt x="62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5" y="110"/>
                  </a:lnTo>
                  <a:lnTo>
                    <a:pt x="129" y="141"/>
                  </a:lnTo>
                  <a:lnTo>
                    <a:pt x="166" y="141"/>
                  </a:lnTo>
                  <a:lnTo>
                    <a:pt x="104" y="0"/>
                  </a:lnTo>
                  <a:lnTo>
                    <a:pt x="62" y="0"/>
                  </a:lnTo>
                  <a:close/>
                  <a:moveTo>
                    <a:pt x="56" y="89"/>
                  </a:moveTo>
                  <a:lnTo>
                    <a:pt x="82" y="26"/>
                  </a:lnTo>
                  <a:lnTo>
                    <a:pt x="106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FF19F9F6-EF77-48B7-86CF-14937BF592B5}"/>
                </a:ext>
              </a:extLst>
            </p:cNvPr>
            <p:cNvSpPr/>
            <p:nvPr/>
          </p:nvSpPr>
          <p:spPr bwMode="auto">
            <a:xfrm>
              <a:off x="7337426" y="3900488"/>
              <a:ext cx="265113" cy="223838"/>
            </a:xfrm>
            <a:custGeom>
              <a:avLst/>
              <a:gdLst>
                <a:gd name="T0" fmla="*/ 63 w 167"/>
                <a:gd name="T1" fmla="*/ 0 h 141"/>
                <a:gd name="T2" fmla="*/ 0 w 167"/>
                <a:gd name="T3" fmla="*/ 141 h 141"/>
                <a:gd name="T4" fmla="*/ 34 w 167"/>
                <a:gd name="T5" fmla="*/ 141 h 141"/>
                <a:gd name="T6" fmla="*/ 47 w 167"/>
                <a:gd name="T7" fmla="*/ 110 h 141"/>
                <a:gd name="T8" fmla="*/ 116 w 167"/>
                <a:gd name="T9" fmla="*/ 110 h 141"/>
                <a:gd name="T10" fmla="*/ 130 w 167"/>
                <a:gd name="T11" fmla="*/ 141 h 141"/>
                <a:gd name="T12" fmla="*/ 167 w 167"/>
                <a:gd name="T13" fmla="*/ 141 h 141"/>
                <a:gd name="T14" fmla="*/ 105 w 167"/>
                <a:gd name="T15" fmla="*/ 0 h 141"/>
                <a:gd name="T16" fmla="*/ 63 w 167"/>
                <a:gd name="T17" fmla="*/ 0 h 141"/>
                <a:gd name="T18" fmla="*/ 56 w 167"/>
                <a:gd name="T19" fmla="*/ 89 h 141"/>
                <a:gd name="T20" fmla="*/ 83 w 167"/>
                <a:gd name="T21" fmla="*/ 26 h 141"/>
                <a:gd name="T22" fmla="*/ 107 w 167"/>
                <a:gd name="T23" fmla="*/ 89 h 141"/>
                <a:gd name="T24" fmla="*/ 56 w 167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41">
                  <a:moveTo>
                    <a:pt x="63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6" y="110"/>
                  </a:lnTo>
                  <a:lnTo>
                    <a:pt x="130" y="141"/>
                  </a:lnTo>
                  <a:lnTo>
                    <a:pt x="167" y="141"/>
                  </a:lnTo>
                  <a:lnTo>
                    <a:pt x="105" y="0"/>
                  </a:lnTo>
                  <a:lnTo>
                    <a:pt x="63" y="0"/>
                  </a:lnTo>
                  <a:close/>
                  <a:moveTo>
                    <a:pt x="56" y="89"/>
                  </a:moveTo>
                  <a:lnTo>
                    <a:pt x="83" y="26"/>
                  </a:lnTo>
                  <a:lnTo>
                    <a:pt x="107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F71D189A-7EB4-4977-9604-3012BDEC4792}"/>
                </a:ext>
              </a:extLst>
            </p:cNvPr>
            <p:cNvSpPr/>
            <p:nvPr/>
          </p:nvSpPr>
          <p:spPr bwMode="auto">
            <a:xfrm>
              <a:off x="8153401" y="3900488"/>
              <a:ext cx="233363" cy="223838"/>
            </a:xfrm>
            <a:custGeom>
              <a:avLst/>
              <a:gdLst>
                <a:gd name="T0" fmla="*/ 115 w 147"/>
                <a:gd name="T1" fmla="*/ 110 h 141"/>
                <a:gd name="T2" fmla="*/ 52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4 w 147"/>
                <a:gd name="T9" fmla="*/ 141 h 141"/>
                <a:gd name="T10" fmla="*/ 34 w 147"/>
                <a:gd name="T11" fmla="*/ 26 h 141"/>
                <a:gd name="T12" fmla="*/ 98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5 w 147"/>
                <a:gd name="T19" fmla="*/ 0 h 141"/>
                <a:gd name="T20" fmla="*/ 115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5" y="110"/>
                  </a:moveTo>
                  <a:lnTo>
                    <a:pt x="52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4" y="141"/>
                  </a:lnTo>
                  <a:lnTo>
                    <a:pt x="34" y="26"/>
                  </a:lnTo>
                  <a:lnTo>
                    <a:pt x="98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5" y="0"/>
                  </a:lnTo>
                  <a:lnTo>
                    <a:pt x="1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2575F536-D369-46D7-9ABF-1762A57F4484}"/>
                </a:ext>
              </a:extLst>
            </p:cNvPr>
            <p:cNvSpPr/>
            <p:nvPr/>
          </p:nvSpPr>
          <p:spPr bwMode="auto">
            <a:xfrm>
              <a:off x="6000751" y="3154363"/>
              <a:ext cx="139700" cy="80963"/>
            </a:xfrm>
            <a:custGeom>
              <a:avLst/>
              <a:gdLst>
                <a:gd name="T0" fmla="*/ 0 w 180"/>
                <a:gd name="T1" fmla="*/ 15 h 103"/>
                <a:gd name="T2" fmla="*/ 0 w 180"/>
                <a:gd name="T3" fmla="*/ 29 h 103"/>
                <a:gd name="T4" fmla="*/ 104 w 180"/>
                <a:gd name="T5" fmla="*/ 103 h 103"/>
                <a:gd name="T6" fmla="*/ 126 w 180"/>
                <a:gd name="T7" fmla="*/ 103 h 103"/>
                <a:gd name="T8" fmla="*/ 176 w 180"/>
                <a:gd name="T9" fmla="*/ 88 h 103"/>
                <a:gd name="T10" fmla="*/ 180 w 180"/>
                <a:gd name="T11" fmla="*/ 52 h 103"/>
                <a:gd name="T12" fmla="*/ 97 w 180"/>
                <a:gd name="T13" fmla="*/ 0 h 103"/>
                <a:gd name="T14" fmla="*/ 0 w 180"/>
                <a:gd name="T15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103">
                  <a:moveTo>
                    <a:pt x="0" y="15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32" y="41"/>
                    <a:pt x="74" y="103"/>
                    <a:pt x="104" y="103"/>
                  </a:cubicBezTo>
                  <a:cubicBezTo>
                    <a:pt x="126" y="103"/>
                    <a:pt x="126" y="103"/>
                    <a:pt x="126" y="103"/>
                  </a:cubicBezTo>
                  <a:cubicBezTo>
                    <a:pt x="153" y="103"/>
                    <a:pt x="152" y="95"/>
                    <a:pt x="176" y="88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63" y="33"/>
                    <a:pt x="115" y="0"/>
                    <a:pt x="97" y="0"/>
                  </a:cubicBezTo>
                  <a:cubicBezTo>
                    <a:pt x="46" y="0"/>
                    <a:pt x="34" y="6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5E504C5C-6DAF-4418-A8BD-F1347A123D08}"/>
                </a:ext>
              </a:extLst>
            </p:cNvPr>
            <p:cNvSpPr/>
            <p:nvPr/>
          </p:nvSpPr>
          <p:spPr bwMode="auto">
            <a:xfrm>
              <a:off x="8475663" y="3167063"/>
              <a:ext cx="298450" cy="377825"/>
            </a:xfrm>
            <a:custGeom>
              <a:avLst/>
              <a:gdLst>
                <a:gd name="T0" fmla="*/ 0 w 386"/>
                <a:gd name="T1" fmla="*/ 458 h 488"/>
                <a:gd name="T2" fmla="*/ 52 w 386"/>
                <a:gd name="T3" fmla="*/ 488 h 488"/>
                <a:gd name="T4" fmla="*/ 170 w 386"/>
                <a:gd name="T5" fmla="*/ 428 h 488"/>
                <a:gd name="T6" fmla="*/ 189 w 386"/>
                <a:gd name="T7" fmla="*/ 359 h 488"/>
                <a:gd name="T8" fmla="*/ 225 w 386"/>
                <a:gd name="T9" fmla="*/ 284 h 488"/>
                <a:gd name="T10" fmla="*/ 326 w 386"/>
                <a:gd name="T11" fmla="*/ 184 h 488"/>
                <a:gd name="T12" fmla="*/ 375 w 386"/>
                <a:gd name="T13" fmla="*/ 71 h 488"/>
                <a:gd name="T14" fmla="*/ 326 w 386"/>
                <a:gd name="T15" fmla="*/ 36 h 488"/>
                <a:gd name="T16" fmla="*/ 231 w 386"/>
                <a:gd name="T17" fmla="*/ 68 h 488"/>
                <a:gd name="T18" fmla="*/ 170 w 386"/>
                <a:gd name="T19" fmla="*/ 0 h 488"/>
                <a:gd name="T20" fmla="*/ 139 w 386"/>
                <a:gd name="T21" fmla="*/ 112 h 488"/>
                <a:gd name="T22" fmla="*/ 15 w 386"/>
                <a:gd name="T23" fmla="*/ 155 h 488"/>
                <a:gd name="T24" fmla="*/ 97 w 386"/>
                <a:gd name="T25" fmla="*/ 236 h 488"/>
                <a:gd name="T26" fmla="*/ 0 w 386"/>
                <a:gd name="T27" fmla="*/ 377 h 488"/>
                <a:gd name="T28" fmla="*/ 0 w 386"/>
                <a:gd name="T29" fmla="*/ 45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6" h="488">
                  <a:moveTo>
                    <a:pt x="0" y="458"/>
                  </a:moveTo>
                  <a:cubicBezTo>
                    <a:pt x="0" y="449"/>
                    <a:pt x="25" y="488"/>
                    <a:pt x="52" y="488"/>
                  </a:cubicBezTo>
                  <a:cubicBezTo>
                    <a:pt x="75" y="488"/>
                    <a:pt x="151" y="434"/>
                    <a:pt x="170" y="428"/>
                  </a:cubicBezTo>
                  <a:cubicBezTo>
                    <a:pt x="181" y="406"/>
                    <a:pt x="184" y="378"/>
                    <a:pt x="189" y="359"/>
                  </a:cubicBezTo>
                  <a:cubicBezTo>
                    <a:pt x="196" y="334"/>
                    <a:pt x="205" y="317"/>
                    <a:pt x="225" y="284"/>
                  </a:cubicBezTo>
                  <a:cubicBezTo>
                    <a:pt x="252" y="237"/>
                    <a:pt x="253" y="184"/>
                    <a:pt x="326" y="184"/>
                  </a:cubicBezTo>
                  <a:cubicBezTo>
                    <a:pt x="386" y="144"/>
                    <a:pt x="377" y="149"/>
                    <a:pt x="375" y="71"/>
                  </a:cubicBezTo>
                  <a:cubicBezTo>
                    <a:pt x="375" y="49"/>
                    <a:pt x="346" y="46"/>
                    <a:pt x="326" y="36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27" y="27"/>
                    <a:pt x="209" y="0"/>
                    <a:pt x="170" y="0"/>
                  </a:cubicBezTo>
                  <a:cubicBezTo>
                    <a:pt x="136" y="0"/>
                    <a:pt x="162" y="77"/>
                    <a:pt x="139" y="112"/>
                  </a:cubicBezTo>
                  <a:cubicBezTo>
                    <a:pt x="130" y="126"/>
                    <a:pt x="84" y="149"/>
                    <a:pt x="15" y="155"/>
                  </a:cubicBezTo>
                  <a:cubicBezTo>
                    <a:pt x="21" y="223"/>
                    <a:pt x="97" y="211"/>
                    <a:pt x="97" y="236"/>
                  </a:cubicBezTo>
                  <a:cubicBezTo>
                    <a:pt x="97" y="286"/>
                    <a:pt x="21" y="345"/>
                    <a:pt x="0" y="377"/>
                  </a:cubicBezTo>
                  <a:lnTo>
                    <a:pt x="0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4926C17E-702E-43AB-9332-56598B472D1E}"/>
                </a:ext>
              </a:extLst>
            </p:cNvPr>
            <p:cNvSpPr/>
            <p:nvPr/>
          </p:nvSpPr>
          <p:spPr bwMode="auto">
            <a:xfrm>
              <a:off x="8670926" y="3390900"/>
              <a:ext cx="150813" cy="195263"/>
            </a:xfrm>
            <a:custGeom>
              <a:avLst/>
              <a:gdLst>
                <a:gd name="T0" fmla="*/ 47 w 194"/>
                <a:gd name="T1" fmla="*/ 229 h 253"/>
                <a:gd name="T2" fmla="*/ 60 w 194"/>
                <a:gd name="T3" fmla="*/ 253 h 253"/>
                <a:gd name="T4" fmla="*/ 177 w 194"/>
                <a:gd name="T5" fmla="*/ 207 h 253"/>
                <a:gd name="T6" fmla="*/ 192 w 194"/>
                <a:gd name="T7" fmla="*/ 126 h 253"/>
                <a:gd name="T8" fmla="*/ 0 w 194"/>
                <a:gd name="T9" fmla="*/ 22 h 253"/>
                <a:gd name="T10" fmla="*/ 47 w 194"/>
                <a:gd name="T11" fmla="*/ 2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53">
                  <a:moveTo>
                    <a:pt x="47" y="229"/>
                  </a:moveTo>
                  <a:cubicBezTo>
                    <a:pt x="60" y="253"/>
                    <a:pt x="60" y="253"/>
                    <a:pt x="60" y="253"/>
                  </a:cubicBezTo>
                  <a:cubicBezTo>
                    <a:pt x="100" y="241"/>
                    <a:pt x="141" y="228"/>
                    <a:pt x="177" y="207"/>
                  </a:cubicBezTo>
                  <a:cubicBezTo>
                    <a:pt x="184" y="179"/>
                    <a:pt x="192" y="161"/>
                    <a:pt x="192" y="126"/>
                  </a:cubicBezTo>
                  <a:cubicBezTo>
                    <a:pt x="194" y="72"/>
                    <a:pt x="45" y="0"/>
                    <a:pt x="0" y="22"/>
                  </a:cubicBezTo>
                  <a:cubicBezTo>
                    <a:pt x="29" y="93"/>
                    <a:pt x="51" y="104"/>
                    <a:pt x="47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00502CA4-CB72-4665-9BC0-91D7A0DCAF6E}"/>
                </a:ext>
              </a:extLst>
            </p:cNvPr>
            <p:cNvSpPr/>
            <p:nvPr/>
          </p:nvSpPr>
          <p:spPr bwMode="auto">
            <a:xfrm>
              <a:off x="4613276" y="2873375"/>
              <a:ext cx="952500" cy="877888"/>
            </a:xfrm>
            <a:custGeom>
              <a:avLst/>
              <a:gdLst>
                <a:gd name="T0" fmla="*/ 812 w 1227"/>
                <a:gd name="T1" fmla="*/ 823 h 1132"/>
                <a:gd name="T2" fmla="*/ 776 w 1227"/>
                <a:gd name="T3" fmla="*/ 809 h 1132"/>
                <a:gd name="T4" fmla="*/ 821 w 1227"/>
                <a:gd name="T5" fmla="*/ 763 h 1132"/>
                <a:gd name="T6" fmla="*/ 945 w 1227"/>
                <a:gd name="T7" fmla="*/ 710 h 1132"/>
                <a:gd name="T8" fmla="*/ 990 w 1227"/>
                <a:gd name="T9" fmla="*/ 710 h 1132"/>
                <a:gd name="T10" fmla="*/ 886 w 1227"/>
                <a:gd name="T11" fmla="*/ 840 h 1132"/>
                <a:gd name="T12" fmla="*/ 819 w 1227"/>
                <a:gd name="T13" fmla="*/ 821 h 1132"/>
                <a:gd name="T14" fmla="*/ 812 w 1227"/>
                <a:gd name="T15" fmla="*/ 823 h 1132"/>
                <a:gd name="T16" fmla="*/ 257 w 1227"/>
                <a:gd name="T17" fmla="*/ 799 h 1132"/>
                <a:gd name="T18" fmla="*/ 144 w 1227"/>
                <a:gd name="T19" fmla="*/ 918 h 1132"/>
                <a:gd name="T20" fmla="*/ 117 w 1227"/>
                <a:gd name="T21" fmla="*/ 958 h 1132"/>
                <a:gd name="T22" fmla="*/ 63 w 1227"/>
                <a:gd name="T23" fmla="*/ 1015 h 1132"/>
                <a:gd name="T24" fmla="*/ 93 w 1227"/>
                <a:gd name="T25" fmla="*/ 1101 h 1132"/>
                <a:gd name="T26" fmla="*/ 161 w 1227"/>
                <a:gd name="T27" fmla="*/ 1021 h 1132"/>
                <a:gd name="T28" fmla="*/ 307 w 1227"/>
                <a:gd name="T29" fmla="*/ 864 h 1132"/>
                <a:gd name="T30" fmla="*/ 668 w 1227"/>
                <a:gd name="T31" fmla="*/ 624 h 1132"/>
                <a:gd name="T32" fmla="*/ 741 w 1227"/>
                <a:gd name="T33" fmla="*/ 578 h 1132"/>
                <a:gd name="T34" fmla="*/ 746 w 1227"/>
                <a:gd name="T35" fmla="*/ 585 h 1132"/>
                <a:gd name="T36" fmla="*/ 598 w 1227"/>
                <a:gd name="T37" fmla="*/ 769 h 1132"/>
                <a:gd name="T38" fmla="*/ 701 w 1227"/>
                <a:gd name="T39" fmla="*/ 866 h 1132"/>
                <a:gd name="T40" fmla="*/ 701 w 1227"/>
                <a:gd name="T41" fmla="*/ 888 h 1132"/>
                <a:gd name="T42" fmla="*/ 599 w 1227"/>
                <a:gd name="T43" fmla="*/ 971 h 1132"/>
                <a:gd name="T44" fmla="*/ 524 w 1227"/>
                <a:gd name="T45" fmla="*/ 1080 h 1132"/>
                <a:gd name="T46" fmla="*/ 531 w 1227"/>
                <a:gd name="T47" fmla="*/ 1117 h 1132"/>
                <a:gd name="T48" fmla="*/ 583 w 1227"/>
                <a:gd name="T49" fmla="*/ 1124 h 1132"/>
                <a:gd name="T50" fmla="*/ 620 w 1227"/>
                <a:gd name="T51" fmla="*/ 1124 h 1132"/>
                <a:gd name="T52" fmla="*/ 794 w 1227"/>
                <a:gd name="T53" fmla="*/ 951 h 1132"/>
                <a:gd name="T54" fmla="*/ 917 w 1227"/>
                <a:gd name="T55" fmla="*/ 904 h 1132"/>
                <a:gd name="T56" fmla="*/ 1034 w 1227"/>
                <a:gd name="T57" fmla="*/ 843 h 1132"/>
                <a:gd name="T58" fmla="*/ 1139 w 1227"/>
                <a:gd name="T59" fmla="*/ 682 h 1132"/>
                <a:gd name="T60" fmla="*/ 899 w 1227"/>
                <a:gd name="T61" fmla="*/ 649 h 1132"/>
                <a:gd name="T62" fmla="*/ 1017 w 1227"/>
                <a:gd name="T63" fmla="*/ 509 h 1132"/>
                <a:gd name="T64" fmla="*/ 1204 w 1227"/>
                <a:gd name="T65" fmla="*/ 459 h 1132"/>
                <a:gd name="T66" fmla="*/ 1227 w 1227"/>
                <a:gd name="T67" fmla="*/ 440 h 1132"/>
                <a:gd name="T68" fmla="*/ 1189 w 1227"/>
                <a:gd name="T69" fmla="*/ 407 h 1132"/>
                <a:gd name="T70" fmla="*/ 1167 w 1227"/>
                <a:gd name="T71" fmla="*/ 407 h 1132"/>
                <a:gd name="T72" fmla="*/ 1101 w 1227"/>
                <a:gd name="T73" fmla="*/ 422 h 1132"/>
                <a:gd name="T74" fmla="*/ 1101 w 1227"/>
                <a:gd name="T75" fmla="*/ 385 h 1132"/>
                <a:gd name="T76" fmla="*/ 1009 w 1227"/>
                <a:gd name="T77" fmla="*/ 312 h 1132"/>
                <a:gd name="T78" fmla="*/ 823 w 1227"/>
                <a:gd name="T79" fmla="*/ 366 h 1132"/>
                <a:gd name="T80" fmla="*/ 671 w 1227"/>
                <a:gd name="T81" fmla="*/ 449 h 1132"/>
                <a:gd name="T82" fmla="*/ 887 w 1227"/>
                <a:gd name="T83" fmla="*/ 410 h 1132"/>
                <a:gd name="T84" fmla="*/ 758 w 1227"/>
                <a:gd name="T85" fmla="*/ 538 h 1132"/>
                <a:gd name="T86" fmla="*/ 654 w 1227"/>
                <a:gd name="T87" fmla="*/ 559 h 1132"/>
                <a:gd name="T88" fmla="*/ 562 w 1227"/>
                <a:gd name="T89" fmla="*/ 596 h 1132"/>
                <a:gd name="T90" fmla="*/ 536 w 1227"/>
                <a:gd name="T91" fmla="*/ 598 h 1132"/>
                <a:gd name="T92" fmla="*/ 725 w 1227"/>
                <a:gd name="T93" fmla="*/ 372 h 1132"/>
                <a:gd name="T94" fmla="*/ 837 w 1227"/>
                <a:gd name="T95" fmla="*/ 277 h 1132"/>
                <a:gd name="T96" fmla="*/ 960 w 1227"/>
                <a:gd name="T97" fmla="*/ 200 h 1132"/>
                <a:gd name="T98" fmla="*/ 916 w 1227"/>
                <a:gd name="T99" fmla="*/ 171 h 1132"/>
                <a:gd name="T100" fmla="*/ 900 w 1227"/>
                <a:gd name="T101" fmla="*/ 53 h 1132"/>
                <a:gd name="T102" fmla="*/ 805 w 1227"/>
                <a:gd name="T103" fmla="*/ 23 h 1132"/>
                <a:gd name="T104" fmla="*/ 738 w 1227"/>
                <a:gd name="T105" fmla="*/ 8 h 1132"/>
                <a:gd name="T106" fmla="*/ 694 w 1227"/>
                <a:gd name="T107" fmla="*/ 45 h 1132"/>
                <a:gd name="T108" fmla="*/ 775 w 1227"/>
                <a:gd name="T109" fmla="*/ 215 h 1132"/>
                <a:gd name="T110" fmla="*/ 609 w 1227"/>
                <a:gd name="T111" fmla="*/ 257 h 1132"/>
                <a:gd name="T112" fmla="*/ 501 w 1227"/>
                <a:gd name="T113" fmla="*/ 309 h 1132"/>
                <a:gd name="T114" fmla="*/ 598 w 1227"/>
                <a:gd name="T115" fmla="*/ 341 h 1132"/>
                <a:gd name="T116" fmla="*/ 664 w 1227"/>
                <a:gd name="T117" fmla="*/ 326 h 1132"/>
                <a:gd name="T118" fmla="*/ 686 w 1227"/>
                <a:gd name="T119" fmla="*/ 326 h 1132"/>
                <a:gd name="T120" fmla="*/ 577 w 1227"/>
                <a:gd name="T121" fmla="*/ 446 h 1132"/>
                <a:gd name="T122" fmla="*/ 482 w 1227"/>
                <a:gd name="T123" fmla="*/ 573 h 1132"/>
                <a:gd name="T124" fmla="*/ 257 w 1227"/>
                <a:gd name="T125" fmla="*/ 799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7" h="1132">
                  <a:moveTo>
                    <a:pt x="812" y="823"/>
                  </a:moveTo>
                  <a:cubicBezTo>
                    <a:pt x="799" y="826"/>
                    <a:pt x="755" y="862"/>
                    <a:pt x="776" y="809"/>
                  </a:cubicBezTo>
                  <a:cubicBezTo>
                    <a:pt x="787" y="788"/>
                    <a:pt x="804" y="777"/>
                    <a:pt x="821" y="763"/>
                  </a:cubicBezTo>
                  <a:cubicBezTo>
                    <a:pt x="839" y="748"/>
                    <a:pt x="916" y="710"/>
                    <a:pt x="945" y="710"/>
                  </a:cubicBezTo>
                  <a:cubicBezTo>
                    <a:pt x="990" y="710"/>
                    <a:pt x="990" y="710"/>
                    <a:pt x="990" y="710"/>
                  </a:cubicBezTo>
                  <a:cubicBezTo>
                    <a:pt x="984" y="774"/>
                    <a:pt x="910" y="806"/>
                    <a:pt x="886" y="840"/>
                  </a:cubicBezTo>
                  <a:cubicBezTo>
                    <a:pt x="836" y="840"/>
                    <a:pt x="854" y="821"/>
                    <a:pt x="819" y="821"/>
                  </a:cubicBezTo>
                  <a:cubicBezTo>
                    <a:pt x="812" y="823"/>
                    <a:pt x="812" y="823"/>
                    <a:pt x="812" y="823"/>
                  </a:cubicBezTo>
                  <a:close/>
                  <a:moveTo>
                    <a:pt x="257" y="799"/>
                  </a:moveTo>
                  <a:cubicBezTo>
                    <a:pt x="144" y="918"/>
                    <a:pt x="144" y="918"/>
                    <a:pt x="144" y="918"/>
                  </a:cubicBezTo>
                  <a:cubicBezTo>
                    <a:pt x="141" y="922"/>
                    <a:pt x="148" y="933"/>
                    <a:pt x="117" y="958"/>
                  </a:cubicBezTo>
                  <a:cubicBezTo>
                    <a:pt x="92" y="978"/>
                    <a:pt x="68" y="986"/>
                    <a:pt x="63" y="1015"/>
                  </a:cubicBezTo>
                  <a:cubicBezTo>
                    <a:pt x="53" y="1069"/>
                    <a:pt x="0" y="1132"/>
                    <a:pt x="93" y="1101"/>
                  </a:cubicBezTo>
                  <a:cubicBezTo>
                    <a:pt x="152" y="1082"/>
                    <a:pt x="134" y="1056"/>
                    <a:pt x="161" y="1021"/>
                  </a:cubicBezTo>
                  <a:cubicBezTo>
                    <a:pt x="217" y="947"/>
                    <a:pt x="243" y="927"/>
                    <a:pt x="307" y="864"/>
                  </a:cubicBezTo>
                  <a:cubicBezTo>
                    <a:pt x="406" y="766"/>
                    <a:pt x="483" y="629"/>
                    <a:pt x="668" y="624"/>
                  </a:cubicBezTo>
                  <a:cubicBezTo>
                    <a:pt x="741" y="578"/>
                    <a:pt x="741" y="578"/>
                    <a:pt x="741" y="578"/>
                  </a:cubicBezTo>
                  <a:cubicBezTo>
                    <a:pt x="746" y="585"/>
                    <a:pt x="746" y="585"/>
                    <a:pt x="746" y="585"/>
                  </a:cubicBezTo>
                  <a:cubicBezTo>
                    <a:pt x="728" y="659"/>
                    <a:pt x="598" y="705"/>
                    <a:pt x="598" y="769"/>
                  </a:cubicBezTo>
                  <a:cubicBezTo>
                    <a:pt x="598" y="836"/>
                    <a:pt x="650" y="854"/>
                    <a:pt x="701" y="866"/>
                  </a:cubicBezTo>
                  <a:cubicBezTo>
                    <a:pt x="701" y="888"/>
                    <a:pt x="701" y="888"/>
                    <a:pt x="701" y="888"/>
                  </a:cubicBezTo>
                  <a:cubicBezTo>
                    <a:pt x="662" y="898"/>
                    <a:pt x="636" y="948"/>
                    <a:pt x="599" y="971"/>
                  </a:cubicBezTo>
                  <a:cubicBezTo>
                    <a:pt x="561" y="994"/>
                    <a:pt x="524" y="1019"/>
                    <a:pt x="524" y="1080"/>
                  </a:cubicBezTo>
                  <a:cubicBezTo>
                    <a:pt x="524" y="1100"/>
                    <a:pt x="527" y="1100"/>
                    <a:pt x="531" y="1117"/>
                  </a:cubicBezTo>
                  <a:cubicBezTo>
                    <a:pt x="554" y="1119"/>
                    <a:pt x="557" y="1124"/>
                    <a:pt x="583" y="1124"/>
                  </a:cubicBezTo>
                  <a:cubicBezTo>
                    <a:pt x="620" y="1124"/>
                    <a:pt x="620" y="1124"/>
                    <a:pt x="620" y="1124"/>
                  </a:cubicBezTo>
                  <a:cubicBezTo>
                    <a:pt x="683" y="1124"/>
                    <a:pt x="727" y="996"/>
                    <a:pt x="794" y="951"/>
                  </a:cubicBezTo>
                  <a:cubicBezTo>
                    <a:pt x="844" y="918"/>
                    <a:pt x="857" y="919"/>
                    <a:pt x="917" y="904"/>
                  </a:cubicBezTo>
                  <a:cubicBezTo>
                    <a:pt x="975" y="890"/>
                    <a:pt x="993" y="871"/>
                    <a:pt x="1034" y="843"/>
                  </a:cubicBezTo>
                  <a:cubicBezTo>
                    <a:pt x="1103" y="773"/>
                    <a:pt x="1158" y="776"/>
                    <a:pt x="1139" y="682"/>
                  </a:cubicBezTo>
                  <a:cubicBezTo>
                    <a:pt x="1128" y="626"/>
                    <a:pt x="993" y="644"/>
                    <a:pt x="899" y="649"/>
                  </a:cubicBezTo>
                  <a:cubicBezTo>
                    <a:pt x="903" y="608"/>
                    <a:pt x="988" y="536"/>
                    <a:pt x="1017" y="509"/>
                  </a:cubicBezTo>
                  <a:cubicBezTo>
                    <a:pt x="1061" y="471"/>
                    <a:pt x="1120" y="467"/>
                    <a:pt x="1204" y="459"/>
                  </a:cubicBezTo>
                  <a:cubicBezTo>
                    <a:pt x="1227" y="440"/>
                    <a:pt x="1227" y="440"/>
                    <a:pt x="1227" y="440"/>
                  </a:cubicBezTo>
                  <a:cubicBezTo>
                    <a:pt x="1218" y="427"/>
                    <a:pt x="1210" y="407"/>
                    <a:pt x="1189" y="407"/>
                  </a:cubicBezTo>
                  <a:cubicBezTo>
                    <a:pt x="1167" y="407"/>
                    <a:pt x="1167" y="407"/>
                    <a:pt x="1167" y="407"/>
                  </a:cubicBezTo>
                  <a:cubicBezTo>
                    <a:pt x="1135" y="407"/>
                    <a:pt x="1127" y="416"/>
                    <a:pt x="1101" y="422"/>
                  </a:cubicBezTo>
                  <a:cubicBezTo>
                    <a:pt x="1101" y="385"/>
                    <a:pt x="1101" y="385"/>
                    <a:pt x="1101" y="385"/>
                  </a:cubicBezTo>
                  <a:cubicBezTo>
                    <a:pt x="1105" y="344"/>
                    <a:pt x="1055" y="312"/>
                    <a:pt x="1009" y="312"/>
                  </a:cubicBezTo>
                  <a:cubicBezTo>
                    <a:pt x="1007" y="312"/>
                    <a:pt x="841" y="360"/>
                    <a:pt x="823" y="366"/>
                  </a:cubicBezTo>
                  <a:cubicBezTo>
                    <a:pt x="771" y="383"/>
                    <a:pt x="717" y="446"/>
                    <a:pt x="671" y="449"/>
                  </a:cubicBezTo>
                  <a:cubicBezTo>
                    <a:pt x="677" y="517"/>
                    <a:pt x="826" y="410"/>
                    <a:pt x="887" y="410"/>
                  </a:cubicBezTo>
                  <a:cubicBezTo>
                    <a:pt x="882" y="471"/>
                    <a:pt x="814" y="525"/>
                    <a:pt x="758" y="538"/>
                  </a:cubicBezTo>
                  <a:cubicBezTo>
                    <a:pt x="725" y="549"/>
                    <a:pt x="690" y="550"/>
                    <a:pt x="654" y="559"/>
                  </a:cubicBezTo>
                  <a:cubicBezTo>
                    <a:pt x="633" y="565"/>
                    <a:pt x="563" y="592"/>
                    <a:pt x="562" y="596"/>
                  </a:cubicBezTo>
                  <a:cubicBezTo>
                    <a:pt x="536" y="598"/>
                    <a:pt x="536" y="598"/>
                    <a:pt x="536" y="598"/>
                  </a:cubicBezTo>
                  <a:cubicBezTo>
                    <a:pt x="546" y="555"/>
                    <a:pt x="688" y="409"/>
                    <a:pt x="725" y="372"/>
                  </a:cubicBezTo>
                  <a:cubicBezTo>
                    <a:pt x="769" y="329"/>
                    <a:pt x="781" y="311"/>
                    <a:pt x="837" y="277"/>
                  </a:cubicBezTo>
                  <a:cubicBezTo>
                    <a:pt x="866" y="260"/>
                    <a:pt x="960" y="228"/>
                    <a:pt x="960" y="200"/>
                  </a:cubicBezTo>
                  <a:cubicBezTo>
                    <a:pt x="960" y="174"/>
                    <a:pt x="942" y="171"/>
                    <a:pt x="916" y="171"/>
                  </a:cubicBezTo>
                  <a:cubicBezTo>
                    <a:pt x="924" y="137"/>
                    <a:pt x="916" y="87"/>
                    <a:pt x="900" y="53"/>
                  </a:cubicBezTo>
                  <a:cubicBezTo>
                    <a:pt x="874" y="0"/>
                    <a:pt x="853" y="23"/>
                    <a:pt x="805" y="23"/>
                  </a:cubicBezTo>
                  <a:cubicBezTo>
                    <a:pt x="785" y="23"/>
                    <a:pt x="773" y="8"/>
                    <a:pt x="738" y="8"/>
                  </a:cubicBezTo>
                  <a:cubicBezTo>
                    <a:pt x="719" y="8"/>
                    <a:pt x="694" y="24"/>
                    <a:pt x="694" y="45"/>
                  </a:cubicBezTo>
                  <a:cubicBezTo>
                    <a:pt x="694" y="92"/>
                    <a:pt x="774" y="155"/>
                    <a:pt x="775" y="215"/>
                  </a:cubicBezTo>
                  <a:cubicBezTo>
                    <a:pt x="749" y="217"/>
                    <a:pt x="674" y="235"/>
                    <a:pt x="609" y="257"/>
                  </a:cubicBezTo>
                  <a:cubicBezTo>
                    <a:pt x="571" y="292"/>
                    <a:pt x="475" y="291"/>
                    <a:pt x="501" y="309"/>
                  </a:cubicBezTo>
                  <a:cubicBezTo>
                    <a:pt x="526" y="325"/>
                    <a:pt x="541" y="336"/>
                    <a:pt x="598" y="341"/>
                  </a:cubicBezTo>
                  <a:cubicBezTo>
                    <a:pt x="617" y="341"/>
                    <a:pt x="629" y="326"/>
                    <a:pt x="664" y="326"/>
                  </a:cubicBezTo>
                  <a:cubicBezTo>
                    <a:pt x="686" y="326"/>
                    <a:pt x="686" y="326"/>
                    <a:pt x="686" y="326"/>
                  </a:cubicBezTo>
                  <a:cubicBezTo>
                    <a:pt x="677" y="361"/>
                    <a:pt x="604" y="417"/>
                    <a:pt x="577" y="446"/>
                  </a:cubicBezTo>
                  <a:cubicBezTo>
                    <a:pt x="544" y="481"/>
                    <a:pt x="513" y="532"/>
                    <a:pt x="482" y="573"/>
                  </a:cubicBezTo>
                  <a:cubicBezTo>
                    <a:pt x="457" y="608"/>
                    <a:pt x="288" y="779"/>
                    <a:pt x="257" y="7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181CC94D-6E2C-438F-A1F3-1096C52F5C0B}"/>
                </a:ext>
              </a:extLst>
            </p:cNvPr>
            <p:cNvSpPr/>
            <p:nvPr/>
          </p:nvSpPr>
          <p:spPr bwMode="auto">
            <a:xfrm>
              <a:off x="5341938" y="3613150"/>
              <a:ext cx="165100" cy="138113"/>
            </a:xfrm>
            <a:custGeom>
              <a:avLst/>
              <a:gdLst>
                <a:gd name="T0" fmla="*/ 0 w 214"/>
                <a:gd name="T1" fmla="*/ 8 h 178"/>
                <a:gd name="T2" fmla="*/ 64 w 214"/>
                <a:gd name="T3" fmla="*/ 99 h 178"/>
                <a:gd name="T4" fmla="*/ 140 w 214"/>
                <a:gd name="T5" fmla="*/ 178 h 178"/>
                <a:gd name="T6" fmla="*/ 185 w 214"/>
                <a:gd name="T7" fmla="*/ 178 h 178"/>
                <a:gd name="T8" fmla="*/ 214 w 214"/>
                <a:gd name="T9" fmla="*/ 156 h 178"/>
                <a:gd name="T10" fmla="*/ 59 w 214"/>
                <a:gd name="T11" fmla="*/ 0 h 178"/>
                <a:gd name="T12" fmla="*/ 22 w 214"/>
                <a:gd name="T13" fmla="*/ 0 h 178"/>
                <a:gd name="T14" fmla="*/ 0 w 214"/>
                <a:gd name="T15" fmla="*/ 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78">
                  <a:moveTo>
                    <a:pt x="0" y="8"/>
                  </a:moveTo>
                  <a:cubicBezTo>
                    <a:pt x="5" y="28"/>
                    <a:pt x="48" y="71"/>
                    <a:pt x="64" y="99"/>
                  </a:cubicBezTo>
                  <a:cubicBezTo>
                    <a:pt x="84" y="134"/>
                    <a:pt x="87" y="178"/>
                    <a:pt x="140" y="178"/>
                  </a:cubicBezTo>
                  <a:cubicBezTo>
                    <a:pt x="185" y="178"/>
                    <a:pt x="185" y="178"/>
                    <a:pt x="185" y="178"/>
                  </a:cubicBezTo>
                  <a:cubicBezTo>
                    <a:pt x="199" y="178"/>
                    <a:pt x="214" y="165"/>
                    <a:pt x="214" y="156"/>
                  </a:cubicBezTo>
                  <a:cubicBezTo>
                    <a:pt x="214" y="88"/>
                    <a:pt x="128" y="0"/>
                    <a:pt x="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2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482E3C40-612A-4FAE-A756-FE359BBB6D15}"/>
                </a:ext>
              </a:extLst>
            </p:cNvPr>
            <p:cNvSpPr/>
            <p:nvPr/>
          </p:nvSpPr>
          <p:spPr bwMode="auto">
            <a:xfrm>
              <a:off x="5818188" y="3270250"/>
              <a:ext cx="520700" cy="263525"/>
            </a:xfrm>
            <a:custGeom>
              <a:avLst/>
              <a:gdLst>
                <a:gd name="T0" fmla="*/ 355 w 671"/>
                <a:gd name="T1" fmla="*/ 222 h 340"/>
                <a:gd name="T2" fmla="*/ 421 w 671"/>
                <a:gd name="T3" fmla="*/ 81 h 340"/>
                <a:gd name="T4" fmla="*/ 547 w 671"/>
                <a:gd name="T5" fmla="*/ 90 h 340"/>
                <a:gd name="T6" fmla="*/ 577 w 671"/>
                <a:gd name="T7" fmla="*/ 88 h 340"/>
                <a:gd name="T8" fmla="*/ 497 w 671"/>
                <a:gd name="T9" fmla="*/ 192 h 340"/>
                <a:gd name="T10" fmla="*/ 370 w 671"/>
                <a:gd name="T11" fmla="*/ 257 h 340"/>
                <a:gd name="T12" fmla="*/ 355 w 671"/>
                <a:gd name="T13" fmla="*/ 222 h 340"/>
                <a:gd name="T14" fmla="*/ 268 w 671"/>
                <a:gd name="T15" fmla="*/ 155 h 340"/>
                <a:gd name="T16" fmla="*/ 299 w 671"/>
                <a:gd name="T17" fmla="*/ 211 h 340"/>
                <a:gd name="T18" fmla="*/ 268 w 671"/>
                <a:gd name="T19" fmla="*/ 155 h 340"/>
                <a:gd name="T20" fmla="*/ 44 w 671"/>
                <a:gd name="T21" fmla="*/ 273 h 340"/>
                <a:gd name="T22" fmla="*/ 177 w 671"/>
                <a:gd name="T23" fmla="*/ 177 h 340"/>
                <a:gd name="T24" fmla="*/ 198 w 671"/>
                <a:gd name="T25" fmla="*/ 253 h 340"/>
                <a:gd name="T26" fmla="*/ 236 w 671"/>
                <a:gd name="T27" fmla="*/ 288 h 340"/>
                <a:gd name="T28" fmla="*/ 236 w 671"/>
                <a:gd name="T29" fmla="*/ 325 h 340"/>
                <a:gd name="T30" fmla="*/ 266 w 671"/>
                <a:gd name="T31" fmla="*/ 340 h 340"/>
                <a:gd name="T32" fmla="*/ 398 w 671"/>
                <a:gd name="T33" fmla="*/ 325 h 340"/>
                <a:gd name="T34" fmla="*/ 430 w 671"/>
                <a:gd name="T35" fmla="*/ 312 h 340"/>
                <a:gd name="T36" fmla="*/ 540 w 671"/>
                <a:gd name="T37" fmla="*/ 222 h 340"/>
                <a:gd name="T38" fmla="*/ 671 w 671"/>
                <a:gd name="T39" fmla="*/ 90 h 340"/>
                <a:gd name="T40" fmla="*/ 584 w 671"/>
                <a:gd name="T41" fmla="*/ 51 h 340"/>
                <a:gd name="T42" fmla="*/ 482 w 671"/>
                <a:gd name="T43" fmla="*/ 53 h 340"/>
                <a:gd name="T44" fmla="*/ 429 w 671"/>
                <a:gd name="T45" fmla="*/ 59 h 340"/>
                <a:gd name="T46" fmla="*/ 412 w 671"/>
                <a:gd name="T47" fmla="*/ 0 h 340"/>
                <a:gd name="T48" fmla="*/ 330 w 671"/>
                <a:gd name="T49" fmla="*/ 86 h 340"/>
                <a:gd name="T50" fmla="*/ 259 w 671"/>
                <a:gd name="T51" fmla="*/ 29 h 340"/>
                <a:gd name="T52" fmla="*/ 250 w 671"/>
                <a:gd name="T53" fmla="*/ 27 h 340"/>
                <a:gd name="T54" fmla="*/ 217 w 671"/>
                <a:gd name="T55" fmla="*/ 131 h 340"/>
                <a:gd name="T56" fmla="*/ 84 w 671"/>
                <a:gd name="T57" fmla="*/ 181 h 340"/>
                <a:gd name="T58" fmla="*/ 25 w 671"/>
                <a:gd name="T59" fmla="*/ 51 h 340"/>
                <a:gd name="T60" fmla="*/ 0 w 671"/>
                <a:gd name="T61" fmla="*/ 162 h 340"/>
                <a:gd name="T62" fmla="*/ 0 w 671"/>
                <a:gd name="T63" fmla="*/ 214 h 340"/>
                <a:gd name="T64" fmla="*/ 22 w 671"/>
                <a:gd name="T65" fmla="*/ 273 h 340"/>
                <a:gd name="T66" fmla="*/ 44 w 671"/>
                <a:gd name="T67" fmla="*/ 27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340">
                  <a:moveTo>
                    <a:pt x="355" y="222"/>
                  </a:moveTo>
                  <a:cubicBezTo>
                    <a:pt x="355" y="209"/>
                    <a:pt x="415" y="106"/>
                    <a:pt x="421" y="81"/>
                  </a:cubicBezTo>
                  <a:cubicBezTo>
                    <a:pt x="547" y="90"/>
                    <a:pt x="547" y="90"/>
                    <a:pt x="547" y="9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74" y="123"/>
                    <a:pt x="521" y="173"/>
                    <a:pt x="497" y="192"/>
                  </a:cubicBezTo>
                  <a:cubicBezTo>
                    <a:pt x="423" y="250"/>
                    <a:pt x="441" y="234"/>
                    <a:pt x="370" y="257"/>
                  </a:cubicBezTo>
                  <a:cubicBezTo>
                    <a:pt x="361" y="243"/>
                    <a:pt x="355" y="238"/>
                    <a:pt x="355" y="222"/>
                  </a:cubicBezTo>
                  <a:close/>
                  <a:moveTo>
                    <a:pt x="268" y="155"/>
                  </a:moveTo>
                  <a:cubicBezTo>
                    <a:pt x="333" y="102"/>
                    <a:pt x="342" y="120"/>
                    <a:pt x="299" y="211"/>
                  </a:cubicBezTo>
                  <a:cubicBezTo>
                    <a:pt x="276" y="256"/>
                    <a:pt x="271" y="212"/>
                    <a:pt x="268" y="155"/>
                  </a:cubicBezTo>
                  <a:close/>
                  <a:moveTo>
                    <a:pt x="44" y="273"/>
                  </a:moveTo>
                  <a:cubicBezTo>
                    <a:pt x="62" y="261"/>
                    <a:pt x="161" y="177"/>
                    <a:pt x="177" y="177"/>
                  </a:cubicBezTo>
                  <a:cubicBezTo>
                    <a:pt x="210" y="177"/>
                    <a:pt x="199" y="217"/>
                    <a:pt x="198" y="253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39" y="327"/>
                    <a:pt x="265" y="340"/>
                    <a:pt x="266" y="340"/>
                  </a:cubicBezTo>
                  <a:cubicBezTo>
                    <a:pt x="265" y="331"/>
                    <a:pt x="335" y="321"/>
                    <a:pt x="398" y="325"/>
                  </a:cubicBezTo>
                  <a:cubicBezTo>
                    <a:pt x="420" y="327"/>
                    <a:pt x="428" y="311"/>
                    <a:pt x="430" y="312"/>
                  </a:cubicBezTo>
                  <a:cubicBezTo>
                    <a:pt x="460" y="295"/>
                    <a:pt x="517" y="245"/>
                    <a:pt x="540" y="222"/>
                  </a:cubicBezTo>
                  <a:cubicBezTo>
                    <a:pt x="671" y="90"/>
                    <a:pt x="671" y="90"/>
                    <a:pt x="671" y="90"/>
                  </a:cubicBezTo>
                  <a:cubicBezTo>
                    <a:pt x="651" y="60"/>
                    <a:pt x="633" y="51"/>
                    <a:pt x="584" y="51"/>
                  </a:cubicBezTo>
                  <a:cubicBezTo>
                    <a:pt x="482" y="53"/>
                    <a:pt x="482" y="53"/>
                    <a:pt x="482" y="53"/>
                  </a:cubicBezTo>
                  <a:cubicBezTo>
                    <a:pt x="456" y="54"/>
                    <a:pt x="452" y="57"/>
                    <a:pt x="429" y="59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59" y="14"/>
                    <a:pt x="394" y="54"/>
                    <a:pt x="330" y="86"/>
                  </a:cubicBezTo>
                  <a:cubicBezTo>
                    <a:pt x="253" y="125"/>
                    <a:pt x="285" y="85"/>
                    <a:pt x="259" y="29"/>
                  </a:cubicBezTo>
                  <a:cubicBezTo>
                    <a:pt x="250" y="27"/>
                    <a:pt x="250" y="27"/>
                    <a:pt x="250" y="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72" y="146"/>
                    <a:pt x="74" y="56"/>
                    <a:pt x="25" y="51"/>
                  </a:cubicBezTo>
                  <a:cubicBezTo>
                    <a:pt x="17" y="86"/>
                    <a:pt x="0" y="121"/>
                    <a:pt x="0" y="16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37"/>
                    <a:pt x="13" y="257"/>
                    <a:pt x="22" y="273"/>
                  </a:cubicBezTo>
                  <a:lnTo>
                    <a:pt x="44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3C36E1CE-B4E1-4B5F-9DA3-CF5491D846A3}"/>
                </a:ext>
              </a:extLst>
            </p:cNvPr>
            <p:cNvSpPr/>
            <p:nvPr/>
          </p:nvSpPr>
          <p:spPr bwMode="auto">
            <a:xfrm>
              <a:off x="6592888" y="2959100"/>
              <a:ext cx="647700" cy="890588"/>
            </a:xfrm>
            <a:custGeom>
              <a:avLst/>
              <a:gdLst>
                <a:gd name="T0" fmla="*/ 45 w 836"/>
                <a:gd name="T1" fmla="*/ 695 h 1146"/>
                <a:gd name="T2" fmla="*/ 59 w 836"/>
                <a:gd name="T3" fmla="*/ 503 h 1146"/>
                <a:gd name="T4" fmla="*/ 126 w 836"/>
                <a:gd name="T5" fmla="*/ 525 h 1146"/>
                <a:gd name="T6" fmla="*/ 119 w 836"/>
                <a:gd name="T7" fmla="*/ 607 h 1146"/>
                <a:gd name="T8" fmla="*/ 223 w 836"/>
                <a:gd name="T9" fmla="*/ 552 h 1146"/>
                <a:gd name="T10" fmla="*/ 407 w 836"/>
                <a:gd name="T11" fmla="*/ 488 h 1146"/>
                <a:gd name="T12" fmla="*/ 429 w 836"/>
                <a:gd name="T13" fmla="*/ 814 h 1146"/>
                <a:gd name="T14" fmla="*/ 451 w 836"/>
                <a:gd name="T15" fmla="*/ 1146 h 1146"/>
                <a:gd name="T16" fmla="*/ 488 w 836"/>
                <a:gd name="T17" fmla="*/ 1087 h 1146"/>
                <a:gd name="T18" fmla="*/ 693 w 836"/>
                <a:gd name="T19" fmla="*/ 508 h 1146"/>
                <a:gd name="T20" fmla="*/ 836 w 836"/>
                <a:gd name="T21" fmla="*/ 311 h 1146"/>
                <a:gd name="T22" fmla="*/ 703 w 836"/>
                <a:gd name="T23" fmla="*/ 259 h 1146"/>
                <a:gd name="T24" fmla="*/ 614 w 836"/>
                <a:gd name="T25" fmla="*/ 274 h 1146"/>
                <a:gd name="T26" fmla="*/ 740 w 836"/>
                <a:gd name="T27" fmla="*/ 60 h 1146"/>
                <a:gd name="T28" fmla="*/ 372 w 836"/>
                <a:gd name="T29" fmla="*/ 165 h 1146"/>
                <a:gd name="T30" fmla="*/ 159 w 836"/>
                <a:gd name="T31" fmla="*/ 389 h 1146"/>
                <a:gd name="T32" fmla="*/ 59 w 836"/>
                <a:gd name="T33" fmla="*/ 437 h 1146"/>
                <a:gd name="T34" fmla="*/ 74 w 836"/>
                <a:gd name="T35" fmla="*/ 311 h 1146"/>
                <a:gd name="T36" fmla="*/ 104 w 836"/>
                <a:gd name="T37" fmla="*/ 348 h 1146"/>
                <a:gd name="T38" fmla="*/ 222 w 836"/>
                <a:gd name="T39" fmla="*/ 222 h 1146"/>
                <a:gd name="T40" fmla="*/ 294 w 836"/>
                <a:gd name="T41" fmla="*/ 60 h 1146"/>
                <a:gd name="T42" fmla="*/ 244 w 836"/>
                <a:gd name="T43" fmla="*/ 0 h 1146"/>
                <a:gd name="T44" fmla="*/ 133 w 836"/>
                <a:gd name="T45" fmla="*/ 45 h 1146"/>
                <a:gd name="T46" fmla="*/ 170 w 836"/>
                <a:gd name="T47" fmla="*/ 67 h 1146"/>
                <a:gd name="T48" fmla="*/ 119 w 836"/>
                <a:gd name="T49" fmla="*/ 126 h 1146"/>
                <a:gd name="T50" fmla="*/ 0 w 836"/>
                <a:gd name="T51" fmla="*/ 348 h 1146"/>
                <a:gd name="T52" fmla="*/ 22 w 836"/>
                <a:gd name="T53" fmla="*/ 681 h 1146"/>
                <a:gd name="T54" fmla="*/ 644 w 836"/>
                <a:gd name="T55" fmla="*/ 341 h 1146"/>
                <a:gd name="T56" fmla="*/ 578 w 836"/>
                <a:gd name="T57" fmla="*/ 474 h 1146"/>
                <a:gd name="T58" fmla="*/ 457 w 836"/>
                <a:gd name="T59" fmla="*/ 459 h 1146"/>
                <a:gd name="T60" fmla="*/ 427 w 836"/>
                <a:gd name="T61" fmla="*/ 459 h 1146"/>
                <a:gd name="T62" fmla="*/ 454 w 836"/>
                <a:gd name="T63" fmla="*/ 217 h 1146"/>
                <a:gd name="T64" fmla="*/ 227 w 836"/>
                <a:gd name="T65" fmla="*/ 474 h 1146"/>
                <a:gd name="T66" fmla="*/ 454 w 836"/>
                <a:gd name="T67" fmla="*/ 21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6" h="1146">
                  <a:moveTo>
                    <a:pt x="22" y="681"/>
                  </a:moveTo>
                  <a:cubicBezTo>
                    <a:pt x="45" y="695"/>
                    <a:pt x="45" y="695"/>
                    <a:pt x="45" y="695"/>
                  </a:cubicBezTo>
                  <a:cubicBezTo>
                    <a:pt x="56" y="700"/>
                    <a:pt x="67" y="669"/>
                    <a:pt x="67" y="649"/>
                  </a:cubicBezTo>
                  <a:cubicBezTo>
                    <a:pt x="59" y="503"/>
                    <a:pt x="59" y="503"/>
                    <a:pt x="59" y="503"/>
                  </a:cubicBezTo>
                  <a:cubicBezTo>
                    <a:pt x="117" y="504"/>
                    <a:pt x="117" y="504"/>
                    <a:pt x="117" y="504"/>
                  </a:cubicBezTo>
                  <a:cubicBezTo>
                    <a:pt x="126" y="525"/>
                    <a:pt x="126" y="525"/>
                    <a:pt x="126" y="525"/>
                  </a:cubicBezTo>
                  <a:cubicBezTo>
                    <a:pt x="122" y="543"/>
                    <a:pt x="119" y="547"/>
                    <a:pt x="119" y="570"/>
                  </a:cubicBezTo>
                  <a:cubicBezTo>
                    <a:pt x="119" y="607"/>
                    <a:pt x="119" y="607"/>
                    <a:pt x="119" y="607"/>
                  </a:cubicBezTo>
                  <a:cubicBezTo>
                    <a:pt x="124" y="615"/>
                    <a:pt x="124" y="615"/>
                    <a:pt x="124" y="615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96" y="585"/>
                    <a:pt x="296" y="585"/>
                    <a:pt x="296" y="585"/>
                  </a:cubicBezTo>
                  <a:cubicBezTo>
                    <a:pt x="336" y="558"/>
                    <a:pt x="357" y="493"/>
                    <a:pt x="407" y="488"/>
                  </a:cubicBezTo>
                  <a:cubicBezTo>
                    <a:pt x="408" y="540"/>
                    <a:pt x="430" y="570"/>
                    <a:pt x="429" y="636"/>
                  </a:cubicBezTo>
                  <a:cubicBezTo>
                    <a:pt x="429" y="695"/>
                    <a:pt x="429" y="755"/>
                    <a:pt x="429" y="814"/>
                  </a:cubicBezTo>
                  <a:cubicBezTo>
                    <a:pt x="429" y="873"/>
                    <a:pt x="429" y="932"/>
                    <a:pt x="429" y="991"/>
                  </a:cubicBezTo>
                  <a:cubicBezTo>
                    <a:pt x="429" y="1030"/>
                    <a:pt x="414" y="1146"/>
                    <a:pt x="451" y="1146"/>
                  </a:cubicBezTo>
                  <a:cubicBezTo>
                    <a:pt x="469" y="1146"/>
                    <a:pt x="473" y="1134"/>
                    <a:pt x="488" y="1124"/>
                  </a:cubicBezTo>
                  <a:cubicBezTo>
                    <a:pt x="488" y="1087"/>
                    <a:pt x="488" y="1087"/>
                    <a:pt x="488" y="1087"/>
                  </a:cubicBezTo>
                  <a:cubicBezTo>
                    <a:pt x="580" y="1026"/>
                    <a:pt x="534" y="826"/>
                    <a:pt x="562" y="703"/>
                  </a:cubicBezTo>
                  <a:cubicBezTo>
                    <a:pt x="562" y="572"/>
                    <a:pt x="623" y="559"/>
                    <a:pt x="693" y="508"/>
                  </a:cubicBezTo>
                  <a:cubicBezTo>
                    <a:pt x="720" y="487"/>
                    <a:pt x="836" y="352"/>
                    <a:pt x="836" y="318"/>
                  </a:cubicBezTo>
                  <a:cubicBezTo>
                    <a:pt x="836" y="311"/>
                    <a:pt x="836" y="311"/>
                    <a:pt x="836" y="311"/>
                  </a:cubicBezTo>
                  <a:cubicBezTo>
                    <a:pt x="836" y="293"/>
                    <a:pt x="802" y="259"/>
                    <a:pt x="784" y="259"/>
                  </a:cubicBezTo>
                  <a:cubicBezTo>
                    <a:pt x="703" y="259"/>
                    <a:pt x="703" y="259"/>
                    <a:pt x="703" y="259"/>
                  </a:cubicBezTo>
                  <a:cubicBezTo>
                    <a:pt x="663" y="259"/>
                    <a:pt x="662" y="274"/>
                    <a:pt x="622" y="274"/>
                  </a:cubicBezTo>
                  <a:cubicBezTo>
                    <a:pt x="614" y="274"/>
                    <a:pt x="614" y="274"/>
                    <a:pt x="614" y="274"/>
                  </a:cubicBezTo>
                  <a:cubicBezTo>
                    <a:pt x="602" y="274"/>
                    <a:pt x="592" y="270"/>
                    <a:pt x="592" y="259"/>
                  </a:cubicBezTo>
                  <a:cubicBezTo>
                    <a:pt x="592" y="181"/>
                    <a:pt x="718" y="152"/>
                    <a:pt x="740" y="60"/>
                  </a:cubicBezTo>
                  <a:cubicBezTo>
                    <a:pt x="721" y="47"/>
                    <a:pt x="695" y="23"/>
                    <a:pt x="666" y="23"/>
                  </a:cubicBezTo>
                  <a:cubicBezTo>
                    <a:pt x="558" y="23"/>
                    <a:pt x="428" y="109"/>
                    <a:pt x="372" y="165"/>
                  </a:cubicBezTo>
                  <a:cubicBezTo>
                    <a:pt x="349" y="187"/>
                    <a:pt x="285" y="258"/>
                    <a:pt x="275" y="282"/>
                  </a:cubicBezTo>
                  <a:cubicBezTo>
                    <a:pt x="250" y="343"/>
                    <a:pt x="242" y="385"/>
                    <a:pt x="159" y="389"/>
                  </a:cubicBezTo>
                  <a:cubicBezTo>
                    <a:pt x="82" y="444"/>
                    <a:pt x="82" y="444"/>
                    <a:pt x="82" y="444"/>
                  </a:cubicBezTo>
                  <a:cubicBezTo>
                    <a:pt x="59" y="437"/>
                    <a:pt x="59" y="437"/>
                    <a:pt x="59" y="437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12"/>
                    <a:pt x="63" y="319"/>
                    <a:pt x="74" y="311"/>
                  </a:cubicBezTo>
                  <a:cubicBezTo>
                    <a:pt x="75" y="335"/>
                    <a:pt x="72" y="348"/>
                    <a:pt x="96" y="348"/>
                  </a:cubicBezTo>
                  <a:cubicBezTo>
                    <a:pt x="104" y="348"/>
                    <a:pt x="104" y="348"/>
                    <a:pt x="104" y="348"/>
                  </a:cubicBezTo>
                  <a:cubicBezTo>
                    <a:pt x="127" y="348"/>
                    <a:pt x="247" y="270"/>
                    <a:pt x="259" y="252"/>
                  </a:cubicBezTo>
                  <a:cubicBezTo>
                    <a:pt x="251" y="239"/>
                    <a:pt x="243" y="222"/>
                    <a:pt x="222" y="222"/>
                  </a:cubicBezTo>
                  <a:cubicBezTo>
                    <a:pt x="188" y="219"/>
                    <a:pt x="188" y="219"/>
                    <a:pt x="188" y="219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77" y="16"/>
                    <a:pt x="255" y="0"/>
                    <a:pt x="24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84" y="0"/>
                    <a:pt x="133" y="9"/>
                    <a:pt x="133" y="45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228" y="67"/>
                    <a:pt x="135" y="247"/>
                    <a:pt x="74" y="252"/>
                  </a:cubicBezTo>
                  <a:cubicBezTo>
                    <a:pt x="78" y="204"/>
                    <a:pt x="119" y="164"/>
                    <a:pt x="119" y="126"/>
                  </a:cubicBezTo>
                  <a:cubicBezTo>
                    <a:pt x="119" y="113"/>
                    <a:pt x="92" y="74"/>
                    <a:pt x="82" y="74"/>
                  </a:cubicBezTo>
                  <a:cubicBezTo>
                    <a:pt x="43" y="74"/>
                    <a:pt x="0" y="289"/>
                    <a:pt x="0" y="348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27"/>
                    <a:pt x="13" y="640"/>
                    <a:pt x="22" y="681"/>
                  </a:cubicBezTo>
                  <a:close/>
                  <a:moveTo>
                    <a:pt x="578" y="474"/>
                  </a:moveTo>
                  <a:cubicBezTo>
                    <a:pt x="558" y="432"/>
                    <a:pt x="578" y="359"/>
                    <a:pt x="644" y="341"/>
                  </a:cubicBezTo>
                  <a:cubicBezTo>
                    <a:pt x="671" y="334"/>
                    <a:pt x="702" y="343"/>
                    <a:pt x="682" y="370"/>
                  </a:cubicBezTo>
                  <a:cubicBezTo>
                    <a:pt x="653" y="409"/>
                    <a:pt x="601" y="469"/>
                    <a:pt x="578" y="474"/>
                  </a:cubicBezTo>
                  <a:close/>
                  <a:moveTo>
                    <a:pt x="442" y="428"/>
                  </a:moveTo>
                  <a:cubicBezTo>
                    <a:pt x="450" y="428"/>
                    <a:pt x="457" y="442"/>
                    <a:pt x="457" y="459"/>
                  </a:cubicBezTo>
                  <a:cubicBezTo>
                    <a:pt x="457" y="477"/>
                    <a:pt x="450" y="491"/>
                    <a:pt x="442" y="491"/>
                  </a:cubicBezTo>
                  <a:cubicBezTo>
                    <a:pt x="434" y="491"/>
                    <a:pt x="427" y="477"/>
                    <a:pt x="427" y="459"/>
                  </a:cubicBezTo>
                  <a:cubicBezTo>
                    <a:pt x="427" y="442"/>
                    <a:pt x="434" y="428"/>
                    <a:pt x="442" y="428"/>
                  </a:cubicBezTo>
                  <a:close/>
                  <a:moveTo>
                    <a:pt x="454" y="217"/>
                  </a:moveTo>
                  <a:cubicBezTo>
                    <a:pt x="383" y="324"/>
                    <a:pt x="291" y="381"/>
                    <a:pt x="245" y="488"/>
                  </a:cubicBezTo>
                  <a:cubicBezTo>
                    <a:pt x="228" y="512"/>
                    <a:pt x="222" y="507"/>
                    <a:pt x="227" y="474"/>
                  </a:cubicBezTo>
                  <a:cubicBezTo>
                    <a:pt x="264" y="398"/>
                    <a:pt x="293" y="319"/>
                    <a:pt x="356" y="245"/>
                  </a:cubicBezTo>
                  <a:cubicBezTo>
                    <a:pt x="408" y="185"/>
                    <a:pt x="481" y="167"/>
                    <a:pt x="454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BEAFCBC0-AE58-41DD-B625-355CDBBF02FC}"/>
                </a:ext>
              </a:extLst>
            </p:cNvPr>
            <p:cNvSpPr/>
            <p:nvPr/>
          </p:nvSpPr>
          <p:spPr bwMode="auto">
            <a:xfrm>
              <a:off x="7488238" y="2965450"/>
              <a:ext cx="739775" cy="766763"/>
            </a:xfrm>
            <a:custGeom>
              <a:avLst/>
              <a:gdLst>
                <a:gd name="T0" fmla="*/ 125 w 953"/>
                <a:gd name="T1" fmla="*/ 770 h 988"/>
                <a:gd name="T2" fmla="*/ 162 w 953"/>
                <a:gd name="T3" fmla="*/ 894 h 988"/>
                <a:gd name="T4" fmla="*/ 199 w 953"/>
                <a:gd name="T5" fmla="*/ 939 h 988"/>
                <a:gd name="T6" fmla="*/ 221 w 953"/>
                <a:gd name="T7" fmla="*/ 924 h 988"/>
                <a:gd name="T8" fmla="*/ 354 w 953"/>
                <a:gd name="T9" fmla="*/ 776 h 988"/>
                <a:gd name="T10" fmla="*/ 739 w 953"/>
                <a:gd name="T11" fmla="*/ 429 h 988"/>
                <a:gd name="T12" fmla="*/ 571 w 953"/>
                <a:gd name="T13" fmla="*/ 687 h 988"/>
                <a:gd name="T14" fmla="*/ 798 w 953"/>
                <a:gd name="T15" fmla="*/ 887 h 988"/>
                <a:gd name="T16" fmla="*/ 953 w 953"/>
                <a:gd name="T17" fmla="*/ 828 h 988"/>
                <a:gd name="T18" fmla="*/ 887 w 953"/>
                <a:gd name="T19" fmla="*/ 772 h 988"/>
                <a:gd name="T20" fmla="*/ 704 w 953"/>
                <a:gd name="T21" fmla="*/ 774 h 988"/>
                <a:gd name="T22" fmla="*/ 680 w 953"/>
                <a:gd name="T23" fmla="*/ 628 h 988"/>
                <a:gd name="T24" fmla="*/ 842 w 953"/>
                <a:gd name="T25" fmla="*/ 414 h 988"/>
                <a:gd name="T26" fmla="*/ 721 w 953"/>
                <a:gd name="T27" fmla="*/ 389 h 988"/>
                <a:gd name="T28" fmla="*/ 428 w 953"/>
                <a:gd name="T29" fmla="*/ 562 h 988"/>
                <a:gd name="T30" fmla="*/ 302 w 953"/>
                <a:gd name="T31" fmla="*/ 628 h 988"/>
                <a:gd name="T32" fmla="*/ 177 w 953"/>
                <a:gd name="T33" fmla="*/ 695 h 988"/>
                <a:gd name="T34" fmla="*/ 510 w 953"/>
                <a:gd name="T35" fmla="*/ 392 h 988"/>
                <a:gd name="T36" fmla="*/ 412 w 953"/>
                <a:gd name="T37" fmla="*/ 348 h 988"/>
                <a:gd name="T38" fmla="*/ 909 w 953"/>
                <a:gd name="T39" fmla="*/ 7 h 988"/>
                <a:gd name="T40" fmla="*/ 791 w 953"/>
                <a:gd name="T41" fmla="*/ 22 h 988"/>
                <a:gd name="T42" fmla="*/ 675 w 953"/>
                <a:gd name="T43" fmla="*/ 7 h 988"/>
                <a:gd name="T44" fmla="*/ 283 w 953"/>
                <a:gd name="T45" fmla="*/ 143 h 988"/>
                <a:gd name="T46" fmla="*/ 347 w 953"/>
                <a:gd name="T47" fmla="*/ 229 h 988"/>
                <a:gd name="T48" fmla="*/ 665 w 953"/>
                <a:gd name="T49" fmla="*/ 29 h 988"/>
                <a:gd name="T50" fmla="*/ 445 w 953"/>
                <a:gd name="T51" fmla="*/ 298 h 988"/>
                <a:gd name="T52" fmla="*/ 205 w 953"/>
                <a:gd name="T53" fmla="*/ 454 h 988"/>
                <a:gd name="T54" fmla="*/ 10 w 953"/>
                <a:gd name="T55" fmla="*/ 621 h 988"/>
                <a:gd name="T56" fmla="*/ 147 w 953"/>
                <a:gd name="T57" fmla="*/ 599 h 988"/>
                <a:gd name="T58" fmla="*/ 353 w 953"/>
                <a:gd name="T59" fmla="*/ 605 h 988"/>
                <a:gd name="T60" fmla="*/ 353 w 953"/>
                <a:gd name="T61" fmla="*/ 619 h 988"/>
                <a:gd name="T62" fmla="*/ 353 w 953"/>
                <a:gd name="T63" fmla="*/ 605 h 988"/>
                <a:gd name="T64" fmla="*/ 255 w 953"/>
                <a:gd name="T65" fmla="*/ 882 h 988"/>
                <a:gd name="T66" fmla="*/ 235 w 953"/>
                <a:gd name="T67" fmla="*/ 882 h 988"/>
                <a:gd name="T68" fmla="*/ 155 w 953"/>
                <a:gd name="T69" fmla="*/ 527 h 988"/>
                <a:gd name="T70" fmla="*/ 275 w 953"/>
                <a:gd name="T71" fmla="*/ 452 h 988"/>
                <a:gd name="T72" fmla="*/ 155 w 953"/>
                <a:gd name="T73" fmla="*/ 527 h 988"/>
                <a:gd name="T74" fmla="*/ 413 w 953"/>
                <a:gd name="T75" fmla="*/ 416 h 988"/>
                <a:gd name="T76" fmla="*/ 335 w 953"/>
                <a:gd name="T77" fmla="*/ 460 h 988"/>
                <a:gd name="T78" fmla="*/ 223 w 953"/>
                <a:gd name="T79" fmla="*/ 51 h 988"/>
                <a:gd name="T80" fmla="*/ 180 w 953"/>
                <a:gd name="T81" fmla="*/ 204 h 988"/>
                <a:gd name="T82" fmla="*/ 55 w 953"/>
                <a:gd name="T83" fmla="*/ 271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3" h="988">
                  <a:moveTo>
                    <a:pt x="103" y="754"/>
                  </a:moveTo>
                  <a:cubicBezTo>
                    <a:pt x="111" y="766"/>
                    <a:pt x="104" y="770"/>
                    <a:pt x="125" y="770"/>
                  </a:cubicBezTo>
                  <a:cubicBezTo>
                    <a:pt x="161" y="770"/>
                    <a:pt x="229" y="706"/>
                    <a:pt x="273" y="702"/>
                  </a:cubicBezTo>
                  <a:cubicBezTo>
                    <a:pt x="268" y="757"/>
                    <a:pt x="162" y="841"/>
                    <a:pt x="162" y="894"/>
                  </a:cubicBezTo>
                  <a:cubicBezTo>
                    <a:pt x="162" y="909"/>
                    <a:pt x="172" y="919"/>
                    <a:pt x="177" y="939"/>
                  </a:cubicBezTo>
                  <a:cubicBezTo>
                    <a:pt x="180" y="943"/>
                    <a:pt x="184" y="937"/>
                    <a:pt x="199" y="939"/>
                  </a:cubicBezTo>
                  <a:cubicBezTo>
                    <a:pt x="199" y="924"/>
                    <a:pt x="199" y="924"/>
                    <a:pt x="199" y="924"/>
                  </a:cubicBezTo>
                  <a:cubicBezTo>
                    <a:pt x="221" y="924"/>
                    <a:pt x="221" y="924"/>
                    <a:pt x="221" y="924"/>
                  </a:cubicBezTo>
                  <a:cubicBezTo>
                    <a:pt x="259" y="926"/>
                    <a:pt x="261" y="988"/>
                    <a:pt x="307" y="976"/>
                  </a:cubicBezTo>
                  <a:cubicBezTo>
                    <a:pt x="336" y="933"/>
                    <a:pt x="340" y="866"/>
                    <a:pt x="354" y="776"/>
                  </a:cubicBezTo>
                  <a:cubicBezTo>
                    <a:pt x="358" y="694"/>
                    <a:pt x="389" y="656"/>
                    <a:pt x="437" y="615"/>
                  </a:cubicBezTo>
                  <a:cubicBezTo>
                    <a:pt x="465" y="592"/>
                    <a:pt x="715" y="431"/>
                    <a:pt x="739" y="429"/>
                  </a:cubicBezTo>
                  <a:cubicBezTo>
                    <a:pt x="726" y="475"/>
                    <a:pt x="692" y="518"/>
                    <a:pt x="658" y="542"/>
                  </a:cubicBezTo>
                  <a:cubicBezTo>
                    <a:pt x="612" y="574"/>
                    <a:pt x="571" y="603"/>
                    <a:pt x="571" y="687"/>
                  </a:cubicBezTo>
                  <a:cubicBezTo>
                    <a:pt x="571" y="822"/>
                    <a:pt x="585" y="826"/>
                    <a:pt x="665" y="879"/>
                  </a:cubicBezTo>
                  <a:cubicBezTo>
                    <a:pt x="798" y="887"/>
                    <a:pt x="798" y="887"/>
                    <a:pt x="798" y="887"/>
                  </a:cubicBezTo>
                  <a:cubicBezTo>
                    <a:pt x="842" y="887"/>
                    <a:pt x="842" y="887"/>
                    <a:pt x="842" y="887"/>
                  </a:cubicBezTo>
                  <a:cubicBezTo>
                    <a:pt x="886" y="887"/>
                    <a:pt x="953" y="866"/>
                    <a:pt x="953" y="828"/>
                  </a:cubicBezTo>
                  <a:cubicBezTo>
                    <a:pt x="953" y="806"/>
                    <a:pt x="953" y="806"/>
                    <a:pt x="953" y="806"/>
                  </a:cubicBezTo>
                  <a:cubicBezTo>
                    <a:pt x="953" y="777"/>
                    <a:pt x="917" y="772"/>
                    <a:pt x="887" y="772"/>
                  </a:cubicBezTo>
                  <a:cubicBezTo>
                    <a:pt x="872" y="772"/>
                    <a:pt x="872" y="772"/>
                    <a:pt x="872" y="772"/>
                  </a:cubicBezTo>
                  <a:cubicBezTo>
                    <a:pt x="830" y="772"/>
                    <a:pt x="730" y="781"/>
                    <a:pt x="704" y="774"/>
                  </a:cubicBezTo>
                  <a:cubicBezTo>
                    <a:pt x="655" y="759"/>
                    <a:pt x="658" y="685"/>
                    <a:pt x="680" y="650"/>
                  </a:cubicBezTo>
                  <a:cubicBezTo>
                    <a:pt x="680" y="628"/>
                    <a:pt x="680" y="628"/>
                    <a:pt x="680" y="628"/>
                  </a:cubicBezTo>
                  <a:cubicBezTo>
                    <a:pt x="738" y="589"/>
                    <a:pt x="724" y="563"/>
                    <a:pt x="759" y="516"/>
                  </a:cubicBezTo>
                  <a:cubicBezTo>
                    <a:pt x="775" y="495"/>
                    <a:pt x="842" y="440"/>
                    <a:pt x="842" y="414"/>
                  </a:cubicBezTo>
                  <a:cubicBezTo>
                    <a:pt x="842" y="392"/>
                    <a:pt x="842" y="392"/>
                    <a:pt x="842" y="392"/>
                  </a:cubicBezTo>
                  <a:cubicBezTo>
                    <a:pt x="784" y="378"/>
                    <a:pt x="791" y="355"/>
                    <a:pt x="721" y="389"/>
                  </a:cubicBezTo>
                  <a:cubicBezTo>
                    <a:pt x="687" y="406"/>
                    <a:pt x="652" y="425"/>
                    <a:pt x="621" y="444"/>
                  </a:cubicBezTo>
                  <a:cubicBezTo>
                    <a:pt x="577" y="469"/>
                    <a:pt x="474" y="562"/>
                    <a:pt x="428" y="562"/>
                  </a:cubicBezTo>
                  <a:cubicBezTo>
                    <a:pt x="415" y="562"/>
                    <a:pt x="402" y="524"/>
                    <a:pt x="399" y="510"/>
                  </a:cubicBezTo>
                  <a:cubicBezTo>
                    <a:pt x="332" y="516"/>
                    <a:pt x="302" y="557"/>
                    <a:pt x="302" y="628"/>
                  </a:cubicBezTo>
                  <a:cubicBezTo>
                    <a:pt x="264" y="663"/>
                    <a:pt x="224" y="688"/>
                    <a:pt x="181" y="702"/>
                  </a:cubicBezTo>
                  <a:cubicBezTo>
                    <a:pt x="177" y="695"/>
                    <a:pt x="177" y="695"/>
                    <a:pt x="177" y="695"/>
                  </a:cubicBezTo>
                  <a:cubicBezTo>
                    <a:pt x="182" y="628"/>
                    <a:pt x="297" y="529"/>
                    <a:pt x="347" y="495"/>
                  </a:cubicBezTo>
                  <a:cubicBezTo>
                    <a:pt x="414" y="495"/>
                    <a:pt x="505" y="449"/>
                    <a:pt x="510" y="392"/>
                  </a:cubicBezTo>
                  <a:cubicBezTo>
                    <a:pt x="436" y="382"/>
                    <a:pt x="436" y="382"/>
                    <a:pt x="436" y="382"/>
                  </a:cubicBezTo>
                  <a:cubicBezTo>
                    <a:pt x="412" y="348"/>
                    <a:pt x="412" y="348"/>
                    <a:pt x="412" y="348"/>
                  </a:cubicBezTo>
                  <a:cubicBezTo>
                    <a:pt x="471" y="262"/>
                    <a:pt x="916" y="66"/>
                    <a:pt x="916" y="37"/>
                  </a:cubicBezTo>
                  <a:cubicBezTo>
                    <a:pt x="916" y="21"/>
                    <a:pt x="914" y="27"/>
                    <a:pt x="909" y="7"/>
                  </a:cubicBezTo>
                  <a:cubicBezTo>
                    <a:pt x="892" y="3"/>
                    <a:pt x="892" y="0"/>
                    <a:pt x="872" y="0"/>
                  </a:cubicBezTo>
                  <a:cubicBezTo>
                    <a:pt x="840" y="0"/>
                    <a:pt x="827" y="22"/>
                    <a:pt x="791" y="22"/>
                  </a:cubicBezTo>
                  <a:cubicBezTo>
                    <a:pt x="760" y="22"/>
                    <a:pt x="744" y="7"/>
                    <a:pt x="702" y="7"/>
                  </a:cubicBezTo>
                  <a:cubicBezTo>
                    <a:pt x="675" y="7"/>
                    <a:pt x="675" y="7"/>
                    <a:pt x="675" y="7"/>
                  </a:cubicBezTo>
                  <a:cubicBezTo>
                    <a:pt x="527" y="10"/>
                    <a:pt x="404" y="155"/>
                    <a:pt x="361" y="155"/>
                  </a:cubicBezTo>
                  <a:cubicBezTo>
                    <a:pt x="330" y="155"/>
                    <a:pt x="322" y="143"/>
                    <a:pt x="283" y="143"/>
                  </a:cubicBezTo>
                  <a:cubicBezTo>
                    <a:pt x="269" y="143"/>
                    <a:pt x="270" y="145"/>
                    <a:pt x="261" y="151"/>
                  </a:cubicBezTo>
                  <a:cubicBezTo>
                    <a:pt x="272" y="167"/>
                    <a:pt x="325" y="229"/>
                    <a:pt x="347" y="229"/>
                  </a:cubicBezTo>
                  <a:cubicBezTo>
                    <a:pt x="396" y="239"/>
                    <a:pt x="448" y="55"/>
                    <a:pt x="650" y="32"/>
                  </a:cubicBezTo>
                  <a:cubicBezTo>
                    <a:pt x="665" y="29"/>
                    <a:pt x="665" y="29"/>
                    <a:pt x="665" y="29"/>
                  </a:cubicBezTo>
                  <a:cubicBezTo>
                    <a:pt x="712" y="29"/>
                    <a:pt x="702" y="63"/>
                    <a:pt x="764" y="68"/>
                  </a:cubicBezTo>
                  <a:cubicBezTo>
                    <a:pt x="754" y="105"/>
                    <a:pt x="496" y="269"/>
                    <a:pt x="445" y="298"/>
                  </a:cubicBezTo>
                  <a:cubicBezTo>
                    <a:pt x="383" y="334"/>
                    <a:pt x="336" y="367"/>
                    <a:pt x="279" y="405"/>
                  </a:cubicBezTo>
                  <a:cubicBezTo>
                    <a:pt x="259" y="418"/>
                    <a:pt x="233" y="437"/>
                    <a:pt x="205" y="454"/>
                  </a:cubicBezTo>
                  <a:cubicBezTo>
                    <a:pt x="170" y="475"/>
                    <a:pt x="133" y="495"/>
                    <a:pt x="117" y="517"/>
                  </a:cubicBezTo>
                  <a:cubicBezTo>
                    <a:pt x="59" y="517"/>
                    <a:pt x="10" y="567"/>
                    <a:pt x="10" y="621"/>
                  </a:cubicBezTo>
                  <a:cubicBezTo>
                    <a:pt x="10" y="639"/>
                    <a:pt x="12" y="663"/>
                    <a:pt x="39" y="650"/>
                  </a:cubicBezTo>
                  <a:cubicBezTo>
                    <a:pt x="147" y="599"/>
                    <a:pt x="147" y="599"/>
                    <a:pt x="147" y="599"/>
                  </a:cubicBezTo>
                  <a:cubicBezTo>
                    <a:pt x="144" y="646"/>
                    <a:pt x="103" y="645"/>
                    <a:pt x="103" y="754"/>
                  </a:cubicBezTo>
                  <a:close/>
                  <a:moveTo>
                    <a:pt x="353" y="605"/>
                  </a:moveTo>
                  <a:cubicBezTo>
                    <a:pt x="355" y="605"/>
                    <a:pt x="357" y="608"/>
                    <a:pt x="357" y="612"/>
                  </a:cubicBezTo>
                  <a:cubicBezTo>
                    <a:pt x="357" y="616"/>
                    <a:pt x="355" y="619"/>
                    <a:pt x="353" y="619"/>
                  </a:cubicBezTo>
                  <a:cubicBezTo>
                    <a:pt x="351" y="619"/>
                    <a:pt x="349" y="616"/>
                    <a:pt x="349" y="612"/>
                  </a:cubicBezTo>
                  <a:cubicBezTo>
                    <a:pt x="349" y="608"/>
                    <a:pt x="351" y="605"/>
                    <a:pt x="353" y="605"/>
                  </a:cubicBezTo>
                  <a:close/>
                  <a:moveTo>
                    <a:pt x="245" y="866"/>
                  </a:moveTo>
                  <a:cubicBezTo>
                    <a:pt x="250" y="866"/>
                    <a:pt x="255" y="873"/>
                    <a:pt x="255" y="882"/>
                  </a:cubicBezTo>
                  <a:cubicBezTo>
                    <a:pt x="255" y="890"/>
                    <a:pt x="250" y="897"/>
                    <a:pt x="245" y="897"/>
                  </a:cubicBezTo>
                  <a:cubicBezTo>
                    <a:pt x="239" y="897"/>
                    <a:pt x="235" y="890"/>
                    <a:pt x="235" y="882"/>
                  </a:cubicBezTo>
                  <a:cubicBezTo>
                    <a:pt x="235" y="873"/>
                    <a:pt x="239" y="866"/>
                    <a:pt x="245" y="866"/>
                  </a:cubicBezTo>
                  <a:close/>
                  <a:moveTo>
                    <a:pt x="155" y="527"/>
                  </a:moveTo>
                  <a:cubicBezTo>
                    <a:pt x="187" y="497"/>
                    <a:pt x="225" y="474"/>
                    <a:pt x="260" y="449"/>
                  </a:cubicBezTo>
                  <a:cubicBezTo>
                    <a:pt x="271" y="442"/>
                    <a:pt x="276" y="444"/>
                    <a:pt x="275" y="452"/>
                  </a:cubicBezTo>
                  <a:cubicBezTo>
                    <a:pt x="259" y="478"/>
                    <a:pt x="232" y="508"/>
                    <a:pt x="192" y="529"/>
                  </a:cubicBezTo>
                  <a:cubicBezTo>
                    <a:pt x="168" y="541"/>
                    <a:pt x="149" y="533"/>
                    <a:pt x="155" y="527"/>
                  </a:cubicBezTo>
                  <a:close/>
                  <a:moveTo>
                    <a:pt x="363" y="417"/>
                  </a:moveTo>
                  <a:cubicBezTo>
                    <a:pt x="384" y="405"/>
                    <a:pt x="407" y="404"/>
                    <a:pt x="413" y="416"/>
                  </a:cubicBezTo>
                  <a:cubicBezTo>
                    <a:pt x="419" y="427"/>
                    <a:pt x="407" y="446"/>
                    <a:pt x="385" y="458"/>
                  </a:cubicBezTo>
                  <a:cubicBezTo>
                    <a:pt x="364" y="470"/>
                    <a:pt x="341" y="471"/>
                    <a:pt x="335" y="460"/>
                  </a:cubicBezTo>
                  <a:cubicBezTo>
                    <a:pt x="329" y="449"/>
                    <a:pt x="341" y="430"/>
                    <a:pt x="363" y="417"/>
                  </a:cubicBezTo>
                  <a:close/>
                  <a:moveTo>
                    <a:pt x="223" y="51"/>
                  </a:moveTo>
                  <a:cubicBezTo>
                    <a:pt x="236" y="24"/>
                    <a:pt x="269" y="38"/>
                    <a:pt x="233" y="133"/>
                  </a:cubicBezTo>
                  <a:cubicBezTo>
                    <a:pt x="224" y="156"/>
                    <a:pt x="200" y="178"/>
                    <a:pt x="180" y="204"/>
                  </a:cubicBezTo>
                  <a:cubicBezTo>
                    <a:pt x="151" y="241"/>
                    <a:pt x="118" y="281"/>
                    <a:pt x="79" y="323"/>
                  </a:cubicBezTo>
                  <a:cubicBezTo>
                    <a:pt x="17" y="375"/>
                    <a:pt x="0" y="328"/>
                    <a:pt x="55" y="271"/>
                  </a:cubicBezTo>
                  <a:cubicBezTo>
                    <a:pt x="120" y="209"/>
                    <a:pt x="178" y="148"/>
                    <a:pt x="22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09F0DA89-B7D6-4DEB-B961-690EB281071B}"/>
                </a:ext>
              </a:extLst>
            </p:cNvPr>
            <p:cNvSpPr/>
            <p:nvPr/>
          </p:nvSpPr>
          <p:spPr bwMode="auto">
            <a:xfrm>
              <a:off x="9072563" y="2971800"/>
              <a:ext cx="873125" cy="757238"/>
            </a:xfrm>
            <a:custGeom>
              <a:avLst/>
              <a:gdLst>
                <a:gd name="T0" fmla="*/ 599 w 1124"/>
                <a:gd name="T1" fmla="*/ 889 h 976"/>
                <a:gd name="T2" fmla="*/ 554 w 1124"/>
                <a:gd name="T3" fmla="*/ 803 h 976"/>
                <a:gd name="T4" fmla="*/ 614 w 1124"/>
                <a:gd name="T5" fmla="*/ 889 h 976"/>
                <a:gd name="T6" fmla="*/ 489 w 1124"/>
                <a:gd name="T7" fmla="*/ 514 h 976"/>
                <a:gd name="T8" fmla="*/ 461 w 1124"/>
                <a:gd name="T9" fmla="*/ 514 h 976"/>
                <a:gd name="T10" fmla="*/ 493 w 1124"/>
                <a:gd name="T11" fmla="*/ 439 h 976"/>
                <a:gd name="T12" fmla="*/ 493 w 1124"/>
                <a:gd name="T13" fmla="*/ 462 h 976"/>
                <a:gd name="T14" fmla="*/ 493 w 1124"/>
                <a:gd name="T15" fmla="*/ 439 h 976"/>
                <a:gd name="T16" fmla="*/ 733 w 1124"/>
                <a:gd name="T17" fmla="*/ 364 h 976"/>
                <a:gd name="T18" fmla="*/ 706 w 1124"/>
                <a:gd name="T19" fmla="*/ 364 h 976"/>
                <a:gd name="T20" fmla="*/ 723 w 1124"/>
                <a:gd name="T21" fmla="*/ 502 h 976"/>
                <a:gd name="T22" fmla="*/ 594 w 1124"/>
                <a:gd name="T23" fmla="*/ 564 h 976"/>
                <a:gd name="T24" fmla="*/ 723 w 1124"/>
                <a:gd name="T25" fmla="*/ 502 h 976"/>
                <a:gd name="T26" fmla="*/ 717 w 1124"/>
                <a:gd name="T27" fmla="*/ 274 h 976"/>
                <a:gd name="T28" fmla="*/ 806 w 1124"/>
                <a:gd name="T29" fmla="*/ 367 h 976"/>
                <a:gd name="T30" fmla="*/ 858 w 1124"/>
                <a:gd name="T31" fmla="*/ 141 h 976"/>
                <a:gd name="T32" fmla="*/ 717 w 1124"/>
                <a:gd name="T33" fmla="*/ 244 h 976"/>
                <a:gd name="T34" fmla="*/ 0 w 1124"/>
                <a:gd name="T35" fmla="*/ 762 h 976"/>
                <a:gd name="T36" fmla="*/ 102 w 1124"/>
                <a:gd name="T37" fmla="*/ 806 h 976"/>
                <a:gd name="T38" fmla="*/ 285 w 1124"/>
                <a:gd name="T39" fmla="*/ 626 h 976"/>
                <a:gd name="T40" fmla="*/ 540 w 1124"/>
                <a:gd name="T41" fmla="*/ 570 h 976"/>
                <a:gd name="T42" fmla="*/ 503 w 1124"/>
                <a:gd name="T43" fmla="*/ 666 h 976"/>
                <a:gd name="T44" fmla="*/ 673 w 1124"/>
                <a:gd name="T45" fmla="*/ 607 h 976"/>
                <a:gd name="T46" fmla="*/ 514 w 1124"/>
                <a:gd name="T47" fmla="*/ 784 h 976"/>
                <a:gd name="T48" fmla="*/ 651 w 1124"/>
                <a:gd name="T49" fmla="*/ 976 h 976"/>
                <a:gd name="T50" fmla="*/ 807 w 1124"/>
                <a:gd name="T51" fmla="*/ 836 h 976"/>
                <a:gd name="T52" fmla="*/ 799 w 1124"/>
                <a:gd name="T53" fmla="*/ 748 h 976"/>
                <a:gd name="T54" fmla="*/ 850 w 1124"/>
                <a:gd name="T55" fmla="*/ 710 h 976"/>
                <a:gd name="T56" fmla="*/ 791 w 1124"/>
                <a:gd name="T57" fmla="*/ 584 h 976"/>
                <a:gd name="T58" fmla="*/ 769 w 1124"/>
                <a:gd name="T59" fmla="*/ 525 h 976"/>
                <a:gd name="T60" fmla="*/ 1109 w 1124"/>
                <a:gd name="T61" fmla="*/ 466 h 976"/>
                <a:gd name="T62" fmla="*/ 1041 w 1124"/>
                <a:gd name="T63" fmla="*/ 396 h 976"/>
                <a:gd name="T64" fmla="*/ 946 w 1124"/>
                <a:gd name="T65" fmla="*/ 169 h 976"/>
                <a:gd name="T66" fmla="*/ 747 w 1124"/>
                <a:gd name="T67" fmla="*/ 45 h 976"/>
                <a:gd name="T68" fmla="*/ 651 w 1124"/>
                <a:gd name="T69" fmla="*/ 15 h 976"/>
                <a:gd name="T70" fmla="*/ 636 w 1124"/>
                <a:gd name="T71" fmla="*/ 170 h 976"/>
                <a:gd name="T72" fmla="*/ 624 w 1124"/>
                <a:gd name="T73" fmla="*/ 306 h 976"/>
                <a:gd name="T74" fmla="*/ 584 w 1124"/>
                <a:gd name="T75" fmla="*/ 436 h 976"/>
                <a:gd name="T76" fmla="*/ 599 w 1124"/>
                <a:gd name="T77" fmla="*/ 481 h 976"/>
                <a:gd name="T78" fmla="*/ 547 w 1124"/>
                <a:gd name="T79" fmla="*/ 496 h 976"/>
                <a:gd name="T80" fmla="*/ 498 w 1124"/>
                <a:gd name="T81" fmla="*/ 153 h 976"/>
                <a:gd name="T82" fmla="*/ 472 w 1124"/>
                <a:gd name="T83" fmla="*/ 292 h 976"/>
                <a:gd name="T84" fmla="*/ 429 w 1124"/>
                <a:gd name="T85" fmla="*/ 435 h 976"/>
                <a:gd name="T86" fmla="*/ 266 w 1124"/>
                <a:gd name="T87" fmla="*/ 289 h 976"/>
                <a:gd name="T88" fmla="*/ 396 w 1124"/>
                <a:gd name="T89" fmla="*/ 501 h 976"/>
                <a:gd name="T90" fmla="*/ 291 w 1124"/>
                <a:gd name="T91" fmla="*/ 572 h 976"/>
                <a:gd name="T92" fmla="*/ 303 w 1124"/>
                <a:gd name="T93" fmla="*/ 481 h 976"/>
                <a:gd name="T94" fmla="*/ 279 w 1124"/>
                <a:gd name="T95" fmla="*/ 457 h 976"/>
                <a:gd name="T96" fmla="*/ 112 w 1124"/>
                <a:gd name="T97" fmla="*/ 579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4" h="976">
                  <a:moveTo>
                    <a:pt x="614" y="889"/>
                  </a:moveTo>
                  <a:cubicBezTo>
                    <a:pt x="599" y="889"/>
                    <a:pt x="599" y="889"/>
                    <a:pt x="599" y="889"/>
                  </a:cubicBezTo>
                  <a:cubicBezTo>
                    <a:pt x="575" y="889"/>
                    <a:pt x="554" y="855"/>
                    <a:pt x="554" y="828"/>
                  </a:cubicBezTo>
                  <a:cubicBezTo>
                    <a:pt x="554" y="803"/>
                    <a:pt x="554" y="803"/>
                    <a:pt x="554" y="803"/>
                  </a:cubicBezTo>
                  <a:cubicBezTo>
                    <a:pt x="586" y="792"/>
                    <a:pt x="628" y="787"/>
                    <a:pt x="673" y="784"/>
                  </a:cubicBezTo>
                  <a:cubicBezTo>
                    <a:pt x="672" y="823"/>
                    <a:pt x="650" y="889"/>
                    <a:pt x="614" y="889"/>
                  </a:cubicBezTo>
                  <a:close/>
                  <a:moveTo>
                    <a:pt x="475" y="497"/>
                  </a:moveTo>
                  <a:cubicBezTo>
                    <a:pt x="483" y="497"/>
                    <a:pt x="489" y="505"/>
                    <a:pt x="489" y="514"/>
                  </a:cubicBezTo>
                  <a:cubicBezTo>
                    <a:pt x="489" y="523"/>
                    <a:pt x="483" y="531"/>
                    <a:pt x="475" y="531"/>
                  </a:cubicBezTo>
                  <a:cubicBezTo>
                    <a:pt x="467" y="531"/>
                    <a:pt x="461" y="523"/>
                    <a:pt x="461" y="514"/>
                  </a:cubicBezTo>
                  <a:cubicBezTo>
                    <a:pt x="461" y="505"/>
                    <a:pt x="467" y="497"/>
                    <a:pt x="475" y="497"/>
                  </a:cubicBezTo>
                  <a:close/>
                  <a:moveTo>
                    <a:pt x="493" y="439"/>
                  </a:moveTo>
                  <a:cubicBezTo>
                    <a:pt x="496" y="439"/>
                    <a:pt x="499" y="444"/>
                    <a:pt x="499" y="450"/>
                  </a:cubicBezTo>
                  <a:cubicBezTo>
                    <a:pt x="499" y="457"/>
                    <a:pt x="496" y="462"/>
                    <a:pt x="493" y="462"/>
                  </a:cubicBezTo>
                  <a:cubicBezTo>
                    <a:pt x="489" y="462"/>
                    <a:pt x="486" y="457"/>
                    <a:pt x="486" y="450"/>
                  </a:cubicBezTo>
                  <a:cubicBezTo>
                    <a:pt x="486" y="444"/>
                    <a:pt x="489" y="439"/>
                    <a:pt x="493" y="439"/>
                  </a:cubicBezTo>
                  <a:close/>
                  <a:moveTo>
                    <a:pt x="726" y="323"/>
                  </a:moveTo>
                  <a:cubicBezTo>
                    <a:pt x="733" y="323"/>
                    <a:pt x="737" y="342"/>
                    <a:pt x="733" y="364"/>
                  </a:cubicBezTo>
                  <a:cubicBezTo>
                    <a:pt x="729" y="385"/>
                    <a:pt x="728" y="401"/>
                    <a:pt x="718" y="401"/>
                  </a:cubicBezTo>
                  <a:cubicBezTo>
                    <a:pt x="707" y="401"/>
                    <a:pt x="706" y="384"/>
                    <a:pt x="706" y="364"/>
                  </a:cubicBezTo>
                  <a:cubicBezTo>
                    <a:pt x="706" y="343"/>
                    <a:pt x="718" y="323"/>
                    <a:pt x="726" y="323"/>
                  </a:cubicBezTo>
                  <a:close/>
                  <a:moveTo>
                    <a:pt x="723" y="502"/>
                  </a:moveTo>
                  <a:cubicBezTo>
                    <a:pt x="732" y="503"/>
                    <a:pt x="728" y="516"/>
                    <a:pt x="711" y="518"/>
                  </a:cubicBezTo>
                  <a:cubicBezTo>
                    <a:pt x="663" y="527"/>
                    <a:pt x="639" y="541"/>
                    <a:pt x="594" y="564"/>
                  </a:cubicBezTo>
                  <a:cubicBezTo>
                    <a:pt x="571" y="576"/>
                    <a:pt x="550" y="554"/>
                    <a:pt x="598" y="527"/>
                  </a:cubicBezTo>
                  <a:cubicBezTo>
                    <a:pt x="634" y="507"/>
                    <a:pt x="678" y="501"/>
                    <a:pt x="723" y="502"/>
                  </a:cubicBezTo>
                  <a:close/>
                  <a:moveTo>
                    <a:pt x="717" y="244"/>
                  </a:moveTo>
                  <a:cubicBezTo>
                    <a:pt x="717" y="274"/>
                    <a:pt x="717" y="274"/>
                    <a:pt x="717" y="274"/>
                  </a:cubicBezTo>
                  <a:cubicBezTo>
                    <a:pt x="776" y="274"/>
                    <a:pt x="776" y="274"/>
                    <a:pt x="776" y="274"/>
                  </a:cubicBezTo>
                  <a:cubicBezTo>
                    <a:pt x="821" y="274"/>
                    <a:pt x="806" y="337"/>
                    <a:pt x="806" y="367"/>
                  </a:cubicBezTo>
                  <a:cubicBezTo>
                    <a:pt x="845" y="341"/>
                    <a:pt x="874" y="228"/>
                    <a:pt x="887" y="170"/>
                  </a:cubicBezTo>
                  <a:cubicBezTo>
                    <a:pt x="879" y="154"/>
                    <a:pt x="881" y="141"/>
                    <a:pt x="858" y="141"/>
                  </a:cubicBezTo>
                  <a:cubicBezTo>
                    <a:pt x="843" y="141"/>
                    <a:pt x="843" y="141"/>
                    <a:pt x="843" y="141"/>
                  </a:cubicBezTo>
                  <a:cubicBezTo>
                    <a:pt x="799" y="141"/>
                    <a:pt x="717" y="210"/>
                    <a:pt x="717" y="244"/>
                  </a:cubicBezTo>
                  <a:close/>
                  <a:moveTo>
                    <a:pt x="7" y="725"/>
                  </a:moveTo>
                  <a:cubicBezTo>
                    <a:pt x="3" y="741"/>
                    <a:pt x="0" y="742"/>
                    <a:pt x="0" y="762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49"/>
                    <a:pt x="86" y="815"/>
                    <a:pt x="102" y="806"/>
                  </a:cubicBezTo>
                  <a:cubicBezTo>
                    <a:pt x="111" y="717"/>
                    <a:pt x="111" y="717"/>
                    <a:pt x="111" y="717"/>
                  </a:cubicBezTo>
                  <a:cubicBezTo>
                    <a:pt x="155" y="687"/>
                    <a:pt x="221" y="638"/>
                    <a:pt x="285" y="626"/>
                  </a:cubicBezTo>
                  <a:cubicBezTo>
                    <a:pt x="326" y="618"/>
                    <a:pt x="501" y="570"/>
                    <a:pt x="503" y="570"/>
                  </a:cubicBezTo>
                  <a:cubicBezTo>
                    <a:pt x="540" y="570"/>
                    <a:pt x="540" y="570"/>
                    <a:pt x="540" y="570"/>
                  </a:cubicBezTo>
                  <a:cubicBezTo>
                    <a:pt x="531" y="603"/>
                    <a:pt x="503" y="618"/>
                    <a:pt x="503" y="658"/>
                  </a:cubicBezTo>
                  <a:cubicBezTo>
                    <a:pt x="503" y="666"/>
                    <a:pt x="503" y="666"/>
                    <a:pt x="503" y="666"/>
                  </a:cubicBezTo>
                  <a:cubicBezTo>
                    <a:pt x="503" y="701"/>
                    <a:pt x="537" y="680"/>
                    <a:pt x="577" y="680"/>
                  </a:cubicBezTo>
                  <a:cubicBezTo>
                    <a:pt x="603" y="641"/>
                    <a:pt x="618" y="619"/>
                    <a:pt x="673" y="607"/>
                  </a:cubicBezTo>
                  <a:cubicBezTo>
                    <a:pt x="673" y="658"/>
                    <a:pt x="673" y="658"/>
                    <a:pt x="673" y="658"/>
                  </a:cubicBezTo>
                  <a:cubicBezTo>
                    <a:pt x="673" y="726"/>
                    <a:pt x="514" y="702"/>
                    <a:pt x="514" y="784"/>
                  </a:cubicBezTo>
                  <a:cubicBezTo>
                    <a:pt x="514" y="871"/>
                    <a:pt x="563" y="976"/>
                    <a:pt x="643" y="976"/>
                  </a:cubicBezTo>
                  <a:cubicBezTo>
                    <a:pt x="651" y="976"/>
                    <a:pt x="651" y="976"/>
                    <a:pt x="651" y="976"/>
                  </a:cubicBezTo>
                  <a:cubicBezTo>
                    <a:pt x="693" y="976"/>
                    <a:pt x="741" y="962"/>
                    <a:pt x="759" y="937"/>
                  </a:cubicBezTo>
                  <a:cubicBezTo>
                    <a:pt x="767" y="926"/>
                    <a:pt x="807" y="845"/>
                    <a:pt x="807" y="836"/>
                  </a:cubicBezTo>
                  <a:cubicBezTo>
                    <a:pt x="794" y="782"/>
                    <a:pt x="794" y="782"/>
                    <a:pt x="794" y="782"/>
                  </a:cubicBezTo>
                  <a:cubicBezTo>
                    <a:pt x="799" y="748"/>
                    <a:pt x="799" y="748"/>
                    <a:pt x="799" y="748"/>
                  </a:cubicBezTo>
                  <a:cubicBezTo>
                    <a:pt x="846" y="737"/>
                    <a:pt x="846" y="737"/>
                    <a:pt x="846" y="737"/>
                  </a:cubicBezTo>
                  <a:cubicBezTo>
                    <a:pt x="850" y="710"/>
                    <a:pt x="850" y="710"/>
                    <a:pt x="850" y="710"/>
                  </a:cubicBezTo>
                  <a:cubicBezTo>
                    <a:pt x="818" y="663"/>
                    <a:pt x="827" y="677"/>
                    <a:pt x="766" y="663"/>
                  </a:cubicBezTo>
                  <a:cubicBezTo>
                    <a:pt x="767" y="603"/>
                    <a:pt x="791" y="614"/>
                    <a:pt x="791" y="584"/>
                  </a:cubicBezTo>
                  <a:cubicBezTo>
                    <a:pt x="791" y="570"/>
                    <a:pt x="791" y="570"/>
                    <a:pt x="791" y="570"/>
                  </a:cubicBezTo>
                  <a:cubicBezTo>
                    <a:pt x="791" y="544"/>
                    <a:pt x="778" y="559"/>
                    <a:pt x="769" y="525"/>
                  </a:cubicBezTo>
                  <a:cubicBezTo>
                    <a:pt x="840" y="525"/>
                    <a:pt x="948" y="466"/>
                    <a:pt x="1028" y="466"/>
                  </a:cubicBezTo>
                  <a:cubicBezTo>
                    <a:pt x="1109" y="466"/>
                    <a:pt x="1109" y="466"/>
                    <a:pt x="1109" y="466"/>
                  </a:cubicBezTo>
                  <a:cubicBezTo>
                    <a:pt x="1114" y="446"/>
                    <a:pt x="1124" y="441"/>
                    <a:pt x="1124" y="426"/>
                  </a:cubicBezTo>
                  <a:cubicBezTo>
                    <a:pt x="1124" y="407"/>
                    <a:pt x="1087" y="391"/>
                    <a:pt x="1041" y="396"/>
                  </a:cubicBezTo>
                  <a:cubicBezTo>
                    <a:pt x="979" y="403"/>
                    <a:pt x="908" y="398"/>
                    <a:pt x="872" y="407"/>
                  </a:cubicBezTo>
                  <a:cubicBezTo>
                    <a:pt x="874" y="347"/>
                    <a:pt x="946" y="236"/>
                    <a:pt x="946" y="169"/>
                  </a:cubicBezTo>
                  <a:cubicBezTo>
                    <a:pt x="946" y="3"/>
                    <a:pt x="739" y="155"/>
                    <a:pt x="715" y="164"/>
                  </a:cubicBezTo>
                  <a:cubicBezTo>
                    <a:pt x="734" y="124"/>
                    <a:pt x="748" y="85"/>
                    <a:pt x="747" y="45"/>
                  </a:cubicBezTo>
                  <a:cubicBezTo>
                    <a:pt x="730" y="20"/>
                    <a:pt x="720" y="0"/>
                    <a:pt x="680" y="0"/>
                  </a:cubicBezTo>
                  <a:cubicBezTo>
                    <a:pt x="670" y="0"/>
                    <a:pt x="676" y="8"/>
                    <a:pt x="651" y="15"/>
                  </a:cubicBezTo>
                  <a:cubicBezTo>
                    <a:pt x="654" y="61"/>
                    <a:pt x="673" y="36"/>
                    <a:pt x="673" y="67"/>
                  </a:cubicBezTo>
                  <a:cubicBezTo>
                    <a:pt x="673" y="107"/>
                    <a:pt x="636" y="130"/>
                    <a:pt x="636" y="170"/>
                  </a:cubicBezTo>
                  <a:cubicBezTo>
                    <a:pt x="636" y="200"/>
                    <a:pt x="636" y="200"/>
                    <a:pt x="636" y="200"/>
                  </a:cubicBezTo>
                  <a:cubicBezTo>
                    <a:pt x="636" y="269"/>
                    <a:pt x="659" y="250"/>
                    <a:pt x="624" y="306"/>
                  </a:cubicBezTo>
                  <a:cubicBezTo>
                    <a:pt x="605" y="336"/>
                    <a:pt x="592" y="370"/>
                    <a:pt x="577" y="399"/>
                  </a:cubicBezTo>
                  <a:cubicBezTo>
                    <a:pt x="580" y="416"/>
                    <a:pt x="584" y="416"/>
                    <a:pt x="584" y="436"/>
                  </a:cubicBezTo>
                  <a:cubicBezTo>
                    <a:pt x="584" y="456"/>
                    <a:pt x="580" y="457"/>
                    <a:pt x="576" y="474"/>
                  </a:cubicBezTo>
                  <a:cubicBezTo>
                    <a:pt x="599" y="481"/>
                    <a:pt x="599" y="481"/>
                    <a:pt x="599" y="481"/>
                  </a:cubicBezTo>
                  <a:cubicBezTo>
                    <a:pt x="602" y="497"/>
                    <a:pt x="594" y="500"/>
                    <a:pt x="573" y="500"/>
                  </a:cubicBezTo>
                  <a:cubicBezTo>
                    <a:pt x="547" y="496"/>
                    <a:pt x="547" y="496"/>
                    <a:pt x="547" y="496"/>
                  </a:cubicBezTo>
                  <a:cubicBezTo>
                    <a:pt x="545" y="428"/>
                    <a:pt x="529" y="332"/>
                    <a:pt x="516" y="268"/>
                  </a:cubicBezTo>
                  <a:cubicBezTo>
                    <a:pt x="509" y="235"/>
                    <a:pt x="505" y="192"/>
                    <a:pt x="498" y="153"/>
                  </a:cubicBezTo>
                  <a:cubicBezTo>
                    <a:pt x="489" y="102"/>
                    <a:pt x="513" y="57"/>
                    <a:pt x="473" y="48"/>
                  </a:cubicBezTo>
                  <a:cubicBezTo>
                    <a:pt x="460" y="131"/>
                    <a:pt x="464" y="212"/>
                    <a:pt x="472" y="292"/>
                  </a:cubicBezTo>
                  <a:cubicBezTo>
                    <a:pt x="475" y="323"/>
                    <a:pt x="474" y="354"/>
                    <a:pt x="480" y="385"/>
                  </a:cubicBezTo>
                  <a:cubicBezTo>
                    <a:pt x="470" y="400"/>
                    <a:pt x="453" y="435"/>
                    <a:pt x="429" y="435"/>
                  </a:cubicBezTo>
                  <a:cubicBezTo>
                    <a:pt x="412" y="435"/>
                    <a:pt x="357" y="244"/>
                    <a:pt x="318" y="244"/>
                  </a:cubicBezTo>
                  <a:cubicBezTo>
                    <a:pt x="283" y="244"/>
                    <a:pt x="273" y="260"/>
                    <a:pt x="266" y="289"/>
                  </a:cubicBezTo>
                  <a:cubicBezTo>
                    <a:pt x="320" y="303"/>
                    <a:pt x="343" y="347"/>
                    <a:pt x="364" y="397"/>
                  </a:cubicBezTo>
                  <a:cubicBezTo>
                    <a:pt x="371" y="413"/>
                    <a:pt x="390" y="468"/>
                    <a:pt x="396" y="501"/>
                  </a:cubicBezTo>
                  <a:cubicBezTo>
                    <a:pt x="405" y="514"/>
                    <a:pt x="419" y="540"/>
                    <a:pt x="421" y="547"/>
                  </a:cubicBezTo>
                  <a:cubicBezTo>
                    <a:pt x="389" y="563"/>
                    <a:pt x="334" y="563"/>
                    <a:pt x="291" y="572"/>
                  </a:cubicBezTo>
                  <a:cubicBezTo>
                    <a:pt x="231" y="585"/>
                    <a:pt x="218" y="612"/>
                    <a:pt x="177" y="621"/>
                  </a:cubicBezTo>
                  <a:cubicBezTo>
                    <a:pt x="193" y="553"/>
                    <a:pt x="219" y="481"/>
                    <a:pt x="303" y="481"/>
                  </a:cubicBezTo>
                  <a:cubicBezTo>
                    <a:pt x="347" y="481"/>
                    <a:pt x="347" y="481"/>
                    <a:pt x="347" y="481"/>
                  </a:cubicBezTo>
                  <a:cubicBezTo>
                    <a:pt x="339" y="457"/>
                    <a:pt x="310" y="457"/>
                    <a:pt x="279" y="457"/>
                  </a:cubicBezTo>
                  <a:cubicBezTo>
                    <a:pt x="226" y="457"/>
                    <a:pt x="210" y="477"/>
                    <a:pt x="168" y="514"/>
                  </a:cubicBezTo>
                  <a:cubicBezTo>
                    <a:pt x="140" y="538"/>
                    <a:pt x="135" y="552"/>
                    <a:pt x="112" y="579"/>
                  </a:cubicBezTo>
                  <a:cubicBezTo>
                    <a:pt x="67" y="631"/>
                    <a:pt x="40" y="662"/>
                    <a:pt x="7" y="7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F11CDE96-1A1F-43F1-A641-C9FFA57900A5}"/>
                </a:ext>
              </a:extLst>
            </p:cNvPr>
            <p:cNvSpPr/>
            <p:nvPr/>
          </p:nvSpPr>
          <p:spPr bwMode="auto">
            <a:xfrm>
              <a:off x="3276601" y="2662238"/>
              <a:ext cx="663575" cy="795338"/>
            </a:xfrm>
            <a:custGeom>
              <a:avLst/>
              <a:gdLst>
                <a:gd name="T0" fmla="*/ 2 w 856"/>
                <a:gd name="T1" fmla="*/ 35 h 1024"/>
                <a:gd name="T2" fmla="*/ 23 w 856"/>
                <a:gd name="T3" fmla="*/ 42 h 1024"/>
                <a:gd name="T4" fmla="*/ 86 w 856"/>
                <a:gd name="T5" fmla="*/ 14 h 1024"/>
                <a:gd name="T6" fmla="*/ 156 w 856"/>
                <a:gd name="T7" fmla="*/ 37 h 1024"/>
                <a:gd name="T8" fmla="*/ 93 w 856"/>
                <a:gd name="T9" fmla="*/ 93 h 1024"/>
                <a:gd name="T10" fmla="*/ 165 w 856"/>
                <a:gd name="T11" fmla="*/ 90 h 1024"/>
                <a:gd name="T12" fmla="*/ 192 w 856"/>
                <a:gd name="T13" fmla="*/ 141 h 1024"/>
                <a:gd name="T14" fmla="*/ 149 w 856"/>
                <a:gd name="T15" fmla="*/ 89 h 1024"/>
                <a:gd name="T16" fmla="*/ 239 w 856"/>
                <a:gd name="T17" fmla="*/ 165 h 1024"/>
                <a:gd name="T18" fmla="*/ 249 w 856"/>
                <a:gd name="T19" fmla="*/ 127 h 1024"/>
                <a:gd name="T20" fmla="*/ 176 w 856"/>
                <a:gd name="T21" fmla="*/ 136 h 1024"/>
                <a:gd name="T22" fmla="*/ 312 w 856"/>
                <a:gd name="T23" fmla="*/ 181 h 1024"/>
                <a:gd name="T24" fmla="*/ 316 w 856"/>
                <a:gd name="T25" fmla="*/ 104 h 1024"/>
                <a:gd name="T26" fmla="*/ 296 w 856"/>
                <a:gd name="T27" fmla="*/ 169 h 1024"/>
                <a:gd name="T28" fmla="*/ 330 w 856"/>
                <a:gd name="T29" fmla="*/ 189 h 1024"/>
                <a:gd name="T30" fmla="*/ 364 w 856"/>
                <a:gd name="T31" fmla="*/ 230 h 1024"/>
                <a:gd name="T32" fmla="*/ 381 w 856"/>
                <a:gd name="T33" fmla="*/ 145 h 1024"/>
                <a:gd name="T34" fmla="*/ 367 w 856"/>
                <a:gd name="T35" fmla="*/ 135 h 1024"/>
                <a:gd name="T36" fmla="*/ 304 w 856"/>
                <a:gd name="T37" fmla="*/ 196 h 1024"/>
                <a:gd name="T38" fmla="*/ 401 w 856"/>
                <a:gd name="T39" fmla="*/ 156 h 1024"/>
                <a:gd name="T40" fmla="*/ 382 w 856"/>
                <a:gd name="T41" fmla="*/ 244 h 1024"/>
                <a:gd name="T42" fmla="*/ 538 w 856"/>
                <a:gd name="T43" fmla="*/ 256 h 1024"/>
                <a:gd name="T44" fmla="*/ 481 w 856"/>
                <a:gd name="T45" fmla="*/ 210 h 1024"/>
                <a:gd name="T46" fmla="*/ 448 w 856"/>
                <a:gd name="T47" fmla="*/ 291 h 1024"/>
                <a:gd name="T48" fmla="*/ 510 w 856"/>
                <a:gd name="T49" fmla="*/ 346 h 1024"/>
                <a:gd name="T50" fmla="*/ 524 w 856"/>
                <a:gd name="T51" fmla="*/ 358 h 1024"/>
                <a:gd name="T52" fmla="*/ 598 w 856"/>
                <a:gd name="T53" fmla="*/ 321 h 1024"/>
                <a:gd name="T54" fmla="*/ 594 w 856"/>
                <a:gd name="T55" fmla="*/ 408 h 1024"/>
                <a:gd name="T56" fmla="*/ 560 w 856"/>
                <a:gd name="T57" fmla="*/ 386 h 1024"/>
                <a:gd name="T58" fmla="*/ 619 w 856"/>
                <a:gd name="T59" fmla="*/ 352 h 1024"/>
                <a:gd name="T60" fmla="*/ 618 w 856"/>
                <a:gd name="T61" fmla="*/ 407 h 1024"/>
                <a:gd name="T62" fmla="*/ 625 w 856"/>
                <a:gd name="T63" fmla="*/ 484 h 1024"/>
                <a:gd name="T64" fmla="*/ 683 w 856"/>
                <a:gd name="T65" fmla="*/ 419 h 1024"/>
                <a:gd name="T66" fmla="*/ 577 w 856"/>
                <a:gd name="T67" fmla="*/ 416 h 1024"/>
                <a:gd name="T68" fmla="*/ 671 w 856"/>
                <a:gd name="T69" fmla="*/ 536 h 1024"/>
                <a:gd name="T70" fmla="*/ 662 w 856"/>
                <a:gd name="T71" fmla="*/ 513 h 1024"/>
                <a:gd name="T72" fmla="*/ 657 w 856"/>
                <a:gd name="T73" fmla="*/ 541 h 1024"/>
                <a:gd name="T74" fmla="*/ 746 w 856"/>
                <a:gd name="T75" fmla="*/ 531 h 1024"/>
                <a:gd name="T76" fmla="*/ 657 w 856"/>
                <a:gd name="T77" fmla="*/ 541 h 1024"/>
                <a:gd name="T78" fmla="*/ 717 w 856"/>
                <a:gd name="T79" fmla="*/ 644 h 1024"/>
                <a:gd name="T80" fmla="*/ 800 w 856"/>
                <a:gd name="T81" fmla="*/ 656 h 1024"/>
                <a:gd name="T82" fmla="*/ 773 w 856"/>
                <a:gd name="T83" fmla="*/ 588 h 1024"/>
                <a:gd name="T84" fmla="*/ 812 w 856"/>
                <a:gd name="T85" fmla="*/ 705 h 1024"/>
                <a:gd name="T86" fmla="*/ 759 w 856"/>
                <a:gd name="T87" fmla="*/ 677 h 1024"/>
                <a:gd name="T88" fmla="*/ 737 w 856"/>
                <a:gd name="T89" fmla="*/ 745 h 1024"/>
                <a:gd name="T90" fmla="*/ 828 w 856"/>
                <a:gd name="T91" fmla="*/ 757 h 1024"/>
                <a:gd name="T92" fmla="*/ 842 w 856"/>
                <a:gd name="T93" fmla="*/ 832 h 1024"/>
                <a:gd name="T94" fmla="*/ 820 w 856"/>
                <a:gd name="T95" fmla="*/ 783 h 1024"/>
                <a:gd name="T96" fmla="*/ 745 w 856"/>
                <a:gd name="T97" fmla="*/ 806 h 1024"/>
                <a:gd name="T98" fmla="*/ 838 w 856"/>
                <a:gd name="T99" fmla="*/ 826 h 1024"/>
                <a:gd name="T100" fmla="*/ 806 w 856"/>
                <a:gd name="T101" fmla="*/ 859 h 1024"/>
                <a:gd name="T102" fmla="*/ 768 w 856"/>
                <a:gd name="T103" fmla="*/ 864 h 1024"/>
                <a:gd name="T104" fmla="*/ 765 w 856"/>
                <a:gd name="T105" fmla="*/ 922 h 1024"/>
                <a:gd name="T106" fmla="*/ 767 w 856"/>
                <a:gd name="T107" fmla="*/ 964 h 1024"/>
                <a:gd name="T108" fmla="*/ 849 w 856"/>
                <a:gd name="T109" fmla="*/ 903 h 1024"/>
                <a:gd name="T110" fmla="*/ 845 w 856"/>
                <a:gd name="T111" fmla="*/ 921 h 1024"/>
                <a:gd name="T112" fmla="*/ 772 w 856"/>
                <a:gd name="T113" fmla="*/ 990 h 1024"/>
                <a:gd name="T114" fmla="*/ 849 w 856"/>
                <a:gd name="T115" fmla="*/ 1021 h 1024"/>
                <a:gd name="T116" fmla="*/ 766 w 856"/>
                <a:gd name="T117" fmla="*/ 99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6" h="1024">
                  <a:moveTo>
                    <a:pt x="77" y="53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4" y="55"/>
                    <a:pt x="72" y="56"/>
                    <a:pt x="70" y="59"/>
                  </a:cubicBezTo>
                  <a:cubicBezTo>
                    <a:pt x="68" y="62"/>
                    <a:pt x="66" y="68"/>
                    <a:pt x="64" y="78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1" y="85"/>
                    <a:pt x="61" y="85"/>
                    <a:pt x="61" y="85"/>
                  </a:cubicBezTo>
                  <a:cubicBezTo>
                    <a:pt x="56" y="88"/>
                    <a:pt x="50" y="89"/>
                    <a:pt x="44" y="89"/>
                  </a:cubicBezTo>
                  <a:cubicBezTo>
                    <a:pt x="39" y="90"/>
                    <a:pt x="33" y="89"/>
                    <a:pt x="27" y="88"/>
                  </a:cubicBezTo>
                  <a:cubicBezTo>
                    <a:pt x="22" y="86"/>
                    <a:pt x="17" y="84"/>
                    <a:pt x="13" y="81"/>
                  </a:cubicBezTo>
                  <a:cubicBezTo>
                    <a:pt x="9" y="78"/>
                    <a:pt x="6" y="74"/>
                    <a:pt x="4" y="69"/>
                  </a:cubicBezTo>
                  <a:cubicBezTo>
                    <a:pt x="2" y="64"/>
                    <a:pt x="0" y="58"/>
                    <a:pt x="0" y="52"/>
                  </a:cubicBezTo>
                  <a:cubicBezTo>
                    <a:pt x="0" y="47"/>
                    <a:pt x="0" y="41"/>
                    <a:pt x="2" y="35"/>
                  </a:cubicBezTo>
                  <a:cubicBezTo>
                    <a:pt x="3" y="30"/>
                    <a:pt x="5" y="25"/>
                    <a:pt x="8" y="20"/>
                  </a:cubicBezTo>
                  <a:cubicBezTo>
                    <a:pt x="11" y="16"/>
                    <a:pt x="15" y="12"/>
                    <a:pt x="19" y="9"/>
                  </a:cubicBezTo>
                  <a:cubicBezTo>
                    <a:pt x="24" y="5"/>
                    <a:pt x="29" y="2"/>
                    <a:pt x="35" y="1"/>
                  </a:cubicBezTo>
                  <a:cubicBezTo>
                    <a:pt x="41" y="0"/>
                    <a:pt x="47" y="0"/>
                    <a:pt x="52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70" y="11"/>
                    <a:pt x="75" y="15"/>
                    <a:pt x="79" y="2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0"/>
                    <a:pt x="67" y="23"/>
                    <a:pt x="65" y="17"/>
                  </a:cubicBezTo>
                  <a:cubicBezTo>
                    <a:pt x="63" y="12"/>
                    <a:pt x="59" y="9"/>
                    <a:pt x="54" y="8"/>
                  </a:cubicBezTo>
                  <a:cubicBezTo>
                    <a:pt x="48" y="6"/>
                    <a:pt x="42" y="8"/>
                    <a:pt x="36" y="14"/>
                  </a:cubicBezTo>
                  <a:cubicBezTo>
                    <a:pt x="31" y="20"/>
                    <a:pt x="26" y="29"/>
                    <a:pt x="23" y="42"/>
                  </a:cubicBezTo>
                  <a:cubicBezTo>
                    <a:pt x="20" y="53"/>
                    <a:pt x="19" y="63"/>
                    <a:pt x="20" y="70"/>
                  </a:cubicBezTo>
                  <a:cubicBezTo>
                    <a:pt x="21" y="77"/>
                    <a:pt x="25" y="82"/>
                    <a:pt x="30" y="83"/>
                  </a:cubicBezTo>
                  <a:cubicBezTo>
                    <a:pt x="33" y="84"/>
                    <a:pt x="36" y="83"/>
                    <a:pt x="39" y="81"/>
                  </a:cubicBezTo>
                  <a:cubicBezTo>
                    <a:pt x="42" y="79"/>
                    <a:pt x="44" y="75"/>
                    <a:pt x="45" y="69"/>
                  </a:cubicBezTo>
                  <a:cubicBezTo>
                    <a:pt x="47" y="61"/>
                    <a:pt x="48" y="55"/>
                    <a:pt x="48" y="52"/>
                  </a:cubicBezTo>
                  <a:cubicBezTo>
                    <a:pt x="47" y="49"/>
                    <a:pt x="46" y="47"/>
                    <a:pt x="43" y="45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6" y="45"/>
                    <a:pt x="49" y="46"/>
                    <a:pt x="51" y="46"/>
                  </a:cubicBezTo>
                  <a:cubicBezTo>
                    <a:pt x="54" y="47"/>
                    <a:pt x="57" y="48"/>
                    <a:pt x="60" y="49"/>
                  </a:cubicBezTo>
                  <a:cubicBezTo>
                    <a:pt x="62" y="49"/>
                    <a:pt x="65" y="50"/>
                    <a:pt x="68" y="51"/>
                  </a:cubicBezTo>
                  <a:cubicBezTo>
                    <a:pt x="71" y="52"/>
                    <a:pt x="74" y="52"/>
                    <a:pt x="77" y="53"/>
                  </a:cubicBezTo>
                  <a:close/>
                  <a:moveTo>
                    <a:pt x="86" y="14"/>
                  </a:moveTo>
                  <a:cubicBezTo>
                    <a:pt x="88" y="17"/>
                    <a:pt x="89" y="20"/>
                    <a:pt x="89" y="24"/>
                  </a:cubicBezTo>
                  <a:cubicBezTo>
                    <a:pt x="89" y="28"/>
                    <a:pt x="86" y="37"/>
                    <a:pt x="82" y="49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2" y="78"/>
                    <a:pt x="72" y="86"/>
                    <a:pt x="75" y="93"/>
                  </a:cubicBezTo>
                  <a:cubicBezTo>
                    <a:pt x="77" y="99"/>
                    <a:pt x="84" y="104"/>
                    <a:pt x="93" y="108"/>
                  </a:cubicBezTo>
                  <a:cubicBezTo>
                    <a:pt x="103" y="111"/>
                    <a:pt x="111" y="111"/>
                    <a:pt x="118" y="107"/>
                  </a:cubicBezTo>
                  <a:cubicBezTo>
                    <a:pt x="124" y="103"/>
                    <a:pt x="130" y="95"/>
                    <a:pt x="134" y="83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42" y="59"/>
                    <a:pt x="146" y="50"/>
                    <a:pt x="149" y="46"/>
                  </a:cubicBezTo>
                  <a:cubicBezTo>
                    <a:pt x="152" y="43"/>
                    <a:pt x="156" y="40"/>
                    <a:pt x="160" y="40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9" y="38"/>
                    <a:pt x="158" y="37"/>
                    <a:pt x="156" y="37"/>
                  </a:cubicBezTo>
                  <a:cubicBezTo>
                    <a:pt x="154" y="36"/>
                    <a:pt x="151" y="35"/>
                    <a:pt x="148" y="34"/>
                  </a:cubicBezTo>
                  <a:cubicBezTo>
                    <a:pt x="144" y="33"/>
                    <a:pt x="142" y="32"/>
                    <a:pt x="140" y="31"/>
                  </a:cubicBezTo>
                  <a:cubicBezTo>
                    <a:pt x="138" y="31"/>
                    <a:pt x="136" y="30"/>
                    <a:pt x="135" y="29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8" y="34"/>
                    <a:pt x="139" y="38"/>
                    <a:pt x="139" y="43"/>
                  </a:cubicBezTo>
                  <a:cubicBezTo>
                    <a:pt x="139" y="48"/>
                    <a:pt x="137" y="57"/>
                    <a:pt x="132" y="7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7" y="87"/>
                    <a:pt x="125" y="91"/>
                    <a:pt x="124" y="93"/>
                  </a:cubicBezTo>
                  <a:cubicBezTo>
                    <a:pt x="123" y="96"/>
                    <a:pt x="121" y="98"/>
                    <a:pt x="119" y="99"/>
                  </a:cubicBezTo>
                  <a:cubicBezTo>
                    <a:pt x="117" y="102"/>
                    <a:pt x="114" y="103"/>
                    <a:pt x="111" y="104"/>
                  </a:cubicBezTo>
                  <a:cubicBezTo>
                    <a:pt x="108" y="105"/>
                    <a:pt x="106" y="105"/>
                    <a:pt x="103" y="104"/>
                  </a:cubicBezTo>
                  <a:cubicBezTo>
                    <a:pt x="97" y="102"/>
                    <a:pt x="94" y="98"/>
                    <a:pt x="93" y="93"/>
                  </a:cubicBezTo>
                  <a:cubicBezTo>
                    <a:pt x="92" y="88"/>
                    <a:pt x="93" y="81"/>
                    <a:pt x="96" y="71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6" y="41"/>
                    <a:pt x="109" y="35"/>
                    <a:pt x="111" y="32"/>
                  </a:cubicBezTo>
                  <a:cubicBezTo>
                    <a:pt x="114" y="28"/>
                    <a:pt x="116" y="26"/>
                    <a:pt x="119" y="26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12" y="22"/>
                    <a:pt x="107" y="20"/>
                    <a:pt x="103" y="19"/>
                  </a:cubicBezTo>
                  <a:cubicBezTo>
                    <a:pt x="101" y="18"/>
                    <a:pt x="99" y="17"/>
                    <a:pt x="97" y="17"/>
                  </a:cubicBezTo>
                  <a:cubicBezTo>
                    <a:pt x="95" y="16"/>
                    <a:pt x="91" y="14"/>
                    <a:pt x="87" y="13"/>
                  </a:cubicBezTo>
                  <a:cubicBezTo>
                    <a:pt x="86" y="14"/>
                    <a:pt x="86" y="14"/>
                    <a:pt x="86" y="14"/>
                  </a:cubicBezTo>
                  <a:close/>
                  <a:moveTo>
                    <a:pt x="165" y="90"/>
                  </a:moveTo>
                  <a:cubicBezTo>
                    <a:pt x="152" y="85"/>
                    <a:pt x="152" y="85"/>
                    <a:pt x="152" y="85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5" y="90"/>
                    <a:pt x="165" y="90"/>
                    <a:pt x="165" y="90"/>
                  </a:cubicBezTo>
                  <a:close/>
                  <a:moveTo>
                    <a:pt x="112" y="112"/>
                  </a:moveTo>
                  <a:cubicBezTo>
                    <a:pt x="113" y="110"/>
                    <a:pt x="113" y="110"/>
                    <a:pt x="113" y="110"/>
                  </a:cubicBezTo>
                  <a:cubicBezTo>
                    <a:pt x="118" y="111"/>
                    <a:pt x="126" y="105"/>
                    <a:pt x="137" y="93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187" y="131"/>
                    <a:pt x="187" y="134"/>
                    <a:pt x="188" y="136"/>
                  </a:cubicBezTo>
                  <a:cubicBezTo>
                    <a:pt x="189" y="138"/>
                    <a:pt x="190" y="140"/>
                    <a:pt x="192" y="141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83" y="139"/>
                    <a:pt x="178" y="137"/>
                    <a:pt x="175" y="136"/>
                  </a:cubicBezTo>
                  <a:cubicBezTo>
                    <a:pt x="172" y="134"/>
                    <a:pt x="166" y="132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7" y="127"/>
                    <a:pt x="159" y="127"/>
                    <a:pt x="160" y="126"/>
                  </a:cubicBezTo>
                  <a:cubicBezTo>
                    <a:pt x="162" y="126"/>
                    <a:pt x="163" y="124"/>
                    <a:pt x="163" y="122"/>
                  </a:cubicBezTo>
                  <a:cubicBezTo>
                    <a:pt x="164" y="121"/>
                    <a:pt x="164" y="120"/>
                    <a:pt x="164" y="119"/>
                  </a:cubicBezTo>
                  <a:cubicBezTo>
                    <a:pt x="165" y="117"/>
                    <a:pt x="165" y="115"/>
                    <a:pt x="165" y="114"/>
                  </a:cubicBezTo>
                  <a:cubicBezTo>
                    <a:pt x="165" y="96"/>
                    <a:pt x="165" y="96"/>
                    <a:pt x="165" y="96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5" y="94"/>
                    <a:pt x="142" y="97"/>
                    <a:pt x="140" y="100"/>
                  </a:cubicBezTo>
                  <a:cubicBezTo>
                    <a:pt x="137" y="103"/>
                    <a:pt x="136" y="106"/>
                    <a:pt x="135" y="108"/>
                  </a:cubicBezTo>
                  <a:cubicBezTo>
                    <a:pt x="134" y="111"/>
                    <a:pt x="134" y="113"/>
                    <a:pt x="134" y="115"/>
                  </a:cubicBezTo>
                  <a:cubicBezTo>
                    <a:pt x="135" y="117"/>
                    <a:pt x="136" y="119"/>
                    <a:pt x="138" y="120"/>
                  </a:cubicBezTo>
                  <a:cubicBezTo>
                    <a:pt x="137" y="122"/>
                    <a:pt x="137" y="122"/>
                    <a:pt x="137" y="122"/>
                  </a:cubicBezTo>
                  <a:cubicBezTo>
                    <a:pt x="135" y="121"/>
                    <a:pt x="133" y="120"/>
                    <a:pt x="131" y="119"/>
                  </a:cubicBezTo>
                  <a:cubicBezTo>
                    <a:pt x="129" y="118"/>
                    <a:pt x="127" y="117"/>
                    <a:pt x="125" y="117"/>
                  </a:cubicBezTo>
                  <a:cubicBezTo>
                    <a:pt x="123" y="116"/>
                    <a:pt x="121" y="115"/>
                    <a:pt x="119" y="115"/>
                  </a:cubicBezTo>
                  <a:cubicBezTo>
                    <a:pt x="117" y="114"/>
                    <a:pt x="115" y="113"/>
                    <a:pt x="112" y="112"/>
                  </a:cubicBezTo>
                  <a:close/>
                  <a:moveTo>
                    <a:pt x="217" y="81"/>
                  </a:moveTo>
                  <a:cubicBezTo>
                    <a:pt x="236" y="164"/>
                    <a:pt x="236" y="164"/>
                    <a:pt x="236" y="164"/>
                  </a:cubicBezTo>
                  <a:cubicBezTo>
                    <a:pt x="239" y="165"/>
                    <a:pt x="239" y="165"/>
                    <a:pt x="239" y="165"/>
                  </a:cubicBezTo>
                  <a:cubicBezTo>
                    <a:pt x="257" y="121"/>
                    <a:pt x="257" y="121"/>
                    <a:pt x="257" y="121"/>
                  </a:cubicBezTo>
                  <a:cubicBezTo>
                    <a:pt x="263" y="108"/>
                    <a:pt x="267" y="99"/>
                    <a:pt x="271" y="96"/>
                  </a:cubicBezTo>
                  <a:cubicBezTo>
                    <a:pt x="274" y="92"/>
                    <a:pt x="278" y="90"/>
                    <a:pt x="283" y="90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2" y="88"/>
                    <a:pt x="280" y="87"/>
                    <a:pt x="278" y="87"/>
                  </a:cubicBezTo>
                  <a:cubicBezTo>
                    <a:pt x="277" y="86"/>
                    <a:pt x="274" y="85"/>
                    <a:pt x="271" y="84"/>
                  </a:cubicBezTo>
                  <a:cubicBezTo>
                    <a:pt x="267" y="82"/>
                    <a:pt x="264" y="81"/>
                    <a:pt x="263" y="80"/>
                  </a:cubicBezTo>
                  <a:cubicBezTo>
                    <a:pt x="261" y="79"/>
                    <a:pt x="259" y="79"/>
                    <a:pt x="258" y="78"/>
                  </a:cubicBezTo>
                  <a:cubicBezTo>
                    <a:pt x="257" y="80"/>
                    <a:pt x="257" y="80"/>
                    <a:pt x="257" y="80"/>
                  </a:cubicBezTo>
                  <a:cubicBezTo>
                    <a:pt x="260" y="83"/>
                    <a:pt x="262" y="87"/>
                    <a:pt x="262" y="92"/>
                  </a:cubicBezTo>
                  <a:cubicBezTo>
                    <a:pt x="261" y="96"/>
                    <a:pt x="258" y="105"/>
                    <a:pt x="253" y="119"/>
                  </a:cubicBezTo>
                  <a:cubicBezTo>
                    <a:pt x="249" y="127"/>
                    <a:pt x="249" y="127"/>
                    <a:pt x="249" y="127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4" y="68"/>
                    <a:pt x="233" y="67"/>
                    <a:pt x="231" y="66"/>
                  </a:cubicBezTo>
                  <a:cubicBezTo>
                    <a:pt x="229" y="66"/>
                    <a:pt x="227" y="65"/>
                    <a:pt x="226" y="65"/>
                  </a:cubicBezTo>
                  <a:cubicBezTo>
                    <a:pt x="224" y="64"/>
                    <a:pt x="221" y="63"/>
                    <a:pt x="218" y="61"/>
                  </a:cubicBezTo>
                  <a:cubicBezTo>
                    <a:pt x="215" y="59"/>
                    <a:pt x="212" y="58"/>
                    <a:pt x="211" y="58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3" y="62"/>
                    <a:pt x="215" y="64"/>
                    <a:pt x="215" y="67"/>
                  </a:cubicBezTo>
                  <a:cubicBezTo>
                    <a:pt x="215" y="69"/>
                    <a:pt x="214" y="73"/>
                    <a:pt x="212" y="78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196" y="117"/>
                    <a:pt x="191" y="125"/>
                    <a:pt x="188" y="129"/>
                  </a:cubicBezTo>
                  <a:cubicBezTo>
                    <a:pt x="185" y="132"/>
                    <a:pt x="181" y="134"/>
                    <a:pt x="176" y="134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6"/>
                    <a:pt x="180" y="137"/>
                    <a:pt x="182" y="138"/>
                  </a:cubicBezTo>
                  <a:cubicBezTo>
                    <a:pt x="184" y="139"/>
                    <a:pt x="186" y="140"/>
                    <a:pt x="189" y="141"/>
                  </a:cubicBezTo>
                  <a:cubicBezTo>
                    <a:pt x="191" y="142"/>
                    <a:pt x="193" y="143"/>
                    <a:pt x="195" y="144"/>
                  </a:cubicBezTo>
                  <a:cubicBezTo>
                    <a:pt x="197" y="145"/>
                    <a:pt x="199" y="145"/>
                    <a:pt x="201" y="146"/>
                  </a:cubicBezTo>
                  <a:cubicBezTo>
                    <a:pt x="202" y="145"/>
                    <a:pt x="202" y="145"/>
                    <a:pt x="202" y="145"/>
                  </a:cubicBezTo>
                  <a:cubicBezTo>
                    <a:pt x="199" y="141"/>
                    <a:pt x="197" y="137"/>
                    <a:pt x="197" y="132"/>
                  </a:cubicBezTo>
                  <a:cubicBezTo>
                    <a:pt x="198" y="127"/>
                    <a:pt x="201" y="119"/>
                    <a:pt x="206" y="105"/>
                  </a:cubicBezTo>
                  <a:cubicBezTo>
                    <a:pt x="217" y="81"/>
                    <a:pt x="217" y="81"/>
                    <a:pt x="217" y="81"/>
                  </a:cubicBezTo>
                  <a:close/>
                  <a:moveTo>
                    <a:pt x="330" y="159"/>
                  </a:moveTo>
                  <a:cubicBezTo>
                    <a:pt x="330" y="161"/>
                    <a:pt x="330" y="161"/>
                    <a:pt x="330" y="161"/>
                  </a:cubicBezTo>
                  <a:cubicBezTo>
                    <a:pt x="327" y="161"/>
                    <a:pt x="325" y="162"/>
                    <a:pt x="322" y="164"/>
                  </a:cubicBezTo>
                  <a:cubicBezTo>
                    <a:pt x="320" y="166"/>
                    <a:pt x="317" y="172"/>
                    <a:pt x="312" y="181"/>
                  </a:cubicBezTo>
                  <a:cubicBezTo>
                    <a:pt x="311" y="184"/>
                    <a:pt x="311" y="184"/>
                    <a:pt x="311" y="184"/>
                  </a:cubicBezTo>
                  <a:cubicBezTo>
                    <a:pt x="309" y="188"/>
                    <a:pt x="309" y="188"/>
                    <a:pt x="309" y="188"/>
                  </a:cubicBezTo>
                  <a:cubicBezTo>
                    <a:pt x="303" y="189"/>
                    <a:pt x="297" y="190"/>
                    <a:pt x="291" y="189"/>
                  </a:cubicBezTo>
                  <a:cubicBezTo>
                    <a:pt x="286" y="188"/>
                    <a:pt x="280" y="187"/>
                    <a:pt x="275" y="184"/>
                  </a:cubicBezTo>
                  <a:cubicBezTo>
                    <a:pt x="270" y="182"/>
                    <a:pt x="266" y="178"/>
                    <a:pt x="262" y="175"/>
                  </a:cubicBezTo>
                  <a:cubicBezTo>
                    <a:pt x="259" y="171"/>
                    <a:pt x="257" y="166"/>
                    <a:pt x="256" y="161"/>
                  </a:cubicBezTo>
                  <a:cubicBezTo>
                    <a:pt x="254" y="156"/>
                    <a:pt x="254" y="150"/>
                    <a:pt x="255" y="144"/>
                  </a:cubicBezTo>
                  <a:cubicBezTo>
                    <a:pt x="255" y="139"/>
                    <a:pt x="257" y="133"/>
                    <a:pt x="260" y="128"/>
                  </a:cubicBezTo>
                  <a:cubicBezTo>
                    <a:pt x="262" y="123"/>
                    <a:pt x="265" y="118"/>
                    <a:pt x="269" y="114"/>
                  </a:cubicBezTo>
                  <a:cubicBezTo>
                    <a:pt x="273" y="110"/>
                    <a:pt x="277" y="107"/>
                    <a:pt x="282" y="105"/>
                  </a:cubicBezTo>
                  <a:cubicBezTo>
                    <a:pt x="287" y="102"/>
                    <a:pt x="293" y="101"/>
                    <a:pt x="299" y="101"/>
                  </a:cubicBezTo>
                  <a:cubicBezTo>
                    <a:pt x="305" y="100"/>
                    <a:pt x="311" y="102"/>
                    <a:pt x="316" y="104"/>
                  </a:cubicBezTo>
                  <a:cubicBezTo>
                    <a:pt x="320" y="107"/>
                    <a:pt x="324" y="109"/>
                    <a:pt x="328" y="113"/>
                  </a:cubicBezTo>
                  <a:cubicBezTo>
                    <a:pt x="332" y="117"/>
                    <a:pt x="335" y="121"/>
                    <a:pt x="339" y="127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2" y="144"/>
                    <a:pt x="322" y="144"/>
                    <a:pt x="322" y="144"/>
                  </a:cubicBezTo>
                  <a:cubicBezTo>
                    <a:pt x="325" y="135"/>
                    <a:pt x="326" y="128"/>
                    <a:pt x="325" y="122"/>
                  </a:cubicBezTo>
                  <a:cubicBezTo>
                    <a:pt x="324" y="117"/>
                    <a:pt x="321" y="113"/>
                    <a:pt x="317" y="111"/>
                  </a:cubicBezTo>
                  <a:cubicBezTo>
                    <a:pt x="311" y="108"/>
                    <a:pt x="305" y="109"/>
                    <a:pt x="298" y="114"/>
                  </a:cubicBezTo>
                  <a:cubicBezTo>
                    <a:pt x="291" y="119"/>
                    <a:pt x="285" y="127"/>
                    <a:pt x="280" y="138"/>
                  </a:cubicBezTo>
                  <a:cubicBezTo>
                    <a:pt x="274" y="149"/>
                    <a:pt x="272" y="158"/>
                    <a:pt x="271" y="165"/>
                  </a:cubicBezTo>
                  <a:cubicBezTo>
                    <a:pt x="271" y="173"/>
                    <a:pt x="273" y="178"/>
                    <a:pt x="278" y="180"/>
                  </a:cubicBezTo>
                  <a:cubicBezTo>
                    <a:pt x="282" y="182"/>
                    <a:pt x="285" y="182"/>
                    <a:pt x="288" y="180"/>
                  </a:cubicBezTo>
                  <a:cubicBezTo>
                    <a:pt x="291" y="178"/>
                    <a:pt x="294" y="174"/>
                    <a:pt x="296" y="169"/>
                  </a:cubicBezTo>
                  <a:cubicBezTo>
                    <a:pt x="300" y="162"/>
                    <a:pt x="302" y="156"/>
                    <a:pt x="302" y="153"/>
                  </a:cubicBezTo>
                  <a:cubicBezTo>
                    <a:pt x="302" y="150"/>
                    <a:pt x="301" y="148"/>
                    <a:pt x="298" y="145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301" y="145"/>
                    <a:pt x="304" y="147"/>
                    <a:pt x="306" y="148"/>
                  </a:cubicBezTo>
                  <a:cubicBezTo>
                    <a:pt x="309" y="149"/>
                    <a:pt x="311" y="151"/>
                    <a:pt x="314" y="152"/>
                  </a:cubicBezTo>
                  <a:cubicBezTo>
                    <a:pt x="317" y="153"/>
                    <a:pt x="319" y="154"/>
                    <a:pt x="322" y="156"/>
                  </a:cubicBezTo>
                  <a:cubicBezTo>
                    <a:pt x="325" y="157"/>
                    <a:pt x="328" y="158"/>
                    <a:pt x="330" y="159"/>
                  </a:cubicBezTo>
                  <a:close/>
                  <a:moveTo>
                    <a:pt x="323" y="206"/>
                  </a:moveTo>
                  <a:cubicBezTo>
                    <a:pt x="322" y="204"/>
                    <a:pt x="321" y="203"/>
                    <a:pt x="321" y="201"/>
                  </a:cubicBezTo>
                  <a:cubicBezTo>
                    <a:pt x="321" y="199"/>
                    <a:pt x="322" y="198"/>
                    <a:pt x="323" y="196"/>
                  </a:cubicBezTo>
                  <a:cubicBezTo>
                    <a:pt x="323" y="195"/>
                    <a:pt x="324" y="194"/>
                    <a:pt x="325" y="193"/>
                  </a:cubicBezTo>
                  <a:cubicBezTo>
                    <a:pt x="327" y="192"/>
                    <a:pt x="328" y="190"/>
                    <a:pt x="330" y="189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42" y="198"/>
                    <a:pt x="342" y="198"/>
                    <a:pt x="342" y="198"/>
                  </a:cubicBezTo>
                  <a:cubicBezTo>
                    <a:pt x="341" y="200"/>
                    <a:pt x="341" y="202"/>
                    <a:pt x="341" y="204"/>
                  </a:cubicBezTo>
                  <a:cubicBezTo>
                    <a:pt x="340" y="205"/>
                    <a:pt x="340" y="207"/>
                    <a:pt x="339" y="208"/>
                  </a:cubicBezTo>
                  <a:cubicBezTo>
                    <a:pt x="338" y="209"/>
                    <a:pt x="337" y="210"/>
                    <a:pt x="336" y="211"/>
                  </a:cubicBezTo>
                  <a:cubicBezTo>
                    <a:pt x="335" y="211"/>
                    <a:pt x="333" y="211"/>
                    <a:pt x="331" y="210"/>
                  </a:cubicBezTo>
                  <a:cubicBezTo>
                    <a:pt x="330" y="212"/>
                    <a:pt x="330" y="212"/>
                    <a:pt x="330" y="212"/>
                  </a:cubicBezTo>
                  <a:cubicBezTo>
                    <a:pt x="332" y="213"/>
                    <a:pt x="335" y="215"/>
                    <a:pt x="338" y="216"/>
                  </a:cubicBezTo>
                  <a:cubicBezTo>
                    <a:pt x="341" y="218"/>
                    <a:pt x="344" y="220"/>
                    <a:pt x="347" y="222"/>
                  </a:cubicBezTo>
                  <a:cubicBezTo>
                    <a:pt x="350" y="224"/>
                    <a:pt x="353" y="225"/>
                    <a:pt x="356" y="227"/>
                  </a:cubicBezTo>
                  <a:cubicBezTo>
                    <a:pt x="358" y="229"/>
                    <a:pt x="361" y="230"/>
                    <a:pt x="363" y="232"/>
                  </a:cubicBezTo>
                  <a:cubicBezTo>
                    <a:pt x="364" y="230"/>
                    <a:pt x="364" y="230"/>
                    <a:pt x="364" y="230"/>
                  </a:cubicBezTo>
                  <a:cubicBezTo>
                    <a:pt x="363" y="229"/>
                    <a:pt x="362" y="226"/>
                    <a:pt x="361" y="222"/>
                  </a:cubicBezTo>
                  <a:cubicBezTo>
                    <a:pt x="361" y="218"/>
                    <a:pt x="361" y="213"/>
                    <a:pt x="362" y="205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375" y="168"/>
                    <a:pt x="375" y="168"/>
                    <a:pt x="375" y="168"/>
                  </a:cubicBezTo>
                  <a:cubicBezTo>
                    <a:pt x="382" y="165"/>
                    <a:pt x="388" y="162"/>
                    <a:pt x="393" y="160"/>
                  </a:cubicBezTo>
                  <a:cubicBezTo>
                    <a:pt x="399" y="159"/>
                    <a:pt x="402" y="158"/>
                    <a:pt x="405" y="159"/>
                  </a:cubicBezTo>
                  <a:cubicBezTo>
                    <a:pt x="406" y="157"/>
                    <a:pt x="406" y="157"/>
                    <a:pt x="406" y="157"/>
                  </a:cubicBezTo>
                  <a:cubicBezTo>
                    <a:pt x="402" y="156"/>
                    <a:pt x="400" y="154"/>
                    <a:pt x="398" y="153"/>
                  </a:cubicBezTo>
                  <a:cubicBezTo>
                    <a:pt x="397" y="153"/>
                    <a:pt x="395" y="152"/>
                    <a:pt x="394" y="151"/>
                  </a:cubicBezTo>
                  <a:cubicBezTo>
                    <a:pt x="391" y="149"/>
                    <a:pt x="387" y="147"/>
                    <a:pt x="382" y="143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1" y="145"/>
                    <a:pt x="381" y="145"/>
                    <a:pt x="381" y="145"/>
                  </a:cubicBezTo>
                  <a:cubicBezTo>
                    <a:pt x="382" y="146"/>
                    <a:pt x="383" y="148"/>
                    <a:pt x="383" y="149"/>
                  </a:cubicBezTo>
                  <a:cubicBezTo>
                    <a:pt x="383" y="151"/>
                    <a:pt x="383" y="152"/>
                    <a:pt x="382" y="154"/>
                  </a:cubicBezTo>
                  <a:cubicBezTo>
                    <a:pt x="381" y="155"/>
                    <a:pt x="380" y="156"/>
                    <a:pt x="380" y="157"/>
                  </a:cubicBezTo>
                  <a:cubicBezTo>
                    <a:pt x="379" y="158"/>
                    <a:pt x="378" y="159"/>
                    <a:pt x="376" y="160"/>
                  </a:cubicBezTo>
                  <a:cubicBezTo>
                    <a:pt x="365" y="167"/>
                    <a:pt x="365" y="167"/>
                    <a:pt x="365" y="167"/>
                  </a:cubicBezTo>
                  <a:cubicBezTo>
                    <a:pt x="366" y="153"/>
                    <a:pt x="366" y="153"/>
                    <a:pt x="366" y="153"/>
                  </a:cubicBezTo>
                  <a:cubicBezTo>
                    <a:pt x="366" y="151"/>
                    <a:pt x="366" y="149"/>
                    <a:pt x="367" y="148"/>
                  </a:cubicBezTo>
                  <a:cubicBezTo>
                    <a:pt x="367" y="146"/>
                    <a:pt x="367" y="145"/>
                    <a:pt x="368" y="144"/>
                  </a:cubicBezTo>
                  <a:cubicBezTo>
                    <a:pt x="369" y="143"/>
                    <a:pt x="370" y="142"/>
                    <a:pt x="371" y="142"/>
                  </a:cubicBezTo>
                  <a:cubicBezTo>
                    <a:pt x="372" y="141"/>
                    <a:pt x="374" y="141"/>
                    <a:pt x="376" y="142"/>
                  </a:cubicBezTo>
                  <a:cubicBezTo>
                    <a:pt x="377" y="140"/>
                    <a:pt x="377" y="140"/>
                    <a:pt x="377" y="140"/>
                  </a:cubicBezTo>
                  <a:cubicBezTo>
                    <a:pt x="372" y="138"/>
                    <a:pt x="369" y="136"/>
                    <a:pt x="367" y="135"/>
                  </a:cubicBezTo>
                  <a:cubicBezTo>
                    <a:pt x="365" y="133"/>
                    <a:pt x="363" y="132"/>
                    <a:pt x="361" y="131"/>
                  </a:cubicBezTo>
                  <a:cubicBezTo>
                    <a:pt x="357" y="129"/>
                    <a:pt x="352" y="126"/>
                    <a:pt x="345" y="121"/>
                  </a:cubicBezTo>
                  <a:cubicBezTo>
                    <a:pt x="345" y="121"/>
                    <a:pt x="345" y="121"/>
                    <a:pt x="345" y="12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7" y="127"/>
                    <a:pt x="348" y="135"/>
                    <a:pt x="347" y="146"/>
                  </a:cubicBezTo>
                  <a:cubicBezTo>
                    <a:pt x="347" y="147"/>
                    <a:pt x="347" y="147"/>
                    <a:pt x="347" y="147"/>
                  </a:cubicBezTo>
                  <a:cubicBezTo>
                    <a:pt x="344" y="174"/>
                    <a:pt x="344" y="174"/>
                    <a:pt x="344" y="174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23" y="185"/>
                    <a:pt x="317" y="187"/>
                    <a:pt x="312" y="189"/>
                  </a:cubicBezTo>
                  <a:cubicBezTo>
                    <a:pt x="307" y="191"/>
                    <a:pt x="303" y="191"/>
                    <a:pt x="299" y="191"/>
                  </a:cubicBezTo>
                  <a:cubicBezTo>
                    <a:pt x="298" y="193"/>
                    <a:pt x="298" y="193"/>
                    <a:pt x="298" y="193"/>
                  </a:cubicBezTo>
                  <a:cubicBezTo>
                    <a:pt x="300" y="194"/>
                    <a:pt x="302" y="195"/>
                    <a:pt x="304" y="196"/>
                  </a:cubicBezTo>
                  <a:cubicBezTo>
                    <a:pt x="306" y="197"/>
                    <a:pt x="308" y="198"/>
                    <a:pt x="310" y="200"/>
                  </a:cubicBezTo>
                  <a:cubicBezTo>
                    <a:pt x="313" y="201"/>
                    <a:pt x="315" y="202"/>
                    <a:pt x="317" y="204"/>
                  </a:cubicBezTo>
                  <a:cubicBezTo>
                    <a:pt x="319" y="205"/>
                    <a:pt x="321" y="206"/>
                    <a:pt x="322" y="207"/>
                  </a:cubicBezTo>
                  <a:cubicBezTo>
                    <a:pt x="323" y="206"/>
                    <a:pt x="323" y="206"/>
                    <a:pt x="323" y="206"/>
                  </a:cubicBezTo>
                  <a:close/>
                  <a:moveTo>
                    <a:pt x="352" y="225"/>
                  </a:moveTo>
                  <a:cubicBezTo>
                    <a:pt x="353" y="224"/>
                    <a:pt x="353" y="224"/>
                    <a:pt x="353" y="224"/>
                  </a:cubicBezTo>
                  <a:cubicBezTo>
                    <a:pt x="356" y="224"/>
                    <a:pt x="360" y="222"/>
                    <a:pt x="362" y="220"/>
                  </a:cubicBezTo>
                  <a:cubicBezTo>
                    <a:pt x="365" y="217"/>
                    <a:pt x="370" y="211"/>
                    <a:pt x="376" y="202"/>
                  </a:cubicBezTo>
                  <a:cubicBezTo>
                    <a:pt x="379" y="198"/>
                    <a:pt x="379" y="198"/>
                    <a:pt x="379" y="198"/>
                  </a:cubicBezTo>
                  <a:cubicBezTo>
                    <a:pt x="398" y="167"/>
                    <a:pt x="398" y="167"/>
                    <a:pt x="398" y="167"/>
                  </a:cubicBezTo>
                  <a:cubicBezTo>
                    <a:pt x="400" y="164"/>
                    <a:pt x="401" y="162"/>
                    <a:pt x="402" y="161"/>
                  </a:cubicBezTo>
                  <a:cubicBezTo>
                    <a:pt x="402" y="159"/>
                    <a:pt x="401" y="158"/>
                    <a:pt x="401" y="156"/>
                  </a:cubicBezTo>
                  <a:cubicBezTo>
                    <a:pt x="402" y="155"/>
                    <a:pt x="402" y="155"/>
                    <a:pt x="402" y="155"/>
                  </a:cubicBezTo>
                  <a:cubicBezTo>
                    <a:pt x="405" y="157"/>
                    <a:pt x="407" y="159"/>
                    <a:pt x="409" y="160"/>
                  </a:cubicBezTo>
                  <a:cubicBezTo>
                    <a:pt x="410" y="161"/>
                    <a:pt x="412" y="162"/>
                    <a:pt x="413" y="163"/>
                  </a:cubicBezTo>
                  <a:cubicBezTo>
                    <a:pt x="415" y="164"/>
                    <a:pt x="416" y="165"/>
                    <a:pt x="418" y="166"/>
                  </a:cubicBezTo>
                  <a:cubicBezTo>
                    <a:pt x="420" y="167"/>
                    <a:pt x="422" y="169"/>
                    <a:pt x="426" y="171"/>
                  </a:cubicBezTo>
                  <a:cubicBezTo>
                    <a:pt x="425" y="172"/>
                    <a:pt x="425" y="172"/>
                    <a:pt x="425" y="172"/>
                  </a:cubicBezTo>
                  <a:cubicBezTo>
                    <a:pt x="423" y="172"/>
                    <a:pt x="422" y="172"/>
                    <a:pt x="421" y="173"/>
                  </a:cubicBezTo>
                  <a:cubicBezTo>
                    <a:pt x="419" y="174"/>
                    <a:pt x="418" y="175"/>
                    <a:pt x="416" y="179"/>
                  </a:cubicBezTo>
                  <a:cubicBezTo>
                    <a:pt x="393" y="214"/>
                    <a:pt x="393" y="214"/>
                    <a:pt x="393" y="214"/>
                  </a:cubicBezTo>
                  <a:cubicBezTo>
                    <a:pt x="387" y="223"/>
                    <a:pt x="383" y="229"/>
                    <a:pt x="382" y="233"/>
                  </a:cubicBezTo>
                  <a:cubicBezTo>
                    <a:pt x="381" y="237"/>
                    <a:pt x="381" y="240"/>
                    <a:pt x="383" y="243"/>
                  </a:cubicBezTo>
                  <a:cubicBezTo>
                    <a:pt x="382" y="244"/>
                    <a:pt x="382" y="244"/>
                    <a:pt x="382" y="244"/>
                  </a:cubicBezTo>
                  <a:cubicBezTo>
                    <a:pt x="380" y="243"/>
                    <a:pt x="377" y="241"/>
                    <a:pt x="375" y="239"/>
                  </a:cubicBezTo>
                  <a:cubicBezTo>
                    <a:pt x="373" y="238"/>
                    <a:pt x="370" y="236"/>
                    <a:pt x="367" y="234"/>
                  </a:cubicBezTo>
                  <a:cubicBezTo>
                    <a:pt x="364" y="232"/>
                    <a:pt x="362" y="231"/>
                    <a:pt x="359" y="229"/>
                  </a:cubicBezTo>
                  <a:cubicBezTo>
                    <a:pt x="357" y="228"/>
                    <a:pt x="355" y="226"/>
                    <a:pt x="352" y="225"/>
                  </a:cubicBezTo>
                  <a:close/>
                  <a:moveTo>
                    <a:pt x="480" y="233"/>
                  </a:moveTo>
                  <a:cubicBezTo>
                    <a:pt x="476" y="319"/>
                    <a:pt x="476" y="319"/>
                    <a:pt x="476" y="319"/>
                  </a:cubicBezTo>
                  <a:cubicBezTo>
                    <a:pt x="478" y="321"/>
                    <a:pt x="478" y="321"/>
                    <a:pt x="478" y="321"/>
                  </a:cubicBezTo>
                  <a:cubicBezTo>
                    <a:pt x="508" y="283"/>
                    <a:pt x="508" y="283"/>
                    <a:pt x="508" y="283"/>
                  </a:cubicBezTo>
                  <a:cubicBezTo>
                    <a:pt x="517" y="272"/>
                    <a:pt x="524" y="265"/>
                    <a:pt x="528" y="263"/>
                  </a:cubicBezTo>
                  <a:cubicBezTo>
                    <a:pt x="532" y="260"/>
                    <a:pt x="537" y="260"/>
                    <a:pt x="541" y="261"/>
                  </a:cubicBezTo>
                  <a:cubicBezTo>
                    <a:pt x="542" y="260"/>
                    <a:pt x="542" y="260"/>
                    <a:pt x="542" y="260"/>
                  </a:cubicBezTo>
                  <a:cubicBezTo>
                    <a:pt x="541" y="259"/>
                    <a:pt x="539" y="258"/>
                    <a:pt x="538" y="256"/>
                  </a:cubicBezTo>
                  <a:cubicBezTo>
                    <a:pt x="536" y="255"/>
                    <a:pt x="534" y="253"/>
                    <a:pt x="531" y="251"/>
                  </a:cubicBezTo>
                  <a:cubicBezTo>
                    <a:pt x="528" y="249"/>
                    <a:pt x="526" y="247"/>
                    <a:pt x="525" y="246"/>
                  </a:cubicBezTo>
                  <a:cubicBezTo>
                    <a:pt x="523" y="244"/>
                    <a:pt x="522" y="243"/>
                    <a:pt x="521" y="242"/>
                  </a:cubicBezTo>
                  <a:cubicBezTo>
                    <a:pt x="520" y="244"/>
                    <a:pt x="520" y="244"/>
                    <a:pt x="520" y="244"/>
                  </a:cubicBezTo>
                  <a:cubicBezTo>
                    <a:pt x="522" y="248"/>
                    <a:pt x="522" y="252"/>
                    <a:pt x="520" y="256"/>
                  </a:cubicBezTo>
                  <a:cubicBezTo>
                    <a:pt x="519" y="261"/>
                    <a:pt x="513" y="269"/>
                    <a:pt x="504" y="280"/>
                  </a:cubicBezTo>
                  <a:cubicBezTo>
                    <a:pt x="499" y="287"/>
                    <a:pt x="499" y="287"/>
                    <a:pt x="499" y="287"/>
                  </a:cubicBezTo>
                  <a:cubicBezTo>
                    <a:pt x="502" y="227"/>
                    <a:pt x="502" y="227"/>
                    <a:pt x="502" y="227"/>
                  </a:cubicBezTo>
                  <a:cubicBezTo>
                    <a:pt x="501" y="226"/>
                    <a:pt x="500" y="225"/>
                    <a:pt x="498" y="224"/>
                  </a:cubicBezTo>
                  <a:cubicBezTo>
                    <a:pt x="496" y="222"/>
                    <a:pt x="495" y="221"/>
                    <a:pt x="494" y="221"/>
                  </a:cubicBezTo>
                  <a:cubicBezTo>
                    <a:pt x="492" y="219"/>
                    <a:pt x="490" y="217"/>
                    <a:pt x="487" y="215"/>
                  </a:cubicBezTo>
                  <a:cubicBezTo>
                    <a:pt x="484" y="213"/>
                    <a:pt x="482" y="211"/>
                    <a:pt x="481" y="210"/>
                  </a:cubicBezTo>
                  <a:cubicBezTo>
                    <a:pt x="480" y="211"/>
                    <a:pt x="480" y="211"/>
                    <a:pt x="480" y="211"/>
                  </a:cubicBezTo>
                  <a:cubicBezTo>
                    <a:pt x="482" y="214"/>
                    <a:pt x="483" y="217"/>
                    <a:pt x="483" y="220"/>
                  </a:cubicBezTo>
                  <a:cubicBezTo>
                    <a:pt x="482" y="222"/>
                    <a:pt x="480" y="225"/>
                    <a:pt x="477" y="230"/>
                  </a:cubicBezTo>
                  <a:cubicBezTo>
                    <a:pt x="459" y="251"/>
                    <a:pt x="459" y="251"/>
                    <a:pt x="459" y="251"/>
                  </a:cubicBezTo>
                  <a:cubicBezTo>
                    <a:pt x="450" y="262"/>
                    <a:pt x="444" y="269"/>
                    <a:pt x="439" y="272"/>
                  </a:cubicBezTo>
                  <a:cubicBezTo>
                    <a:pt x="435" y="274"/>
                    <a:pt x="431" y="275"/>
                    <a:pt x="427" y="274"/>
                  </a:cubicBezTo>
                  <a:cubicBezTo>
                    <a:pt x="426" y="275"/>
                    <a:pt x="426" y="275"/>
                    <a:pt x="426" y="275"/>
                  </a:cubicBezTo>
                  <a:cubicBezTo>
                    <a:pt x="427" y="276"/>
                    <a:pt x="429" y="277"/>
                    <a:pt x="431" y="279"/>
                  </a:cubicBezTo>
                  <a:cubicBezTo>
                    <a:pt x="433" y="280"/>
                    <a:pt x="435" y="282"/>
                    <a:pt x="437" y="283"/>
                  </a:cubicBezTo>
                  <a:cubicBezTo>
                    <a:pt x="439" y="285"/>
                    <a:pt x="441" y="287"/>
                    <a:pt x="442" y="288"/>
                  </a:cubicBezTo>
                  <a:cubicBezTo>
                    <a:pt x="444" y="290"/>
                    <a:pt x="446" y="291"/>
                    <a:pt x="447" y="292"/>
                  </a:cubicBezTo>
                  <a:cubicBezTo>
                    <a:pt x="448" y="291"/>
                    <a:pt x="448" y="291"/>
                    <a:pt x="448" y="291"/>
                  </a:cubicBezTo>
                  <a:cubicBezTo>
                    <a:pt x="446" y="287"/>
                    <a:pt x="446" y="282"/>
                    <a:pt x="447" y="278"/>
                  </a:cubicBezTo>
                  <a:cubicBezTo>
                    <a:pt x="449" y="273"/>
                    <a:pt x="454" y="265"/>
                    <a:pt x="463" y="254"/>
                  </a:cubicBezTo>
                  <a:cubicBezTo>
                    <a:pt x="480" y="233"/>
                    <a:pt x="480" y="233"/>
                    <a:pt x="480" y="233"/>
                  </a:cubicBezTo>
                  <a:close/>
                  <a:moveTo>
                    <a:pt x="510" y="346"/>
                  </a:moveTo>
                  <a:cubicBezTo>
                    <a:pt x="506" y="341"/>
                    <a:pt x="506" y="336"/>
                    <a:pt x="508" y="329"/>
                  </a:cubicBezTo>
                  <a:cubicBezTo>
                    <a:pt x="511" y="323"/>
                    <a:pt x="517" y="314"/>
                    <a:pt x="527" y="305"/>
                  </a:cubicBezTo>
                  <a:cubicBezTo>
                    <a:pt x="537" y="295"/>
                    <a:pt x="545" y="289"/>
                    <a:pt x="552" y="286"/>
                  </a:cubicBezTo>
                  <a:cubicBezTo>
                    <a:pt x="558" y="283"/>
                    <a:pt x="564" y="284"/>
                    <a:pt x="568" y="288"/>
                  </a:cubicBezTo>
                  <a:cubicBezTo>
                    <a:pt x="572" y="292"/>
                    <a:pt x="573" y="298"/>
                    <a:pt x="570" y="305"/>
                  </a:cubicBezTo>
                  <a:cubicBezTo>
                    <a:pt x="567" y="311"/>
                    <a:pt x="561" y="319"/>
                    <a:pt x="551" y="329"/>
                  </a:cubicBezTo>
                  <a:cubicBezTo>
                    <a:pt x="542" y="339"/>
                    <a:pt x="534" y="345"/>
                    <a:pt x="527" y="348"/>
                  </a:cubicBezTo>
                  <a:cubicBezTo>
                    <a:pt x="520" y="350"/>
                    <a:pt x="515" y="350"/>
                    <a:pt x="510" y="346"/>
                  </a:cubicBezTo>
                  <a:close/>
                  <a:moveTo>
                    <a:pt x="512" y="289"/>
                  </a:moveTo>
                  <a:cubicBezTo>
                    <a:pt x="516" y="284"/>
                    <a:pt x="521" y="281"/>
                    <a:pt x="527" y="278"/>
                  </a:cubicBezTo>
                  <a:cubicBezTo>
                    <a:pt x="532" y="276"/>
                    <a:pt x="538" y="274"/>
                    <a:pt x="544" y="274"/>
                  </a:cubicBezTo>
                  <a:cubicBezTo>
                    <a:pt x="549" y="274"/>
                    <a:pt x="554" y="275"/>
                    <a:pt x="558" y="277"/>
                  </a:cubicBezTo>
                  <a:cubicBezTo>
                    <a:pt x="563" y="279"/>
                    <a:pt x="567" y="282"/>
                    <a:pt x="571" y="285"/>
                  </a:cubicBezTo>
                  <a:cubicBezTo>
                    <a:pt x="575" y="289"/>
                    <a:pt x="578" y="293"/>
                    <a:pt x="579" y="298"/>
                  </a:cubicBezTo>
                  <a:cubicBezTo>
                    <a:pt x="581" y="302"/>
                    <a:pt x="582" y="307"/>
                    <a:pt x="582" y="313"/>
                  </a:cubicBezTo>
                  <a:cubicBezTo>
                    <a:pt x="582" y="319"/>
                    <a:pt x="580" y="324"/>
                    <a:pt x="578" y="330"/>
                  </a:cubicBezTo>
                  <a:cubicBezTo>
                    <a:pt x="576" y="335"/>
                    <a:pt x="572" y="340"/>
                    <a:pt x="567" y="345"/>
                  </a:cubicBezTo>
                  <a:cubicBezTo>
                    <a:pt x="564" y="348"/>
                    <a:pt x="560" y="351"/>
                    <a:pt x="556" y="353"/>
                  </a:cubicBezTo>
                  <a:cubicBezTo>
                    <a:pt x="553" y="355"/>
                    <a:pt x="549" y="357"/>
                    <a:pt x="544" y="358"/>
                  </a:cubicBezTo>
                  <a:cubicBezTo>
                    <a:pt x="537" y="360"/>
                    <a:pt x="531" y="360"/>
                    <a:pt x="524" y="358"/>
                  </a:cubicBezTo>
                  <a:cubicBezTo>
                    <a:pt x="518" y="357"/>
                    <a:pt x="512" y="354"/>
                    <a:pt x="508" y="349"/>
                  </a:cubicBezTo>
                  <a:cubicBezTo>
                    <a:pt x="504" y="345"/>
                    <a:pt x="501" y="341"/>
                    <a:pt x="499" y="336"/>
                  </a:cubicBezTo>
                  <a:cubicBezTo>
                    <a:pt x="497" y="331"/>
                    <a:pt x="496" y="326"/>
                    <a:pt x="497" y="321"/>
                  </a:cubicBezTo>
                  <a:cubicBezTo>
                    <a:pt x="497" y="315"/>
                    <a:pt x="498" y="309"/>
                    <a:pt x="501" y="304"/>
                  </a:cubicBezTo>
                  <a:cubicBezTo>
                    <a:pt x="503" y="299"/>
                    <a:pt x="507" y="294"/>
                    <a:pt x="512" y="289"/>
                  </a:cubicBezTo>
                  <a:close/>
                  <a:moveTo>
                    <a:pt x="533" y="371"/>
                  </a:moveTo>
                  <a:cubicBezTo>
                    <a:pt x="535" y="369"/>
                    <a:pt x="535" y="369"/>
                    <a:pt x="535" y="369"/>
                  </a:cubicBezTo>
                  <a:cubicBezTo>
                    <a:pt x="538" y="370"/>
                    <a:pt x="541" y="370"/>
                    <a:pt x="544" y="368"/>
                  </a:cubicBezTo>
                  <a:cubicBezTo>
                    <a:pt x="548" y="366"/>
                    <a:pt x="554" y="362"/>
                    <a:pt x="562" y="355"/>
                  </a:cubicBezTo>
                  <a:cubicBezTo>
                    <a:pt x="566" y="351"/>
                    <a:pt x="566" y="351"/>
                    <a:pt x="566" y="351"/>
                  </a:cubicBezTo>
                  <a:cubicBezTo>
                    <a:pt x="593" y="327"/>
                    <a:pt x="593" y="327"/>
                    <a:pt x="593" y="327"/>
                  </a:cubicBezTo>
                  <a:cubicBezTo>
                    <a:pt x="595" y="324"/>
                    <a:pt x="597" y="322"/>
                    <a:pt x="598" y="321"/>
                  </a:cubicBezTo>
                  <a:cubicBezTo>
                    <a:pt x="598" y="320"/>
                    <a:pt x="598" y="318"/>
                    <a:pt x="598" y="317"/>
                  </a:cubicBezTo>
                  <a:cubicBezTo>
                    <a:pt x="599" y="315"/>
                    <a:pt x="599" y="315"/>
                    <a:pt x="599" y="315"/>
                  </a:cubicBezTo>
                  <a:cubicBezTo>
                    <a:pt x="601" y="318"/>
                    <a:pt x="603" y="320"/>
                    <a:pt x="605" y="322"/>
                  </a:cubicBezTo>
                  <a:cubicBezTo>
                    <a:pt x="607" y="324"/>
                    <a:pt x="609" y="328"/>
                    <a:pt x="613" y="332"/>
                  </a:cubicBezTo>
                  <a:cubicBezTo>
                    <a:pt x="619" y="339"/>
                    <a:pt x="619" y="339"/>
                    <a:pt x="619" y="339"/>
                  </a:cubicBezTo>
                  <a:cubicBezTo>
                    <a:pt x="628" y="348"/>
                    <a:pt x="633" y="356"/>
                    <a:pt x="634" y="362"/>
                  </a:cubicBezTo>
                  <a:cubicBezTo>
                    <a:pt x="635" y="368"/>
                    <a:pt x="633" y="374"/>
                    <a:pt x="628" y="379"/>
                  </a:cubicBezTo>
                  <a:cubicBezTo>
                    <a:pt x="624" y="382"/>
                    <a:pt x="619" y="384"/>
                    <a:pt x="614" y="383"/>
                  </a:cubicBezTo>
                  <a:cubicBezTo>
                    <a:pt x="609" y="382"/>
                    <a:pt x="603" y="380"/>
                    <a:pt x="597" y="375"/>
                  </a:cubicBezTo>
                  <a:cubicBezTo>
                    <a:pt x="599" y="379"/>
                    <a:pt x="601" y="383"/>
                    <a:pt x="601" y="387"/>
                  </a:cubicBezTo>
                  <a:cubicBezTo>
                    <a:pt x="601" y="392"/>
                    <a:pt x="600" y="396"/>
                    <a:pt x="598" y="401"/>
                  </a:cubicBezTo>
                  <a:cubicBezTo>
                    <a:pt x="597" y="402"/>
                    <a:pt x="595" y="405"/>
                    <a:pt x="594" y="408"/>
                  </a:cubicBezTo>
                  <a:cubicBezTo>
                    <a:pt x="588" y="419"/>
                    <a:pt x="586" y="425"/>
                    <a:pt x="588" y="429"/>
                  </a:cubicBezTo>
                  <a:cubicBezTo>
                    <a:pt x="587" y="430"/>
                    <a:pt x="587" y="430"/>
                    <a:pt x="587" y="430"/>
                  </a:cubicBezTo>
                  <a:cubicBezTo>
                    <a:pt x="584" y="426"/>
                    <a:pt x="581" y="424"/>
                    <a:pt x="580" y="422"/>
                  </a:cubicBezTo>
                  <a:cubicBezTo>
                    <a:pt x="578" y="420"/>
                    <a:pt x="576" y="418"/>
                    <a:pt x="575" y="416"/>
                  </a:cubicBezTo>
                  <a:cubicBezTo>
                    <a:pt x="573" y="414"/>
                    <a:pt x="571" y="412"/>
                    <a:pt x="570" y="411"/>
                  </a:cubicBezTo>
                  <a:cubicBezTo>
                    <a:pt x="569" y="410"/>
                    <a:pt x="568" y="409"/>
                    <a:pt x="567" y="408"/>
                  </a:cubicBezTo>
                  <a:cubicBezTo>
                    <a:pt x="568" y="407"/>
                    <a:pt x="570" y="404"/>
                    <a:pt x="572" y="401"/>
                  </a:cubicBezTo>
                  <a:cubicBezTo>
                    <a:pt x="585" y="382"/>
                    <a:pt x="590" y="370"/>
                    <a:pt x="585" y="365"/>
                  </a:cubicBezTo>
                  <a:cubicBezTo>
                    <a:pt x="585" y="364"/>
                    <a:pt x="584" y="364"/>
                    <a:pt x="584" y="363"/>
                  </a:cubicBezTo>
                  <a:cubicBezTo>
                    <a:pt x="583" y="363"/>
                    <a:pt x="583" y="363"/>
                    <a:pt x="583" y="363"/>
                  </a:cubicBezTo>
                  <a:cubicBezTo>
                    <a:pt x="576" y="370"/>
                    <a:pt x="576" y="370"/>
                    <a:pt x="576" y="370"/>
                  </a:cubicBezTo>
                  <a:cubicBezTo>
                    <a:pt x="568" y="377"/>
                    <a:pt x="562" y="383"/>
                    <a:pt x="560" y="386"/>
                  </a:cubicBezTo>
                  <a:cubicBezTo>
                    <a:pt x="558" y="389"/>
                    <a:pt x="557" y="392"/>
                    <a:pt x="558" y="395"/>
                  </a:cubicBezTo>
                  <a:cubicBezTo>
                    <a:pt x="557" y="397"/>
                    <a:pt x="557" y="397"/>
                    <a:pt x="557" y="397"/>
                  </a:cubicBezTo>
                  <a:cubicBezTo>
                    <a:pt x="555" y="395"/>
                    <a:pt x="553" y="392"/>
                    <a:pt x="551" y="390"/>
                  </a:cubicBezTo>
                  <a:cubicBezTo>
                    <a:pt x="550" y="388"/>
                    <a:pt x="547" y="386"/>
                    <a:pt x="545" y="383"/>
                  </a:cubicBezTo>
                  <a:cubicBezTo>
                    <a:pt x="543" y="381"/>
                    <a:pt x="541" y="379"/>
                    <a:pt x="539" y="377"/>
                  </a:cubicBezTo>
                  <a:cubicBezTo>
                    <a:pt x="537" y="374"/>
                    <a:pt x="535" y="372"/>
                    <a:pt x="533" y="371"/>
                  </a:cubicBezTo>
                  <a:close/>
                  <a:moveTo>
                    <a:pt x="587" y="359"/>
                  </a:moveTo>
                  <a:cubicBezTo>
                    <a:pt x="588" y="360"/>
                    <a:pt x="588" y="361"/>
                    <a:pt x="588" y="361"/>
                  </a:cubicBezTo>
                  <a:cubicBezTo>
                    <a:pt x="589" y="362"/>
                    <a:pt x="589" y="362"/>
                    <a:pt x="590" y="363"/>
                  </a:cubicBezTo>
                  <a:cubicBezTo>
                    <a:pt x="594" y="367"/>
                    <a:pt x="597" y="369"/>
                    <a:pt x="601" y="369"/>
                  </a:cubicBezTo>
                  <a:cubicBezTo>
                    <a:pt x="604" y="369"/>
                    <a:pt x="608" y="367"/>
                    <a:pt x="612" y="363"/>
                  </a:cubicBezTo>
                  <a:cubicBezTo>
                    <a:pt x="616" y="359"/>
                    <a:pt x="619" y="356"/>
                    <a:pt x="619" y="352"/>
                  </a:cubicBezTo>
                  <a:cubicBezTo>
                    <a:pt x="620" y="349"/>
                    <a:pt x="618" y="345"/>
                    <a:pt x="615" y="342"/>
                  </a:cubicBezTo>
                  <a:cubicBezTo>
                    <a:pt x="614" y="341"/>
                    <a:pt x="614" y="340"/>
                    <a:pt x="613" y="339"/>
                  </a:cubicBezTo>
                  <a:cubicBezTo>
                    <a:pt x="612" y="339"/>
                    <a:pt x="612" y="338"/>
                    <a:pt x="611" y="338"/>
                  </a:cubicBezTo>
                  <a:cubicBezTo>
                    <a:pt x="587" y="359"/>
                    <a:pt x="587" y="359"/>
                    <a:pt x="587" y="359"/>
                  </a:cubicBezTo>
                  <a:close/>
                  <a:moveTo>
                    <a:pt x="576" y="417"/>
                  </a:moveTo>
                  <a:cubicBezTo>
                    <a:pt x="577" y="419"/>
                    <a:pt x="579" y="420"/>
                    <a:pt x="580" y="422"/>
                  </a:cubicBezTo>
                  <a:cubicBezTo>
                    <a:pt x="581" y="424"/>
                    <a:pt x="583" y="426"/>
                    <a:pt x="584" y="428"/>
                  </a:cubicBezTo>
                  <a:cubicBezTo>
                    <a:pt x="586" y="430"/>
                    <a:pt x="587" y="432"/>
                    <a:pt x="588" y="434"/>
                  </a:cubicBezTo>
                  <a:cubicBezTo>
                    <a:pt x="590" y="436"/>
                    <a:pt x="591" y="438"/>
                    <a:pt x="592" y="439"/>
                  </a:cubicBezTo>
                  <a:cubicBezTo>
                    <a:pt x="593" y="438"/>
                    <a:pt x="593" y="438"/>
                    <a:pt x="593" y="438"/>
                  </a:cubicBezTo>
                  <a:cubicBezTo>
                    <a:pt x="592" y="434"/>
                    <a:pt x="593" y="430"/>
                    <a:pt x="596" y="426"/>
                  </a:cubicBezTo>
                  <a:cubicBezTo>
                    <a:pt x="599" y="422"/>
                    <a:pt x="606" y="415"/>
                    <a:pt x="618" y="407"/>
                  </a:cubicBezTo>
                  <a:cubicBezTo>
                    <a:pt x="639" y="392"/>
                    <a:pt x="639" y="392"/>
                    <a:pt x="639" y="392"/>
                  </a:cubicBezTo>
                  <a:cubicBezTo>
                    <a:pt x="597" y="449"/>
                    <a:pt x="597" y="449"/>
                    <a:pt x="597" y="449"/>
                  </a:cubicBezTo>
                  <a:cubicBezTo>
                    <a:pt x="598" y="450"/>
                    <a:pt x="598" y="450"/>
                    <a:pt x="598" y="450"/>
                  </a:cubicBezTo>
                  <a:cubicBezTo>
                    <a:pt x="668" y="428"/>
                    <a:pt x="668" y="428"/>
                    <a:pt x="668" y="428"/>
                  </a:cubicBezTo>
                  <a:cubicBezTo>
                    <a:pt x="643" y="447"/>
                    <a:pt x="643" y="447"/>
                    <a:pt x="643" y="447"/>
                  </a:cubicBezTo>
                  <a:cubicBezTo>
                    <a:pt x="640" y="449"/>
                    <a:pt x="640" y="449"/>
                    <a:pt x="640" y="449"/>
                  </a:cubicBezTo>
                  <a:cubicBezTo>
                    <a:pt x="631" y="456"/>
                    <a:pt x="624" y="460"/>
                    <a:pt x="620" y="461"/>
                  </a:cubicBezTo>
                  <a:cubicBezTo>
                    <a:pt x="617" y="463"/>
                    <a:pt x="613" y="463"/>
                    <a:pt x="610" y="461"/>
                  </a:cubicBezTo>
                  <a:cubicBezTo>
                    <a:pt x="609" y="463"/>
                    <a:pt x="609" y="463"/>
                    <a:pt x="609" y="463"/>
                  </a:cubicBezTo>
                  <a:cubicBezTo>
                    <a:pt x="610" y="465"/>
                    <a:pt x="612" y="467"/>
                    <a:pt x="614" y="469"/>
                  </a:cubicBezTo>
                  <a:cubicBezTo>
                    <a:pt x="616" y="471"/>
                    <a:pt x="618" y="474"/>
                    <a:pt x="619" y="476"/>
                  </a:cubicBezTo>
                  <a:cubicBezTo>
                    <a:pt x="621" y="479"/>
                    <a:pt x="623" y="482"/>
                    <a:pt x="625" y="484"/>
                  </a:cubicBezTo>
                  <a:cubicBezTo>
                    <a:pt x="627" y="487"/>
                    <a:pt x="628" y="489"/>
                    <a:pt x="629" y="491"/>
                  </a:cubicBezTo>
                  <a:cubicBezTo>
                    <a:pt x="631" y="490"/>
                    <a:pt x="631" y="490"/>
                    <a:pt x="631" y="490"/>
                  </a:cubicBezTo>
                  <a:cubicBezTo>
                    <a:pt x="631" y="487"/>
                    <a:pt x="632" y="484"/>
                    <a:pt x="634" y="480"/>
                  </a:cubicBezTo>
                  <a:cubicBezTo>
                    <a:pt x="637" y="477"/>
                    <a:pt x="643" y="472"/>
                    <a:pt x="652" y="465"/>
                  </a:cubicBezTo>
                  <a:cubicBezTo>
                    <a:pt x="685" y="442"/>
                    <a:pt x="685" y="442"/>
                    <a:pt x="685" y="442"/>
                  </a:cubicBezTo>
                  <a:cubicBezTo>
                    <a:pt x="688" y="440"/>
                    <a:pt x="690" y="438"/>
                    <a:pt x="691" y="438"/>
                  </a:cubicBezTo>
                  <a:cubicBezTo>
                    <a:pt x="693" y="438"/>
                    <a:pt x="694" y="438"/>
                    <a:pt x="696" y="439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3" y="433"/>
                    <a:pt x="690" y="429"/>
                    <a:pt x="688" y="426"/>
                  </a:cubicBezTo>
                  <a:cubicBezTo>
                    <a:pt x="687" y="426"/>
                    <a:pt x="687" y="425"/>
                    <a:pt x="686" y="424"/>
                  </a:cubicBezTo>
                  <a:cubicBezTo>
                    <a:pt x="685" y="422"/>
                    <a:pt x="684" y="421"/>
                    <a:pt x="683" y="419"/>
                  </a:cubicBezTo>
                  <a:cubicBezTo>
                    <a:pt x="633" y="434"/>
                    <a:pt x="633" y="434"/>
                    <a:pt x="633" y="434"/>
                  </a:cubicBezTo>
                  <a:cubicBezTo>
                    <a:pt x="664" y="393"/>
                    <a:pt x="664" y="393"/>
                    <a:pt x="664" y="393"/>
                  </a:cubicBezTo>
                  <a:cubicBezTo>
                    <a:pt x="663" y="391"/>
                    <a:pt x="662" y="390"/>
                    <a:pt x="660" y="388"/>
                  </a:cubicBezTo>
                  <a:cubicBezTo>
                    <a:pt x="659" y="387"/>
                    <a:pt x="657" y="384"/>
                    <a:pt x="655" y="381"/>
                  </a:cubicBezTo>
                  <a:cubicBezTo>
                    <a:pt x="653" y="378"/>
                    <a:pt x="651" y="375"/>
                    <a:pt x="650" y="374"/>
                  </a:cubicBezTo>
                  <a:cubicBezTo>
                    <a:pt x="649" y="372"/>
                    <a:pt x="647" y="370"/>
                    <a:pt x="646" y="369"/>
                  </a:cubicBezTo>
                  <a:cubicBezTo>
                    <a:pt x="645" y="370"/>
                    <a:pt x="645" y="370"/>
                    <a:pt x="645" y="370"/>
                  </a:cubicBezTo>
                  <a:cubicBezTo>
                    <a:pt x="646" y="373"/>
                    <a:pt x="646" y="376"/>
                    <a:pt x="645" y="378"/>
                  </a:cubicBezTo>
                  <a:cubicBezTo>
                    <a:pt x="644" y="381"/>
                    <a:pt x="642" y="383"/>
                    <a:pt x="637" y="387"/>
                  </a:cubicBezTo>
                  <a:cubicBezTo>
                    <a:pt x="615" y="403"/>
                    <a:pt x="615" y="403"/>
                    <a:pt x="615" y="403"/>
                  </a:cubicBezTo>
                  <a:cubicBezTo>
                    <a:pt x="603" y="411"/>
                    <a:pt x="595" y="416"/>
                    <a:pt x="590" y="418"/>
                  </a:cubicBezTo>
                  <a:cubicBezTo>
                    <a:pt x="585" y="419"/>
                    <a:pt x="581" y="419"/>
                    <a:pt x="577" y="416"/>
                  </a:cubicBezTo>
                  <a:cubicBezTo>
                    <a:pt x="576" y="417"/>
                    <a:pt x="576" y="417"/>
                    <a:pt x="576" y="417"/>
                  </a:cubicBezTo>
                  <a:close/>
                  <a:moveTo>
                    <a:pt x="677" y="496"/>
                  </a:moveTo>
                  <a:cubicBezTo>
                    <a:pt x="670" y="483"/>
                    <a:pt x="670" y="483"/>
                    <a:pt x="670" y="483"/>
                  </a:cubicBezTo>
                  <a:cubicBezTo>
                    <a:pt x="690" y="480"/>
                    <a:pt x="690" y="480"/>
                    <a:pt x="690" y="480"/>
                  </a:cubicBezTo>
                  <a:cubicBezTo>
                    <a:pt x="677" y="496"/>
                    <a:pt x="677" y="496"/>
                    <a:pt x="677" y="496"/>
                  </a:cubicBezTo>
                  <a:close/>
                  <a:moveTo>
                    <a:pt x="622" y="479"/>
                  </a:moveTo>
                  <a:cubicBezTo>
                    <a:pt x="623" y="478"/>
                    <a:pt x="623" y="478"/>
                    <a:pt x="623" y="478"/>
                  </a:cubicBezTo>
                  <a:cubicBezTo>
                    <a:pt x="627" y="481"/>
                    <a:pt x="637" y="482"/>
                    <a:pt x="653" y="480"/>
                  </a:cubicBezTo>
                  <a:cubicBezTo>
                    <a:pt x="655" y="480"/>
                    <a:pt x="655" y="480"/>
                    <a:pt x="655" y="480"/>
                  </a:cubicBezTo>
                  <a:cubicBezTo>
                    <a:pt x="719" y="471"/>
                    <a:pt x="719" y="471"/>
                    <a:pt x="719" y="471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671" y="536"/>
                    <a:pt x="671" y="536"/>
                    <a:pt x="671" y="536"/>
                  </a:cubicBezTo>
                  <a:cubicBezTo>
                    <a:pt x="668" y="541"/>
                    <a:pt x="666" y="544"/>
                    <a:pt x="665" y="546"/>
                  </a:cubicBezTo>
                  <a:cubicBezTo>
                    <a:pt x="665" y="548"/>
                    <a:pt x="665" y="550"/>
                    <a:pt x="666" y="551"/>
                  </a:cubicBezTo>
                  <a:cubicBezTo>
                    <a:pt x="664" y="552"/>
                    <a:pt x="664" y="552"/>
                    <a:pt x="664" y="552"/>
                  </a:cubicBezTo>
                  <a:cubicBezTo>
                    <a:pt x="664" y="551"/>
                    <a:pt x="664" y="551"/>
                    <a:pt x="664" y="551"/>
                  </a:cubicBezTo>
                  <a:cubicBezTo>
                    <a:pt x="660" y="545"/>
                    <a:pt x="658" y="540"/>
                    <a:pt x="656" y="537"/>
                  </a:cubicBezTo>
                  <a:cubicBezTo>
                    <a:pt x="654" y="534"/>
                    <a:pt x="651" y="528"/>
                    <a:pt x="646" y="521"/>
                  </a:cubicBezTo>
                  <a:cubicBezTo>
                    <a:pt x="645" y="520"/>
                    <a:pt x="645" y="519"/>
                    <a:pt x="645" y="519"/>
                  </a:cubicBezTo>
                  <a:cubicBezTo>
                    <a:pt x="646" y="518"/>
                    <a:pt x="646" y="518"/>
                    <a:pt x="646" y="518"/>
                  </a:cubicBezTo>
                  <a:cubicBezTo>
                    <a:pt x="647" y="519"/>
                    <a:pt x="649" y="520"/>
                    <a:pt x="650" y="520"/>
                  </a:cubicBezTo>
                  <a:cubicBezTo>
                    <a:pt x="652" y="521"/>
                    <a:pt x="653" y="520"/>
                    <a:pt x="655" y="519"/>
                  </a:cubicBezTo>
                  <a:cubicBezTo>
                    <a:pt x="656" y="519"/>
                    <a:pt x="657" y="518"/>
                    <a:pt x="658" y="517"/>
                  </a:cubicBezTo>
                  <a:cubicBezTo>
                    <a:pt x="659" y="516"/>
                    <a:pt x="661" y="515"/>
                    <a:pt x="662" y="513"/>
                  </a:cubicBezTo>
                  <a:cubicBezTo>
                    <a:pt x="673" y="499"/>
                    <a:pt x="673" y="499"/>
                    <a:pt x="673" y="499"/>
                  </a:cubicBezTo>
                  <a:cubicBezTo>
                    <a:pt x="664" y="484"/>
                    <a:pt x="664" y="484"/>
                    <a:pt x="664" y="484"/>
                  </a:cubicBezTo>
                  <a:cubicBezTo>
                    <a:pt x="659" y="485"/>
                    <a:pt x="654" y="486"/>
                    <a:pt x="651" y="487"/>
                  </a:cubicBezTo>
                  <a:cubicBezTo>
                    <a:pt x="647" y="488"/>
                    <a:pt x="644" y="489"/>
                    <a:pt x="642" y="490"/>
                  </a:cubicBezTo>
                  <a:cubicBezTo>
                    <a:pt x="639" y="492"/>
                    <a:pt x="638" y="494"/>
                    <a:pt x="637" y="495"/>
                  </a:cubicBezTo>
                  <a:cubicBezTo>
                    <a:pt x="636" y="497"/>
                    <a:pt x="636" y="499"/>
                    <a:pt x="637" y="501"/>
                  </a:cubicBezTo>
                  <a:cubicBezTo>
                    <a:pt x="635" y="502"/>
                    <a:pt x="635" y="502"/>
                    <a:pt x="635" y="502"/>
                  </a:cubicBezTo>
                  <a:cubicBezTo>
                    <a:pt x="634" y="500"/>
                    <a:pt x="633" y="498"/>
                    <a:pt x="632" y="496"/>
                  </a:cubicBezTo>
                  <a:cubicBezTo>
                    <a:pt x="631" y="494"/>
                    <a:pt x="630" y="492"/>
                    <a:pt x="629" y="491"/>
                  </a:cubicBezTo>
                  <a:cubicBezTo>
                    <a:pt x="628" y="489"/>
                    <a:pt x="627" y="487"/>
                    <a:pt x="626" y="485"/>
                  </a:cubicBezTo>
                  <a:cubicBezTo>
                    <a:pt x="625" y="483"/>
                    <a:pt x="623" y="481"/>
                    <a:pt x="622" y="479"/>
                  </a:cubicBezTo>
                  <a:close/>
                  <a:moveTo>
                    <a:pt x="657" y="541"/>
                  </a:moveTo>
                  <a:cubicBezTo>
                    <a:pt x="660" y="546"/>
                    <a:pt x="662" y="552"/>
                    <a:pt x="665" y="556"/>
                  </a:cubicBezTo>
                  <a:cubicBezTo>
                    <a:pt x="667" y="561"/>
                    <a:pt x="669" y="564"/>
                    <a:pt x="670" y="566"/>
                  </a:cubicBezTo>
                  <a:cubicBezTo>
                    <a:pt x="685" y="595"/>
                    <a:pt x="685" y="595"/>
                    <a:pt x="685" y="595"/>
                  </a:cubicBezTo>
                  <a:cubicBezTo>
                    <a:pt x="713" y="587"/>
                    <a:pt x="713" y="587"/>
                    <a:pt x="713" y="587"/>
                  </a:cubicBezTo>
                  <a:cubicBezTo>
                    <a:pt x="713" y="586"/>
                    <a:pt x="713" y="586"/>
                    <a:pt x="713" y="586"/>
                  </a:cubicBezTo>
                  <a:cubicBezTo>
                    <a:pt x="704" y="585"/>
                    <a:pt x="696" y="583"/>
                    <a:pt x="690" y="581"/>
                  </a:cubicBezTo>
                  <a:cubicBezTo>
                    <a:pt x="685" y="579"/>
                    <a:pt x="681" y="576"/>
                    <a:pt x="679" y="572"/>
                  </a:cubicBezTo>
                  <a:cubicBezTo>
                    <a:pt x="677" y="569"/>
                    <a:pt x="677" y="566"/>
                    <a:pt x="679" y="563"/>
                  </a:cubicBezTo>
                  <a:cubicBezTo>
                    <a:pt x="681" y="561"/>
                    <a:pt x="684" y="558"/>
                    <a:pt x="690" y="555"/>
                  </a:cubicBezTo>
                  <a:cubicBezTo>
                    <a:pt x="735" y="532"/>
                    <a:pt x="735" y="532"/>
                    <a:pt x="735" y="532"/>
                  </a:cubicBezTo>
                  <a:cubicBezTo>
                    <a:pt x="738" y="531"/>
                    <a:pt x="741" y="530"/>
                    <a:pt x="742" y="530"/>
                  </a:cubicBezTo>
                  <a:cubicBezTo>
                    <a:pt x="743" y="530"/>
                    <a:pt x="745" y="530"/>
                    <a:pt x="746" y="531"/>
                  </a:cubicBezTo>
                  <a:cubicBezTo>
                    <a:pt x="748" y="530"/>
                    <a:pt x="748" y="530"/>
                    <a:pt x="748" y="530"/>
                  </a:cubicBezTo>
                  <a:cubicBezTo>
                    <a:pt x="746" y="527"/>
                    <a:pt x="744" y="524"/>
                    <a:pt x="743" y="523"/>
                  </a:cubicBezTo>
                  <a:cubicBezTo>
                    <a:pt x="742" y="521"/>
                    <a:pt x="741" y="519"/>
                    <a:pt x="741" y="518"/>
                  </a:cubicBezTo>
                  <a:cubicBezTo>
                    <a:pt x="740" y="516"/>
                    <a:pt x="739" y="515"/>
                    <a:pt x="738" y="513"/>
                  </a:cubicBezTo>
                  <a:cubicBezTo>
                    <a:pt x="737" y="511"/>
                    <a:pt x="736" y="508"/>
                    <a:pt x="734" y="505"/>
                  </a:cubicBezTo>
                  <a:cubicBezTo>
                    <a:pt x="733" y="505"/>
                    <a:pt x="733" y="505"/>
                    <a:pt x="733" y="505"/>
                  </a:cubicBezTo>
                  <a:cubicBezTo>
                    <a:pt x="733" y="507"/>
                    <a:pt x="733" y="509"/>
                    <a:pt x="732" y="510"/>
                  </a:cubicBezTo>
                  <a:cubicBezTo>
                    <a:pt x="731" y="511"/>
                    <a:pt x="729" y="512"/>
                    <a:pt x="725" y="514"/>
                  </a:cubicBezTo>
                  <a:cubicBezTo>
                    <a:pt x="684" y="535"/>
                    <a:pt x="684" y="535"/>
                    <a:pt x="684" y="535"/>
                  </a:cubicBezTo>
                  <a:cubicBezTo>
                    <a:pt x="677" y="539"/>
                    <a:pt x="672" y="541"/>
                    <a:pt x="668" y="541"/>
                  </a:cubicBezTo>
                  <a:cubicBezTo>
                    <a:pt x="664" y="542"/>
                    <a:pt x="661" y="542"/>
                    <a:pt x="658" y="540"/>
                  </a:cubicBezTo>
                  <a:cubicBezTo>
                    <a:pt x="657" y="541"/>
                    <a:pt x="657" y="541"/>
                    <a:pt x="657" y="541"/>
                  </a:cubicBezTo>
                  <a:close/>
                  <a:moveTo>
                    <a:pt x="773" y="588"/>
                  </a:moveTo>
                  <a:cubicBezTo>
                    <a:pt x="774" y="588"/>
                    <a:pt x="774" y="588"/>
                    <a:pt x="774" y="588"/>
                  </a:cubicBezTo>
                  <a:cubicBezTo>
                    <a:pt x="776" y="592"/>
                    <a:pt x="777" y="596"/>
                    <a:pt x="778" y="598"/>
                  </a:cubicBezTo>
                  <a:cubicBezTo>
                    <a:pt x="779" y="600"/>
                    <a:pt x="779" y="602"/>
                    <a:pt x="780" y="604"/>
                  </a:cubicBezTo>
                  <a:cubicBezTo>
                    <a:pt x="781" y="608"/>
                    <a:pt x="784" y="613"/>
                    <a:pt x="787" y="620"/>
                  </a:cubicBezTo>
                  <a:cubicBezTo>
                    <a:pt x="787" y="620"/>
                    <a:pt x="787" y="620"/>
                    <a:pt x="787" y="620"/>
                  </a:cubicBezTo>
                  <a:cubicBezTo>
                    <a:pt x="785" y="621"/>
                    <a:pt x="785" y="621"/>
                    <a:pt x="785" y="621"/>
                  </a:cubicBezTo>
                  <a:cubicBezTo>
                    <a:pt x="783" y="619"/>
                    <a:pt x="779" y="618"/>
                    <a:pt x="776" y="619"/>
                  </a:cubicBezTo>
                  <a:cubicBezTo>
                    <a:pt x="772" y="619"/>
                    <a:pt x="765" y="621"/>
                    <a:pt x="755" y="625"/>
                  </a:cubicBezTo>
                  <a:cubicBezTo>
                    <a:pt x="750" y="627"/>
                    <a:pt x="750" y="627"/>
                    <a:pt x="750" y="627"/>
                  </a:cubicBezTo>
                  <a:cubicBezTo>
                    <a:pt x="735" y="633"/>
                    <a:pt x="735" y="633"/>
                    <a:pt x="735" y="633"/>
                  </a:cubicBezTo>
                  <a:cubicBezTo>
                    <a:pt x="726" y="636"/>
                    <a:pt x="720" y="640"/>
                    <a:pt x="717" y="644"/>
                  </a:cubicBezTo>
                  <a:cubicBezTo>
                    <a:pt x="713" y="648"/>
                    <a:pt x="713" y="653"/>
                    <a:pt x="715" y="659"/>
                  </a:cubicBezTo>
                  <a:cubicBezTo>
                    <a:pt x="716" y="661"/>
                    <a:pt x="718" y="663"/>
                    <a:pt x="720" y="665"/>
                  </a:cubicBezTo>
                  <a:cubicBezTo>
                    <a:pt x="723" y="667"/>
                    <a:pt x="726" y="668"/>
                    <a:pt x="729" y="668"/>
                  </a:cubicBezTo>
                  <a:cubicBezTo>
                    <a:pt x="731" y="669"/>
                    <a:pt x="734" y="668"/>
                    <a:pt x="736" y="668"/>
                  </a:cubicBezTo>
                  <a:cubicBezTo>
                    <a:pt x="739" y="667"/>
                    <a:pt x="743" y="666"/>
                    <a:pt x="749" y="664"/>
                  </a:cubicBezTo>
                  <a:cubicBezTo>
                    <a:pt x="759" y="660"/>
                    <a:pt x="759" y="660"/>
                    <a:pt x="759" y="660"/>
                  </a:cubicBezTo>
                  <a:cubicBezTo>
                    <a:pt x="773" y="655"/>
                    <a:pt x="781" y="651"/>
                    <a:pt x="785" y="648"/>
                  </a:cubicBezTo>
                  <a:cubicBezTo>
                    <a:pt x="788" y="644"/>
                    <a:pt x="790" y="641"/>
                    <a:pt x="791" y="636"/>
                  </a:cubicBezTo>
                  <a:cubicBezTo>
                    <a:pt x="792" y="635"/>
                    <a:pt x="792" y="635"/>
                    <a:pt x="792" y="635"/>
                  </a:cubicBezTo>
                  <a:cubicBezTo>
                    <a:pt x="793" y="637"/>
                    <a:pt x="793" y="639"/>
                    <a:pt x="794" y="640"/>
                  </a:cubicBezTo>
                  <a:cubicBezTo>
                    <a:pt x="795" y="642"/>
                    <a:pt x="796" y="645"/>
                    <a:pt x="797" y="648"/>
                  </a:cubicBezTo>
                  <a:cubicBezTo>
                    <a:pt x="798" y="652"/>
                    <a:pt x="799" y="655"/>
                    <a:pt x="800" y="656"/>
                  </a:cubicBezTo>
                  <a:cubicBezTo>
                    <a:pt x="801" y="658"/>
                    <a:pt x="802" y="660"/>
                    <a:pt x="802" y="661"/>
                  </a:cubicBezTo>
                  <a:cubicBezTo>
                    <a:pt x="801" y="662"/>
                    <a:pt x="801" y="662"/>
                    <a:pt x="801" y="662"/>
                  </a:cubicBezTo>
                  <a:cubicBezTo>
                    <a:pt x="797" y="658"/>
                    <a:pt x="793" y="657"/>
                    <a:pt x="788" y="657"/>
                  </a:cubicBezTo>
                  <a:cubicBezTo>
                    <a:pt x="783" y="657"/>
                    <a:pt x="774" y="660"/>
                    <a:pt x="761" y="665"/>
                  </a:cubicBezTo>
                  <a:cubicBezTo>
                    <a:pt x="750" y="669"/>
                    <a:pt x="750" y="669"/>
                    <a:pt x="750" y="669"/>
                  </a:cubicBezTo>
                  <a:cubicBezTo>
                    <a:pt x="738" y="674"/>
                    <a:pt x="729" y="675"/>
                    <a:pt x="722" y="672"/>
                  </a:cubicBezTo>
                  <a:cubicBezTo>
                    <a:pt x="715" y="670"/>
                    <a:pt x="709" y="664"/>
                    <a:pt x="706" y="654"/>
                  </a:cubicBezTo>
                  <a:cubicBezTo>
                    <a:pt x="702" y="644"/>
                    <a:pt x="702" y="636"/>
                    <a:pt x="705" y="630"/>
                  </a:cubicBezTo>
                  <a:cubicBezTo>
                    <a:pt x="708" y="624"/>
                    <a:pt x="715" y="618"/>
                    <a:pt x="726" y="614"/>
                  </a:cubicBezTo>
                  <a:cubicBezTo>
                    <a:pt x="743" y="608"/>
                    <a:pt x="743" y="608"/>
                    <a:pt x="743" y="608"/>
                  </a:cubicBezTo>
                  <a:cubicBezTo>
                    <a:pt x="756" y="603"/>
                    <a:pt x="763" y="599"/>
                    <a:pt x="767" y="597"/>
                  </a:cubicBezTo>
                  <a:cubicBezTo>
                    <a:pt x="770" y="594"/>
                    <a:pt x="772" y="592"/>
                    <a:pt x="773" y="588"/>
                  </a:cubicBezTo>
                  <a:close/>
                  <a:moveTo>
                    <a:pt x="786" y="674"/>
                  </a:moveTo>
                  <a:cubicBezTo>
                    <a:pt x="733" y="742"/>
                    <a:pt x="733" y="742"/>
                    <a:pt x="733" y="742"/>
                  </a:cubicBezTo>
                  <a:cubicBezTo>
                    <a:pt x="734" y="744"/>
                    <a:pt x="734" y="744"/>
                    <a:pt x="734" y="744"/>
                  </a:cubicBezTo>
                  <a:cubicBezTo>
                    <a:pt x="780" y="731"/>
                    <a:pt x="780" y="731"/>
                    <a:pt x="780" y="731"/>
                  </a:cubicBezTo>
                  <a:cubicBezTo>
                    <a:pt x="794" y="727"/>
                    <a:pt x="803" y="725"/>
                    <a:pt x="808" y="726"/>
                  </a:cubicBezTo>
                  <a:cubicBezTo>
                    <a:pt x="813" y="726"/>
                    <a:pt x="817" y="728"/>
                    <a:pt x="820" y="732"/>
                  </a:cubicBezTo>
                  <a:cubicBezTo>
                    <a:pt x="822" y="731"/>
                    <a:pt x="822" y="731"/>
                    <a:pt x="822" y="731"/>
                  </a:cubicBezTo>
                  <a:cubicBezTo>
                    <a:pt x="821" y="730"/>
                    <a:pt x="821" y="728"/>
                    <a:pt x="820" y="726"/>
                  </a:cubicBezTo>
                  <a:cubicBezTo>
                    <a:pt x="820" y="724"/>
                    <a:pt x="819" y="722"/>
                    <a:pt x="818" y="718"/>
                  </a:cubicBezTo>
                  <a:cubicBezTo>
                    <a:pt x="817" y="714"/>
                    <a:pt x="816" y="712"/>
                    <a:pt x="816" y="710"/>
                  </a:cubicBezTo>
                  <a:cubicBezTo>
                    <a:pt x="815" y="708"/>
                    <a:pt x="815" y="706"/>
                    <a:pt x="814" y="705"/>
                  </a:cubicBezTo>
                  <a:cubicBezTo>
                    <a:pt x="812" y="705"/>
                    <a:pt x="812" y="705"/>
                    <a:pt x="812" y="705"/>
                  </a:cubicBezTo>
                  <a:cubicBezTo>
                    <a:pt x="812" y="710"/>
                    <a:pt x="810" y="713"/>
                    <a:pt x="806" y="716"/>
                  </a:cubicBezTo>
                  <a:cubicBezTo>
                    <a:pt x="802" y="719"/>
                    <a:pt x="793" y="722"/>
                    <a:pt x="779" y="726"/>
                  </a:cubicBezTo>
                  <a:cubicBezTo>
                    <a:pt x="771" y="729"/>
                    <a:pt x="771" y="729"/>
                    <a:pt x="771" y="729"/>
                  </a:cubicBezTo>
                  <a:cubicBezTo>
                    <a:pt x="807" y="681"/>
                    <a:pt x="807" y="681"/>
                    <a:pt x="807" y="681"/>
                  </a:cubicBezTo>
                  <a:cubicBezTo>
                    <a:pt x="807" y="680"/>
                    <a:pt x="807" y="678"/>
                    <a:pt x="806" y="676"/>
                  </a:cubicBezTo>
                  <a:cubicBezTo>
                    <a:pt x="805" y="674"/>
                    <a:pt x="805" y="672"/>
                    <a:pt x="804" y="671"/>
                  </a:cubicBezTo>
                  <a:cubicBezTo>
                    <a:pt x="804" y="669"/>
                    <a:pt x="803" y="667"/>
                    <a:pt x="802" y="663"/>
                  </a:cubicBezTo>
                  <a:cubicBezTo>
                    <a:pt x="801" y="659"/>
                    <a:pt x="801" y="657"/>
                    <a:pt x="800" y="656"/>
                  </a:cubicBezTo>
                  <a:cubicBezTo>
                    <a:pt x="799" y="656"/>
                    <a:pt x="799" y="656"/>
                    <a:pt x="799" y="656"/>
                  </a:cubicBezTo>
                  <a:cubicBezTo>
                    <a:pt x="799" y="660"/>
                    <a:pt x="798" y="662"/>
                    <a:pt x="796" y="664"/>
                  </a:cubicBezTo>
                  <a:cubicBezTo>
                    <a:pt x="794" y="666"/>
                    <a:pt x="791" y="668"/>
                    <a:pt x="785" y="669"/>
                  </a:cubicBezTo>
                  <a:cubicBezTo>
                    <a:pt x="759" y="677"/>
                    <a:pt x="759" y="677"/>
                    <a:pt x="759" y="677"/>
                  </a:cubicBezTo>
                  <a:cubicBezTo>
                    <a:pt x="745" y="681"/>
                    <a:pt x="736" y="683"/>
                    <a:pt x="731" y="682"/>
                  </a:cubicBezTo>
                  <a:cubicBezTo>
                    <a:pt x="726" y="682"/>
                    <a:pt x="722" y="680"/>
                    <a:pt x="719" y="676"/>
                  </a:cubicBezTo>
                  <a:cubicBezTo>
                    <a:pt x="717" y="677"/>
                    <a:pt x="717" y="677"/>
                    <a:pt x="717" y="677"/>
                  </a:cubicBezTo>
                  <a:cubicBezTo>
                    <a:pt x="718" y="679"/>
                    <a:pt x="719" y="681"/>
                    <a:pt x="720" y="683"/>
                  </a:cubicBezTo>
                  <a:cubicBezTo>
                    <a:pt x="720" y="685"/>
                    <a:pt x="721" y="688"/>
                    <a:pt x="722" y="690"/>
                  </a:cubicBezTo>
                  <a:cubicBezTo>
                    <a:pt x="722" y="693"/>
                    <a:pt x="723" y="695"/>
                    <a:pt x="724" y="697"/>
                  </a:cubicBezTo>
                  <a:cubicBezTo>
                    <a:pt x="724" y="699"/>
                    <a:pt x="725" y="701"/>
                    <a:pt x="725" y="703"/>
                  </a:cubicBezTo>
                  <a:cubicBezTo>
                    <a:pt x="727" y="703"/>
                    <a:pt x="727" y="703"/>
                    <a:pt x="727" y="703"/>
                  </a:cubicBezTo>
                  <a:cubicBezTo>
                    <a:pt x="728" y="698"/>
                    <a:pt x="730" y="695"/>
                    <a:pt x="734" y="692"/>
                  </a:cubicBezTo>
                  <a:cubicBezTo>
                    <a:pt x="738" y="689"/>
                    <a:pt x="747" y="686"/>
                    <a:pt x="760" y="682"/>
                  </a:cubicBezTo>
                  <a:cubicBezTo>
                    <a:pt x="786" y="674"/>
                    <a:pt x="786" y="674"/>
                    <a:pt x="786" y="674"/>
                  </a:cubicBezTo>
                  <a:close/>
                  <a:moveTo>
                    <a:pt x="737" y="745"/>
                  </a:moveTo>
                  <a:cubicBezTo>
                    <a:pt x="739" y="745"/>
                    <a:pt x="739" y="745"/>
                    <a:pt x="739" y="745"/>
                  </a:cubicBezTo>
                  <a:cubicBezTo>
                    <a:pt x="741" y="747"/>
                    <a:pt x="744" y="748"/>
                    <a:pt x="748" y="748"/>
                  </a:cubicBezTo>
                  <a:cubicBezTo>
                    <a:pt x="752" y="748"/>
                    <a:pt x="759" y="747"/>
                    <a:pt x="770" y="745"/>
                  </a:cubicBezTo>
                  <a:cubicBezTo>
                    <a:pt x="775" y="744"/>
                    <a:pt x="775" y="744"/>
                    <a:pt x="775" y="744"/>
                  </a:cubicBezTo>
                  <a:cubicBezTo>
                    <a:pt x="810" y="735"/>
                    <a:pt x="810" y="735"/>
                    <a:pt x="810" y="735"/>
                  </a:cubicBezTo>
                  <a:cubicBezTo>
                    <a:pt x="814" y="735"/>
                    <a:pt x="816" y="734"/>
                    <a:pt x="817" y="733"/>
                  </a:cubicBezTo>
                  <a:cubicBezTo>
                    <a:pt x="818" y="732"/>
                    <a:pt x="819" y="731"/>
                    <a:pt x="819" y="729"/>
                  </a:cubicBezTo>
                  <a:cubicBezTo>
                    <a:pt x="821" y="729"/>
                    <a:pt x="821" y="729"/>
                    <a:pt x="821" y="729"/>
                  </a:cubicBezTo>
                  <a:cubicBezTo>
                    <a:pt x="822" y="733"/>
                    <a:pt x="822" y="735"/>
                    <a:pt x="823" y="737"/>
                  </a:cubicBezTo>
                  <a:cubicBezTo>
                    <a:pt x="823" y="739"/>
                    <a:pt x="824" y="741"/>
                    <a:pt x="824" y="743"/>
                  </a:cubicBezTo>
                  <a:cubicBezTo>
                    <a:pt x="824" y="744"/>
                    <a:pt x="825" y="746"/>
                    <a:pt x="825" y="748"/>
                  </a:cubicBezTo>
                  <a:cubicBezTo>
                    <a:pt x="826" y="750"/>
                    <a:pt x="827" y="753"/>
                    <a:pt x="828" y="757"/>
                  </a:cubicBezTo>
                  <a:cubicBezTo>
                    <a:pt x="826" y="757"/>
                    <a:pt x="826" y="757"/>
                    <a:pt x="826" y="757"/>
                  </a:cubicBezTo>
                  <a:cubicBezTo>
                    <a:pt x="825" y="756"/>
                    <a:pt x="824" y="755"/>
                    <a:pt x="822" y="755"/>
                  </a:cubicBezTo>
                  <a:cubicBezTo>
                    <a:pt x="821" y="754"/>
                    <a:pt x="819" y="755"/>
                    <a:pt x="815" y="756"/>
                  </a:cubicBezTo>
                  <a:cubicBezTo>
                    <a:pt x="774" y="765"/>
                    <a:pt x="774" y="765"/>
                    <a:pt x="774" y="765"/>
                  </a:cubicBezTo>
                  <a:cubicBezTo>
                    <a:pt x="764" y="767"/>
                    <a:pt x="757" y="770"/>
                    <a:pt x="753" y="771"/>
                  </a:cubicBezTo>
                  <a:cubicBezTo>
                    <a:pt x="750" y="773"/>
                    <a:pt x="748" y="776"/>
                    <a:pt x="747" y="779"/>
                  </a:cubicBezTo>
                  <a:cubicBezTo>
                    <a:pt x="745" y="779"/>
                    <a:pt x="745" y="779"/>
                    <a:pt x="745" y="779"/>
                  </a:cubicBezTo>
                  <a:cubicBezTo>
                    <a:pt x="744" y="776"/>
                    <a:pt x="744" y="774"/>
                    <a:pt x="743" y="771"/>
                  </a:cubicBezTo>
                  <a:cubicBezTo>
                    <a:pt x="743" y="768"/>
                    <a:pt x="742" y="765"/>
                    <a:pt x="741" y="762"/>
                  </a:cubicBezTo>
                  <a:cubicBezTo>
                    <a:pt x="741" y="759"/>
                    <a:pt x="740" y="756"/>
                    <a:pt x="739" y="753"/>
                  </a:cubicBezTo>
                  <a:cubicBezTo>
                    <a:pt x="738" y="750"/>
                    <a:pt x="738" y="747"/>
                    <a:pt x="737" y="745"/>
                  </a:cubicBezTo>
                  <a:close/>
                  <a:moveTo>
                    <a:pt x="842" y="832"/>
                  </a:moveTo>
                  <a:cubicBezTo>
                    <a:pt x="841" y="829"/>
                    <a:pt x="841" y="827"/>
                    <a:pt x="840" y="825"/>
                  </a:cubicBezTo>
                  <a:cubicBezTo>
                    <a:pt x="840" y="823"/>
                    <a:pt x="840" y="821"/>
                    <a:pt x="839" y="819"/>
                  </a:cubicBezTo>
                  <a:cubicBezTo>
                    <a:pt x="839" y="817"/>
                    <a:pt x="838" y="815"/>
                    <a:pt x="838" y="812"/>
                  </a:cubicBezTo>
                  <a:cubicBezTo>
                    <a:pt x="838" y="810"/>
                    <a:pt x="837" y="808"/>
                    <a:pt x="837" y="805"/>
                  </a:cubicBezTo>
                  <a:cubicBezTo>
                    <a:pt x="835" y="805"/>
                    <a:pt x="835" y="805"/>
                    <a:pt x="835" y="805"/>
                  </a:cubicBezTo>
                  <a:cubicBezTo>
                    <a:pt x="835" y="808"/>
                    <a:pt x="835" y="809"/>
                    <a:pt x="833" y="811"/>
                  </a:cubicBezTo>
                  <a:cubicBezTo>
                    <a:pt x="832" y="812"/>
                    <a:pt x="830" y="813"/>
                    <a:pt x="827" y="814"/>
                  </a:cubicBezTo>
                  <a:cubicBezTo>
                    <a:pt x="824" y="814"/>
                    <a:pt x="821" y="815"/>
                    <a:pt x="817" y="814"/>
                  </a:cubicBezTo>
                  <a:cubicBezTo>
                    <a:pt x="813" y="814"/>
                    <a:pt x="808" y="814"/>
                    <a:pt x="803" y="813"/>
                  </a:cubicBezTo>
                  <a:cubicBezTo>
                    <a:pt x="778" y="808"/>
                    <a:pt x="778" y="808"/>
                    <a:pt x="778" y="808"/>
                  </a:cubicBezTo>
                  <a:cubicBezTo>
                    <a:pt x="815" y="785"/>
                    <a:pt x="815" y="785"/>
                    <a:pt x="815" y="785"/>
                  </a:cubicBezTo>
                  <a:cubicBezTo>
                    <a:pt x="817" y="784"/>
                    <a:pt x="818" y="784"/>
                    <a:pt x="820" y="783"/>
                  </a:cubicBezTo>
                  <a:cubicBezTo>
                    <a:pt x="821" y="783"/>
                    <a:pt x="822" y="782"/>
                    <a:pt x="823" y="782"/>
                  </a:cubicBezTo>
                  <a:cubicBezTo>
                    <a:pt x="825" y="781"/>
                    <a:pt x="827" y="782"/>
                    <a:pt x="829" y="782"/>
                  </a:cubicBezTo>
                  <a:cubicBezTo>
                    <a:pt x="830" y="783"/>
                    <a:pt x="831" y="784"/>
                    <a:pt x="831" y="786"/>
                  </a:cubicBezTo>
                  <a:cubicBezTo>
                    <a:pt x="833" y="786"/>
                    <a:pt x="833" y="786"/>
                    <a:pt x="833" y="786"/>
                  </a:cubicBezTo>
                  <a:cubicBezTo>
                    <a:pt x="832" y="782"/>
                    <a:pt x="832" y="779"/>
                    <a:pt x="831" y="776"/>
                  </a:cubicBezTo>
                  <a:cubicBezTo>
                    <a:pt x="830" y="773"/>
                    <a:pt x="830" y="770"/>
                    <a:pt x="829" y="767"/>
                  </a:cubicBezTo>
                  <a:cubicBezTo>
                    <a:pt x="829" y="764"/>
                    <a:pt x="828" y="761"/>
                    <a:pt x="827" y="758"/>
                  </a:cubicBezTo>
                  <a:cubicBezTo>
                    <a:pt x="827" y="755"/>
                    <a:pt x="827" y="752"/>
                    <a:pt x="826" y="749"/>
                  </a:cubicBezTo>
                  <a:cubicBezTo>
                    <a:pt x="824" y="750"/>
                    <a:pt x="824" y="750"/>
                    <a:pt x="824" y="750"/>
                  </a:cubicBezTo>
                  <a:cubicBezTo>
                    <a:pt x="825" y="752"/>
                    <a:pt x="824" y="754"/>
                    <a:pt x="822" y="756"/>
                  </a:cubicBezTo>
                  <a:cubicBezTo>
                    <a:pt x="820" y="758"/>
                    <a:pt x="816" y="761"/>
                    <a:pt x="810" y="765"/>
                  </a:cubicBezTo>
                  <a:cubicBezTo>
                    <a:pt x="745" y="806"/>
                    <a:pt x="745" y="806"/>
                    <a:pt x="745" y="806"/>
                  </a:cubicBezTo>
                  <a:cubicBezTo>
                    <a:pt x="746" y="807"/>
                    <a:pt x="746" y="807"/>
                    <a:pt x="746" y="807"/>
                  </a:cubicBezTo>
                  <a:cubicBezTo>
                    <a:pt x="811" y="821"/>
                    <a:pt x="811" y="821"/>
                    <a:pt x="811" y="821"/>
                  </a:cubicBezTo>
                  <a:cubicBezTo>
                    <a:pt x="811" y="821"/>
                    <a:pt x="812" y="821"/>
                    <a:pt x="814" y="822"/>
                  </a:cubicBezTo>
                  <a:cubicBezTo>
                    <a:pt x="829" y="825"/>
                    <a:pt x="838" y="828"/>
                    <a:pt x="840" y="832"/>
                  </a:cubicBezTo>
                  <a:cubicBezTo>
                    <a:pt x="842" y="832"/>
                    <a:pt x="842" y="832"/>
                    <a:pt x="842" y="832"/>
                  </a:cubicBezTo>
                  <a:close/>
                  <a:moveTo>
                    <a:pt x="754" y="835"/>
                  </a:moveTo>
                  <a:cubicBezTo>
                    <a:pt x="756" y="835"/>
                    <a:pt x="756" y="835"/>
                    <a:pt x="756" y="835"/>
                  </a:cubicBezTo>
                  <a:cubicBezTo>
                    <a:pt x="758" y="837"/>
                    <a:pt x="761" y="839"/>
                    <a:pt x="765" y="839"/>
                  </a:cubicBezTo>
                  <a:cubicBezTo>
                    <a:pt x="769" y="840"/>
                    <a:pt x="774" y="840"/>
                    <a:pt x="782" y="838"/>
                  </a:cubicBezTo>
                  <a:cubicBezTo>
                    <a:pt x="828" y="832"/>
                    <a:pt x="828" y="832"/>
                    <a:pt x="828" y="832"/>
                  </a:cubicBezTo>
                  <a:cubicBezTo>
                    <a:pt x="832" y="832"/>
                    <a:pt x="834" y="831"/>
                    <a:pt x="836" y="830"/>
                  </a:cubicBezTo>
                  <a:cubicBezTo>
                    <a:pt x="837" y="829"/>
                    <a:pt x="837" y="828"/>
                    <a:pt x="838" y="826"/>
                  </a:cubicBezTo>
                  <a:cubicBezTo>
                    <a:pt x="840" y="826"/>
                    <a:pt x="840" y="826"/>
                    <a:pt x="840" y="826"/>
                  </a:cubicBezTo>
                  <a:cubicBezTo>
                    <a:pt x="840" y="831"/>
                    <a:pt x="841" y="836"/>
                    <a:pt x="841" y="840"/>
                  </a:cubicBezTo>
                  <a:cubicBezTo>
                    <a:pt x="842" y="844"/>
                    <a:pt x="842" y="848"/>
                    <a:pt x="843" y="851"/>
                  </a:cubicBezTo>
                  <a:cubicBezTo>
                    <a:pt x="847" y="882"/>
                    <a:pt x="847" y="882"/>
                    <a:pt x="847" y="882"/>
                  </a:cubicBezTo>
                  <a:cubicBezTo>
                    <a:pt x="825" y="889"/>
                    <a:pt x="825" y="889"/>
                    <a:pt x="825" y="889"/>
                  </a:cubicBezTo>
                  <a:cubicBezTo>
                    <a:pt x="825" y="888"/>
                    <a:pt x="825" y="888"/>
                    <a:pt x="825" y="888"/>
                  </a:cubicBezTo>
                  <a:cubicBezTo>
                    <a:pt x="831" y="882"/>
                    <a:pt x="835" y="876"/>
                    <a:pt x="837" y="871"/>
                  </a:cubicBezTo>
                  <a:cubicBezTo>
                    <a:pt x="840" y="866"/>
                    <a:pt x="841" y="860"/>
                    <a:pt x="840" y="855"/>
                  </a:cubicBezTo>
                  <a:cubicBezTo>
                    <a:pt x="840" y="854"/>
                    <a:pt x="840" y="853"/>
                    <a:pt x="839" y="853"/>
                  </a:cubicBezTo>
                  <a:cubicBezTo>
                    <a:pt x="839" y="852"/>
                    <a:pt x="839" y="852"/>
                    <a:pt x="839" y="851"/>
                  </a:cubicBezTo>
                  <a:cubicBezTo>
                    <a:pt x="806" y="856"/>
                    <a:pt x="806" y="856"/>
                    <a:pt x="806" y="856"/>
                  </a:cubicBezTo>
                  <a:cubicBezTo>
                    <a:pt x="806" y="857"/>
                    <a:pt x="806" y="858"/>
                    <a:pt x="806" y="859"/>
                  </a:cubicBezTo>
                  <a:cubicBezTo>
                    <a:pt x="806" y="859"/>
                    <a:pt x="806" y="860"/>
                    <a:pt x="806" y="860"/>
                  </a:cubicBezTo>
                  <a:cubicBezTo>
                    <a:pt x="807" y="866"/>
                    <a:pt x="809" y="870"/>
                    <a:pt x="811" y="872"/>
                  </a:cubicBezTo>
                  <a:cubicBezTo>
                    <a:pt x="814" y="875"/>
                    <a:pt x="818" y="877"/>
                    <a:pt x="823" y="878"/>
                  </a:cubicBezTo>
                  <a:cubicBezTo>
                    <a:pt x="823" y="879"/>
                    <a:pt x="823" y="879"/>
                    <a:pt x="823" y="879"/>
                  </a:cubicBezTo>
                  <a:cubicBezTo>
                    <a:pt x="791" y="884"/>
                    <a:pt x="791" y="884"/>
                    <a:pt x="791" y="884"/>
                  </a:cubicBezTo>
                  <a:cubicBezTo>
                    <a:pt x="791" y="882"/>
                    <a:pt x="791" y="882"/>
                    <a:pt x="791" y="882"/>
                  </a:cubicBezTo>
                  <a:cubicBezTo>
                    <a:pt x="795" y="880"/>
                    <a:pt x="798" y="877"/>
                    <a:pt x="800" y="874"/>
                  </a:cubicBezTo>
                  <a:cubicBezTo>
                    <a:pt x="802" y="871"/>
                    <a:pt x="802" y="866"/>
                    <a:pt x="802" y="861"/>
                  </a:cubicBezTo>
                  <a:cubicBezTo>
                    <a:pt x="802" y="860"/>
                    <a:pt x="801" y="860"/>
                    <a:pt x="801" y="859"/>
                  </a:cubicBezTo>
                  <a:cubicBezTo>
                    <a:pt x="801" y="859"/>
                    <a:pt x="801" y="858"/>
                    <a:pt x="801" y="857"/>
                  </a:cubicBezTo>
                  <a:cubicBezTo>
                    <a:pt x="781" y="860"/>
                    <a:pt x="781" y="860"/>
                    <a:pt x="781" y="860"/>
                  </a:cubicBezTo>
                  <a:cubicBezTo>
                    <a:pt x="775" y="860"/>
                    <a:pt x="771" y="862"/>
                    <a:pt x="768" y="864"/>
                  </a:cubicBezTo>
                  <a:cubicBezTo>
                    <a:pt x="766" y="866"/>
                    <a:pt x="765" y="869"/>
                    <a:pt x="765" y="873"/>
                  </a:cubicBezTo>
                  <a:cubicBezTo>
                    <a:pt x="766" y="877"/>
                    <a:pt x="769" y="882"/>
                    <a:pt x="773" y="886"/>
                  </a:cubicBezTo>
                  <a:cubicBezTo>
                    <a:pt x="778" y="890"/>
                    <a:pt x="785" y="895"/>
                    <a:pt x="793" y="899"/>
                  </a:cubicBezTo>
                  <a:cubicBezTo>
                    <a:pt x="793" y="900"/>
                    <a:pt x="793" y="900"/>
                    <a:pt x="793" y="900"/>
                  </a:cubicBezTo>
                  <a:cubicBezTo>
                    <a:pt x="764" y="898"/>
                    <a:pt x="764" y="898"/>
                    <a:pt x="764" y="898"/>
                  </a:cubicBezTo>
                  <a:cubicBezTo>
                    <a:pt x="759" y="863"/>
                    <a:pt x="759" y="863"/>
                    <a:pt x="759" y="863"/>
                  </a:cubicBezTo>
                  <a:cubicBezTo>
                    <a:pt x="759" y="861"/>
                    <a:pt x="758" y="857"/>
                    <a:pt x="757" y="852"/>
                  </a:cubicBezTo>
                  <a:cubicBezTo>
                    <a:pt x="756" y="847"/>
                    <a:pt x="755" y="841"/>
                    <a:pt x="754" y="835"/>
                  </a:cubicBezTo>
                  <a:close/>
                  <a:moveTo>
                    <a:pt x="763" y="895"/>
                  </a:moveTo>
                  <a:cubicBezTo>
                    <a:pt x="763" y="898"/>
                    <a:pt x="764" y="901"/>
                    <a:pt x="764" y="904"/>
                  </a:cubicBezTo>
                  <a:cubicBezTo>
                    <a:pt x="764" y="906"/>
                    <a:pt x="764" y="910"/>
                    <a:pt x="765" y="913"/>
                  </a:cubicBezTo>
                  <a:cubicBezTo>
                    <a:pt x="765" y="916"/>
                    <a:pt x="765" y="919"/>
                    <a:pt x="765" y="922"/>
                  </a:cubicBezTo>
                  <a:cubicBezTo>
                    <a:pt x="765" y="925"/>
                    <a:pt x="765" y="928"/>
                    <a:pt x="765" y="930"/>
                  </a:cubicBezTo>
                  <a:cubicBezTo>
                    <a:pt x="767" y="930"/>
                    <a:pt x="767" y="930"/>
                    <a:pt x="767" y="930"/>
                  </a:cubicBezTo>
                  <a:cubicBezTo>
                    <a:pt x="768" y="927"/>
                    <a:pt x="771" y="925"/>
                    <a:pt x="775" y="924"/>
                  </a:cubicBezTo>
                  <a:cubicBezTo>
                    <a:pt x="778" y="923"/>
                    <a:pt x="786" y="922"/>
                    <a:pt x="79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2"/>
                    <a:pt x="807" y="923"/>
                    <a:pt x="807" y="923"/>
                  </a:cubicBezTo>
                  <a:cubicBezTo>
                    <a:pt x="808" y="930"/>
                    <a:pt x="797" y="937"/>
                    <a:pt x="774" y="944"/>
                  </a:cubicBezTo>
                  <a:cubicBezTo>
                    <a:pt x="771" y="945"/>
                    <a:pt x="768" y="945"/>
                    <a:pt x="766" y="946"/>
                  </a:cubicBezTo>
                  <a:cubicBezTo>
                    <a:pt x="766" y="947"/>
                    <a:pt x="766" y="949"/>
                    <a:pt x="767" y="950"/>
                  </a:cubicBezTo>
                  <a:cubicBezTo>
                    <a:pt x="767" y="952"/>
                    <a:pt x="767" y="954"/>
                    <a:pt x="767" y="957"/>
                  </a:cubicBezTo>
                  <a:cubicBezTo>
                    <a:pt x="767" y="959"/>
                    <a:pt x="767" y="962"/>
                    <a:pt x="767" y="964"/>
                  </a:cubicBezTo>
                  <a:cubicBezTo>
                    <a:pt x="767" y="967"/>
                    <a:pt x="767" y="970"/>
                    <a:pt x="768" y="975"/>
                  </a:cubicBezTo>
                  <a:cubicBezTo>
                    <a:pt x="769" y="975"/>
                    <a:pt x="769" y="975"/>
                    <a:pt x="769" y="975"/>
                  </a:cubicBezTo>
                  <a:cubicBezTo>
                    <a:pt x="770" y="971"/>
                    <a:pt x="775" y="967"/>
                    <a:pt x="786" y="962"/>
                  </a:cubicBezTo>
                  <a:cubicBezTo>
                    <a:pt x="790" y="961"/>
                    <a:pt x="793" y="960"/>
                    <a:pt x="794" y="959"/>
                  </a:cubicBezTo>
                  <a:cubicBezTo>
                    <a:pt x="799" y="957"/>
                    <a:pt x="803" y="955"/>
                    <a:pt x="805" y="951"/>
                  </a:cubicBezTo>
                  <a:cubicBezTo>
                    <a:pt x="808" y="948"/>
                    <a:pt x="809" y="944"/>
                    <a:pt x="810" y="938"/>
                  </a:cubicBezTo>
                  <a:cubicBezTo>
                    <a:pt x="812" y="946"/>
                    <a:pt x="814" y="952"/>
                    <a:pt x="818" y="956"/>
                  </a:cubicBezTo>
                  <a:cubicBezTo>
                    <a:pt x="822" y="960"/>
                    <a:pt x="826" y="961"/>
                    <a:pt x="832" y="961"/>
                  </a:cubicBezTo>
                  <a:cubicBezTo>
                    <a:pt x="839" y="961"/>
                    <a:pt x="844" y="958"/>
                    <a:pt x="847" y="952"/>
                  </a:cubicBezTo>
                  <a:cubicBezTo>
                    <a:pt x="850" y="947"/>
                    <a:pt x="851" y="937"/>
                    <a:pt x="850" y="925"/>
                  </a:cubicBezTo>
                  <a:cubicBezTo>
                    <a:pt x="850" y="915"/>
                    <a:pt x="850" y="915"/>
                    <a:pt x="850" y="915"/>
                  </a:cubicBezTo>
                  <a:cubicBezTo>
                    <a:pt x="849" y="910"/>
                    <a:pt x="849" y="906"/>
                    <a:pt x="849" y="903"/>
                  </a:cubicBezTo>
                  <a:cubicBezTo>
                    <a:pt x="849" y="900"/>
                    <a:pt x="849" y="897"/>
                    <a:pt x="849" y="894"/>
                  </a:cubicBezTo>
                  <a:cubicBezTo>
                    <a:pt x="847" y="894"/>
                    <a:pt x="847" y="894"/>
                    <a:pt x="847" y="894"/>
                  </a:cubicBezTo>
                  <a:cubicBezTo>
                    <a:pt x="847" y="896"/>
                    <a:pt x="846" y="897"/>
                    <a:pt x="844" y="897"/>
                  </a:cubicBezTo>
                  <a:cubicBezTo>
                    <a:pt x="843" y="898"/>
                    <a:pt x="841" y="898"/>
                    <a:pt x="837" y="899"/>
                  </a:cubicBezTo>
                  <a:cubicBezTo>
                    <a:pt x="801" y="901"/>
                    <a:pt x="801" y="901"/>
                    <a:pt x="801" y="901"/>
                  </a:cubicBezTo>
                  <a:cubicBezTo>
                    <a:pt x="795" y="901"/>
                    <a:pt x="795" y="901"/>
                    <a:pt x="795" y="901"/>
                  </a:cubicBezTo>
                  <a:cubicBezTo>
                    <a:pt x="784" y="901"/>
                    <a:pt x="777" y="901"/>
                    <a:pt x="773" y="900"/>
                  </a:cubicBezTo>
                  <a:cubicBezTo>
                    <a:pt x="770" y="900"/>
                    <a:pt x="767" y="898"/>
                    <a:pt x="765" y="895"/>
                  </a:cubicBezTo>
                  <a:cubicBezTo>
                    <a:pt x="763" y="895"/>
                    <a:pt x="763" y="895"/>
                    <a:pt x="763" y="895"/>
                  </a:cubicBezTo>
                  <a:close/>
                  <a:moveTo>
                    <a:pt x="812" y="921"/>
                  </a:moveTo>
                  <a:cubicBezTo>
                    <a:pt x="844" y="919"/>
                    <a:pt x="844" y="919"/>
                    <a:pt x="844" y="919"/>
                  </a:cubicBezTo>
                  <a:cubicBezTo>
                    <a:pt x="845" y="920"/>
                    <a:pt x="845" y="921"/>
                    <a:pt x="845" y="921"/>
                  </a:cubicBezTo>
                  <a:cubicBezTo>
                    <a:pt x="845" y="922"/>
                    <a:pt x="845" y="923"/>
                    <a:pt x="845" y="925"/>
                  </a:cubicBezTo>
                  <a:cubicBezTo>
                    <a:pt x="845" y="929"/>
                    <a:pt x="844" y="933"/>
                    <a:pt x="841" y="935"/>
                  </a:cubicBezTo>
                  <a:cubicBezTo>
                    <a:pt x="839" y="938"/>
                    <a:pt x="835" y="939"/>
                    <a:pt x="829" y="939"/>
                  </a:cubicBezTo>
                  <a:cubicBezTo>
                    <a:pt x="824" y="939"/>
                    <a:pt x="819" y="939"/>
                    <a:pt x="817" y="936"/>
                  </a:cubicBezTo>
                  <a:cubicBezTo>
                    <a:pt x="814" y="934"/>
                    <a:pt x="812" y="931"/>
                    <a:pt x="812" y="926"/>
                  </a:cubicBezTo>
                  <a:cubicBezTo>
                    <a:pt x="812" y="924"/>
                    <a:pt x="812" y="923"/>
                    <a:pt x="812" y="923"/>
                  </a:cubicBezTo>
                  <a:cubicBezTo>
                    <a:pt x="812" y="922"/>
                    <a:pt x="812" y="921"/>
                    <a:pt x="812" y="921"/>
                  </a:cubicBezTo>
                  <a:close/>
                  <a:moveTo>
                    <a:pt x="775" y="960"/>
                  </a:moveTo>
                  <a:cubicBezTo>
                    <a:pt x="798" y="966"/>
                    <a:pt x="798" y="966"/>
                    <a:pt x="798" y="966"/>
                  </a:cubicBezTo>
                  <a:cubicBezTo>
                    <a:pt x="798" y="968"/>
                    <a:pt x="798" y="968"/>
                    <a:pt x="798" y="968"/>
                  </a:cubicBezTo>
                  <a:cubicBezTo>
                    <a:pt x="790" y="969"/>
                    <a:pt x="784" y="972"/>
                    <a:pt x="779" y="976"/>
                  </a:cubicBezTo>
                  <a:cubicBezTo>
                    <a:pt x="774" y="980"/>
                    <a:pt x="772" y="984"/>
                    <a:pt x="772" y="990"/>
                  </a:cubicBezTo>
                  <a:cubicBezTo>
                    <a:pt x="772" y="994"/>
                    <a:pt x="773" y="997"/>
                    <a:pt x="776" y="1000"/>
                  </a:cubicBezTo>
                  <a:cubicBezTo>
                    <a:pt x="780" y="1003"/>
                    <a:pt x="784" y="1004"/>
                    <a:pt x="788" y="1004"/>
                  </a:cubicBezTo>
                  <a:cubicBezTo>
                    <a:pt x="793" y="1004"/>
                    <a:pt x="796" y="1003"/>
                    <a:pt x="798" y="1001"/>
                  </a:cubicBezTo>
                  <a:cubicBezTo>
                    <a:pt x="800" y="999"/>
                    <a:pt x="802" y="996"/>
                    <a:pt x="803" y="991"/>
                  </a:cubicBezTo>
                  <a:cubicBezTo>
                    <a:pt x="803" y="990"/>
                    <a:pt x="804" y="989"/>
                    <a:pt x="804" y="987"/>
                  </a:cubicBezTo>
                  <a:cubicBezTo>
                    <a:pt x="806" y="979"/>
                    <a:pt x="808" y="973"/>
                    <a:pt x="811" y="970"/>
                  </a:cubicBezTo>
                  <a:cubicBezTo>
                    <a:pt x="813" y="968"/>
                    <a:pt x="815" y="967"/>
                    <a:pt x="818" y="966"/>
                  </a:cubicBezTo>
                  <a:cubicBezTo>
                    <a:pt x="821" y="965"/>
                    <a:pt x="824" y="964"/>
                    <a:pt x="828" y="964"/>
                  </a:cubicBezTo>
                  <a:cubicBezTo>
                    <a:pt x="836" y="964"/>
                    <a:pt x="843" y="967"/>
                    <a:pt x="848" y="972"/>
                  </a:cubicBezTo>
                  <a:cubicBezTo>
                    <a:pt x="853" y="978"/>
                    <a:pt x="856" y="985"/>
                    <a:pt x="856" y="995"/>
                  </a:cubicBezTo>
                  <a:cubicBezTo>
                    <a:pt x="856" y="999"/>
                    <a:pt x="856" y="1003"/>
                    <a:pt x="854" y="1007"/>
                  </a:cubicBezTo>
                  <a:cubicBezTo>
                    <a:pt x="853" y="1012"/>
                    <a:pt x="852" y="1016"/>
                    <a:pt x="849" y="1021"/>
                  </a:cubicBezTo>
                  <a:cubicBezTo>
                    <a:pt x="828" y="1016"/>
                    <a:pt x="828" y="1016"/>
                    <a:pt x="828" y="1016"/>
                  </a:cubicBezTo>
                  <a:cubicBezTo>
                    <a:pt x="829" y="1014"/>
                    <a:pt x="829" y="1014"/>
                    <a:pt x="829" y="1014"/>
                  </a:cubicBezTo>
                  <a:cubicBezTo>
                    <a:pt x="835" y="1013"/>
                    <a:pt x="841" y="1011"/>
                    <a:pt x="845" y="1008"/>
                  </a:cubicBezTo>
                  <a:cubicBezTo>
                    <a:pt x="849" y="1005"/>
                    <a:pt x="851" y="1001"/>
                    <a:pt x="851" y="996"/>
                  </a:cubicBezTo>
                  <a:cubicBezTo>
                    <a:pt x="851" y="992"/>
                    <a:pt x="849" y="990"/>
                    <a:pt x="846" y="987"/>
                  </a:cubicBezTo>
                  <a:cubicBezTo>
                    <a:pt x="844" y="985"/>
                    <a:pt x="840" y="984"/>
                    <a:pt x="836" y="984"/>
                  </a:cubicBezTo>
                  <a:cubicBezTo>
                    <a:pt x="832" y="984"/>
                    <a:pt x="829" y="985"/>
                    <a:pt x="827" y="987"/>
                  </a:cubicBezTo>
                  <a:cubicBezTo>
                    <a:pt x="825" y="989"/>
                    <a:pt x="824" y="993"/>
                    <a:pt x="822" y="1000"/>
                  </a:cubicBezTo>
                  <a:cubicBezTo>
                    <a:pt x="820" y="1009"/>
                    <a:pt x="817" y="1015"/>
                    <a:pt x="813" y="1019"/>
                  </a:cubicBezTo>
                  <a:cubicBezTo>
                    <a:pt x="809" y="1022"/>
                    <a:pt x="804" y="1024"/>
                    <a:pt x="796" y="1024"/>
                  </a:cubicBezTo>
                  <a:cubicBezTo>
                    <a:pt x="788" y="1024"/>
                    <a:pt x="780" y="1021"/>
                    <a:pt x="775" y="1015"/>
                  </a:cubicBezTo>
                  <a:cubicBezTo>
                    <a:pt x="769" y="1009"/>
                    <a:pt x="766" y="1001"/>
                    <a:pt x="766" y="991"/>
                  </a:cubicBezTo>
                  <a:cubicBezTo>
                    <a:pt x="766" y="985"/>
                    <a:pt x="767" y="980"/>
                    <a:pt x="768" y="975"/>
                  </a:cubicBezTo>
                  <a:cubicBezTo>
                    <a:pt x="770" y="969"/>
                    <a:pt x="772" y="965"/>
                    <a:pt x="775" y="9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C4C92A6F-A259-452C-89C1-03DC693E2A1D}"/>
                </a:ext>
              </a:extLst>
            </p:cNvPr>
            <p:cNvSpPr/>
            <p:nvPr/>
          </p:nvSpPr>
          <p:spPr bwMode="auto">
            <a:xfrm>
              <a:off x="3867151" y="3454400"/>
              <a:ext cx="73025" cy="131763"/>
            </a:xfrm>
            <a:custGeom>
              <a:avLst/>
              <a:gdLst>
                <a:gd name="T0" fmla="*/ 10 w 94"/>
                <a:gd name="T1" fmla="*/ 0 h 170"/>
                <a:gd name="T2" fmla="*/ 40 w 94"/>
                <a:gd name="T3" fmla="*/ 8 h 170"/>
                <a:gd name="T4" fmla="*/ 81 w 94"/>
                <a:gd name="T5" fmla="*/ 8 h 170"/>
                <a:gd name="T6" fmla="*/ 92 w 94"/>
                <a:gd name="T7" fmla="*/ 4 h 170"/>
                <a:gd name="T8" fmla="*/ 93 w 94"/>
                <a:gd name="T9" fmla="*/ 13 h 170"/>
                <a:gd name="T10" fmla="*/ 93 w 94"/>
                <a:gd name="T11" fmla="*/ 24 h 170"/>
                <a:gd name="T12" fmla="*/ 91 w 94"/>
                <a:gd name="T13" fmla="*/ 33 h 170"/>
                <a:gd name="T14" fmla="*/ 81 w 94"/>
                <a:gd name="T15" fmla="*/ 29 h 170"/>
                <a:gd name="T16" fmla="*/ 17 w 94"/>
                <a:gd name="T17" fmla="*/ 29 h 170"/>
                <a:gd name="T18" fmla="*/ 7 w 94"/>
                <a:gd name="T19" fmla="*/ 35 h 170"/>
                <a:gd name="T20" fmla="*/ 8 w 94"/>
                <a:gd name="T21" fmla="*/ 17 h 170"/>
                <a:gd name="T22" fmla="*/ 8 w 94"/>
                <a:gd name="T23" fmla="*/ 0 h 170"/>
                <a:gd name="T24" fmla="*/ 7 w 94"/>
                <a:gd name="T25" fmla="*/ 53 h 170"/>
                <a:gd name="T26" fmla="*/ 6 w 94"/>
                <a:gd name="T27" fmla="*/ 72 h 170"/>
                <a:gd name="T28" fmla="*/ 7 w 94"/>
                <a:gd name="T29" fmla="*/ 80 h 170"/>
                <a:gd name="T30" fmla="*/ 37 w 94"/>
                <a:gd name="T31" fmla="*/ 74 h 170"/>
                <a:gd name="T32" fmla="*/ 81 w 94"/>
                <a:gd name="T33" fmla="*/ 77 h 170"/>
                <a:gd name="T34" fmla="*/ 85 w 94"/>
                <a:gd name="T35" fmla="*/ 79 h 170"/>
                <a:gd name="T36" fmla="*/ 65 w 94"/>
                <a:gd name="T37" fmla="*/ 99 h 170"/>
                <a:gd name="T38" fmla="*/ 89 w 94"/>
                <a:gd name="T39" fmla="*/ 98 h 170"/>
                <a:gd name="T40" fmla="*/ 69 w 94"/>
                <a:gd name="T41" fmla="*/ 30 h 170"/>
                <a:gd name="T42" fmla="*/ 81 w 94"/>
                <a:gd name="T43" fmla="*/ 44 h 170"/>
                <a:gd name="T44" fmla="*/ 85 w 94"/>
                <a:gd name="T45" fmla="*/ 56 h 170"/>
                <a:gd name="T46" fmla="*/ 43 w 94"/>
                <a:gd name="T47" fmla="*/ 54 h 170"/>
                <a:gd name="T48" fmla="*/ 16 w 94"/>
                <a:gd name="T49" fmla="*/ 51 h 170"/>
                <a:gd name="T50" fmla="*/ 7 w 94"/>
                <a:gd name="T51" fmla="*/ 45 h 170"/>
                <a:gd name="T52" fmla="*/ 32 w 94"/>
                <a:gd name="T53" fmla="*/ 133 h 170"/>
                <a:gd name="T54" fmla="*/ 2 w 94"/>
                <a:gd name="T55" fmla="*/ 138 h 170"/>
                <a:gd name="T56" fmla="*/ 1 w 94"/>
                <a:gd name="T57" fmla="*/ 129 h 170"/>
                <a:gd name="T58" fmla="*/ 3 w 94"/>
                <a:gd name="T59" fmla="*/ 111 h 170"/>
                <a:gd name="T60" fmla="*/ 5 w 94"/>
                <a:gd name="T61" fmla="*/ 103 h 170"/>
                <a:gd name="T62" fmla="*/ 34 w 94"/>
                <a:gd name="T63" fmla="*/ 113 h 170"/>
                <a:gd name="T64" fmla="*/ 73 w 94"/>
                <a:gd name="T65" fmla="*/ 99 h 170"/>
                <a:gd name="T66" fmla="*/ 89 w 94"/>
                <a:gd name="T67" fmla="*/ 88 h 170"/>
                <a:gd name="T68" fmla="*/ 89 w 94"/>
                <a:gd name="T69" fmla="*/ 99 h 170"/>
                <a:gd name="T70" fmla="*/ 88 w 94"/>
                <a:gd name="T71" fmla="*/ 125 h 170"/>
                <a:gd name="T72" fmla="*/ 86 w 94"/>
                <a:gd name="T73" fmla="*/ 125 h 170"/>
                <a:gd name="T74" fmla="*/ 80 w 94"/>
                <a:gd name="T75" fmla="*/ 119 h 170"/>
                <a:gd name="T76" fmla="*/ 71 w 94"/>
                <a:gd name="T77" fmla="*/ 122 h 170"/>
                <a:gd name="T78" fmla="*/ 68 w 94"/>
                <a:gd name="T79" fmla="*/ 145 h 170"/>
                <a:gd name="T80" fmla="*/ 76 w 94"/>
                <a:gd name="T81" fmla="*/ 147 h 170"/>
                <a:gd name="T82" fmla="*/ 84 w 94"/>
                <a:gd name="T83" fmla="*/ 143 h 170"/>
                <a:gd name="T84" fmla="*/ 86 w 94"/>
                <a:gd name="T85" fmla="*/ 143 h 170"/>
                <a:gd name="T86" fmla="*/ 84 w 94"/>
                <a:gd name="T87" fmla="*/ 162 h 170"/>
                <a:gd name="T88" fmla="*/ 82 w 94"/>
                <a:gd name="T89" fmla="*/ 170 h 170"/>
                <a:gd name="T90" fmla="*/ 60 w 94"/>
                <a:gd name="T91" fmla="*/ 14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70">
                  <a:moveTo>
                    <a:pt x="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4" y="5"/>
                    <a:pt x="18" y="6"/>
                  </a:cubicBezTo>
                  <a:cubicBezTo>
                    <a:pt x="21" y="7"/>
                    <a:pt x="29" y="7"/>
                    <a:pt x="40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5" y="8"/>
                    <a:pt x="87" y="8"/>
                    <a:pt x="89" y="8"/>
                  </a:cubicBezTo>
                  <a:cubicBezTo>
                    <a:pt x="90" y="7"/>
                    <a:pt x="91" y="6"/>
                    <a:pt x="9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8"/>
                    <a:pt x="93" y="11"/>
                    <a:pt x="93" y="13"/>
                  </a:cubicBezTo>
                  <a:cubicBezTo>
                    <a:pt x="93" y="15"/>
                    <a:pt x="93" y="17"/>
                    <a:pt x="93" y="19"/>
                  </a:cubicBezTo>
                  <a:cubicBezTo>
                    <a:pt x="93" y="21"/>
                    <a:pt x="93" y="22"/>
                    <a:pt x="93" y="24"/>
                  </a:cubicBezTo>
                  <a:cubicBezTo>
                    <a:pt x="93" y="26"/>
                    <a:pt x="93" y="29"/>
                    <a:pt x="93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1"/>
                    <a:pt x="88" y="30"/>
                  </a:cubicBezTo>
                  <a:cubicBezTo>
                    <a:pt x="87" y="29"/>
                    <a:pt x="85" y="29"/>
                    <a:pt x="81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28" y="28"/>
                    <a:pt x="21" y="28"/>
                    <a:pt x="17" y="29"/>
                  </a:cubicBezTo>
                  <a:cubicBezTo>
                    <a:pt x="14" y="30"/>
                    <a:pt x="11" y="32"/>
                    <a:pt x="9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2"/>
                    <a:pt x="8" y="29"/>
                    <a:pt x="8" y="27"/>
                  </a:cubicBezTo>
                  <a:cubicBezTo>
                    <a:pt x="8" y="24"/>
                    <a:pt x="8" y="21"/>
                    <a:pt x="8" y="17"/>
                  </a:cubicBezTo>
                  <a:cubicBezTo>
                    <a:pt x="8" y="14"/>
                    <a:pt x="8" y="11"/>
                    <a:pt x="8" y="8"/>
                  </a:cubicBezTo>
                  <a:cubicBezTo>
                    <a:pt x="8" y="5"/>
                    <a:pt x="8" y="3"/>
                    <a:pt x="8" y="0"/>
                  </a:cubicBezTo>
                  <a:close/>
                  <a:moveTo>
                    <a:pt x="7" y="45"/>
                  </a:moveTo>
                  <a:cubicBezTo>
                    <a:pt x="7" y="48"/>
                    <a:pt x="7" y="50"/>
                    <a:pt x="7" y="53"/>
                  </a:cubicBezTo>
                  <a:cubicBezTo>
                    <a:pt x="6" y="56"/>
                    <a:pt x="6" y="59"/>
                    <a:pt x="6" y="62"/>
                  </a:cubicBezTo>
                  <a:cubicBezTo>
                    <a:pt x="6" y="66"/>
                    <a:pt x="6" y="69"/>
                    <a:pt x="6" y="72"/>
                  </a:cubicBezTo>
                  <a:cubicBezTo>
                    <a:pt x="5" y="75"/>
                    <a:pt x="5" y="77"/>
                    <a:pt x="5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77"/>
                    <a:pt x="11" y="76"/>
                    <a:pt x="15" y="75"/>
                  </a:cubicBezTo>
                  <a:cubicBezTo>
                    <a:pt x="19" y="74"/>
                    <a:pt x="26" y="74"/>
                    <a:pt x="37" y="74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1" y="77"/>
                    <a:pt x="81" y="77"/>
                    <a:pt x="81" y="77"/>
                  </a:cubicBezTo>
                  <a:cubicBezTo>
                    <a:pt x="82" y="77"/>
                    <a:pt x="84" y="77"/>
                    <a:pt x="84" y="77"/>
                  </a:cubicBezTo>
                  <a:cubicBezTo>
                    <a:pt x="85" y="78"/>
                    <a:pt x="85" y="78"/>
                    <a:pt x="85" y="79"/>
                  </a:cubicBezTo>
                  <a:cubicBezTo>
                    <a:pt x="85" y="82"/>
                    <a:pt x="83" y="85"/>
                    <a:pt x="79" y="88"/>
                  </a:cubicBezTo>
                  <a:cubicBezTo>
                    <a:pt x="76" y="92"/>
                    <a:pt x="71" y="96"/>
                    <a:pt x="65" y="99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74" y="36"/>
                    <a:pt x="78" y="40"/>
                    <a:pt x="81" y="44"/>
                  </a:cubicBezTo>
                  <a:cubicBezTo>
                    <a:pt x="85" y="48"/>
                    <a:pt x="86" y="52"/>
                    <a:pt x="86" y="54"/>
                  </a:cubicBezTo>
                  <a:cubicBezTo>
                    <a:pt x="86" y="55"/>
                    <a:pt x="86" y="56"/>
                    <a:pt x="85" y="56"/>
                  </a:cubicBezTo>
                  <a:cubicBezTo>
                    <a:pt x="85" y="56"/>
                    <a:pt x="84" y="56"/>
                    <a:pt x="82" y="56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7" y="53"/>
                    <a:pt x="20" y="52"/>
                    <a:pt x="16" y="51"/>
                  </a:cubicBezTo>
                  <a:cubicBezTo>
                    <a:pt x="13" y="50"/>
                    <a:pt x="10" y="48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lose/>
                  <a:moveTo>
                    <a:pt x="38" y="134"/>
                  </a:moveTo>
                  <a:cubicBezTo>
                    <a:pt x="32" y="133"/>
                    <a:pt x="32" y="133"/>
                    <a:pt x="32" y="133"/>
                  </a:cubicBezTo>
                  <a:cubicBezTo>
                    <a:pt x="22" y="132"/>
                    <a:pt x="15" y="132"/>
                    <a:pt x="11" y="133"/>
                  </a:cubicBezTo>
                  <a:cubicBezTo>
                    <a:pt x="7" y="134"/>
                    <a:pt x="4" y="135"/>
                    <a:pt x="2" y="13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" y="135"/>
                    <a:pt x="1" y="132"/>
                    <a:pt x="1" y="129"/>
                  </a:cubicBezTo>
                  <a:cubicBezTo>
                    <a:pt x="2" y="126"/>
                    <a:pt x="2" y="123"/>
                    <a:pt x="2" y="120"/>
                  </a:cubicBezTo>
                  <a:cubicBezTo>
                    <a:pt x="3" y="117"/>
                    <a:pt x="3" y="114"/>
                    <a:pt x="3" y="111"/>
                  </a:cubicBezTo>
                  <a:cubicBezTo>
                    <a:pt x="3" y="108"/>
                    <a:pt x="3" y="105"/>
                    <a:pt x="3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7" y="106"/>
                    <a:pt x="9" y="108"/>
                    <a:pt x="13" y="109"/>
                  </a:cubicBezTo>
                  <a:cubicBezTo>
                    <a:pt x="17" y="111"/>
                    <a:pt x="24" y="112"/>
                    <a:pt x="34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8" y="97"/>
                    <a:pt x="82" y="95"/>
                    <a:pt x="84" y="94"/>
                  </a:cubicBezTo>
                  <a:cubicBezTo>
                    <a:pt x="86" y="92"/>
                    <a:pt x="88" y="90"/>
                    <a:pt x="89" y="88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90" y="93"/>
                    <a:pt x="90" y="97"/>
                    <a:pt x="89" y="99"/>
                  </a:cubicBezTo>
                  <a:cubicBezTo>
                    <a:pt x="89" y="102"/>
                    <a:pt x="89" y="104"/>
                    <a:pt x="89" y="107"/>
                  </a:cubicBezTo>
                  <a:cubicBezTo>
                    <a:pt x="88" y="111"/>
                    <a:pt x="88" y="117"/>
                    <a:pt x="88" y="125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85" y="123"/>
                    <a:pt x="84" y="122"/>
                    <a:pt x="83" y="121"/>
                  </a:cubicBezTo>
                  <a:cubicBezTo>
                    <a:pt x="82" y="120"/>
                    <a:pt x="81" y="119"/>
                    <a:pt x="80" y="119"/>
                  </a:cubicBezTo>
                  <a:cubicBezTo>
                    <a:pt x="79" y="119"/>
                    <a:pt x="78" y="119"/>
                    <a:pt x="76" y="120"/>
                  </a:cubicBezTo>
                  <a:cubicBezTo>
                    <a:pt x="75" y="120"/>
                    <a:pt x="73" y="121"/>
                    <a:pt x="71" y="122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9" y="145"/>
                    <a:pt x="71" y="146"/>
                    <a:pt x="72" y="146"/>
                  </a:cubicBezTo>
                  <a:cubicBezTo>
                    <a:pt x="74" y="147"/>
                    <a:pt x="75" y="147"/>
                    <a:pt x="76" y="147"/>
                  </a:cubicBezTo>
                  <a:cubicBezTo>
                    <a:pt x="78" y="147"/>
                    <a:pt x="80" y="147"/>
                    <a:pt x="81" y="146"/>
                  </a:cubicBezTo>
                  <a:cubicBezTo>
                    <a:pt x="82" y="146"/>
                    <a:pt x="83" y="144"/>
                    <a:pt x="84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5" y="149"/>
                    <a:pt x="85" y="154"/>
                    <a:pt x="84" y="157"/>
                  </a:cubicBezTo>
                  <a:cubicBezTo>
                    <a:pt x="84" y="158"/>
                    <a:pt x="84" y="160"/>
                    <a:pt x="84" y="162"/>
                  </a:cubicBezTo>
                  <a:cubicBezTo>
                    <a:pt x="84" y="164"/>
                    <a:pt x="84" y="167"/>
                    <a:pt x="84" y="170"/>
                  </a:cubicBezTo>
                  <a:cubicBezTo>
                    <a:pt x="82" y="170"/>
                    <a:pt x="82" y="170"/>
                    <a:pt x="82" y="170"/>
                  </a:cubicBezTo>
                  <a:cubicBezTo>
                    <a:pt x="81" y="167"/>
                    <a:pt x="79" y="164"/>
                    <a:pt x="76" y="161"/>
                  </a:cubicBezTo>
                  <a:cubicBezTo>
                    <a:pt x="72" y="157"/>
                    <a:pt x="67" y="153"/>
                    <a:pt x="60" y="148"/>
                  </a:cubicBezTo>
                  <a:lnTo>
                    <a:pt x="3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C3347F57-835C-4ED6-BBA1-89D3BC825C4A}"/>
                </a:ext>
              </a:extLst>
            </p:cNvPr>
            <p:cNvSpPr/>
            <p:nvPr/>
          </p:nvSpPr>
          <p:spPr bwMode="auto">
            <a:xfrm>
              <a:off x="2768601" y="2754313"/>
              <a:ext cx="52388" cy="88900"/>
            </a:xfrm>
            <a:custGeom>
              <a:avLst/>
              <a:gdLst>
                <a:gd name="T0" fmla="*/ 29 w 66"/>
                <a:gd name="T1" fmla="*/ 112 h 115"/>
                <a:gd name="T2" fmla="*/ 41 w 66"/>
                <a:gd name="T3" fmla="*/ 112 h 115"/>
                <a:gd name="T4" fmla="*/ 57 w 66"/>
                <a:gd name="T5" fmla="*/ 89 h 115"/>
                <a:gd name="T6" fmla="*/ 53 w 66"/>
                <a:gd name="T7" fmla="*/ 75 h 115"/>
                <a:gd name="T8" fmla="*/ 52 w 66"/>
                <a:gd name="T9" fmla="*/ 58 h 115"/>
                <a:gd name="T10" fmla="*/ 60 w 66"/>
                <a:gd name="T11" fmla="*/ 29 h 115"/>
                <a:gd name="T12" fmla="*/ 57 w 66"/>
                <a:gd name="T13" fmla="*/ 4 h 115"/>
                <a:gd name="T14" fmla="*/ 44 w 66"/>
                <a:gd name="T15" fmla="*/ 2 h 115"/>
                <a:gd name="T16" fmla="*/ 30 w 66"/>
                <a:gd name="T17" fmla="*/ 18 h 115"/>
                <a:gd name="T18" fmla="*/ 12 w 66"/>
                <a:gd name="T19" fmla="*/ 12 h 115"/>
                <a:gd name="T20" fmla="*/ 18 w 66"/>
                <a:gd name="T21" fmla="*/ 35 h 115"/>
                <a:gd name="T22" fmla="*/ 0 w 66"/>
                <a:gd name="T23" fmla="*/ 56 h 115"/>
                <a:gd name="T24" fmla="*/ 23 w 66"/>
                <a:gd name="T25" fmla="*/ 62 h 115"/>
                <a:gd name="T26" fmla="*/ 20 w 66"/>
                <a:gd name="T27" fmla="*/ 98 h 115"/>
                <a:gd name="T28" fmla="*/ 29 w 66"/>
                <a:gd name="T29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115">
                  <a:moveTo>
                    <a:pt x="29" y="112"/>
                  </a:moveTo>
                  <a:cubicBezTo>
                    <a:pt x="28" y="111"/>
                    <a:pt x="36" y="115"/>
                    <a:pt x="41" y="112"/>
                  </a:cubicBezTo>
                  <a:cubicBezTo>
                    <a:pt x="45" y="110"/>
                    <a:pt x="54" y="92"/>
                    <a:pt x="57" y="89"/>
                  </a:cubicBezTo>
                  <a:cubicBezTo>
                    <a:pt x="56" y="84"/>
                    <a:pt x="54" y="79"/>
                    <a:pt x="53" y="75"/>
                  </a:cubicBezTo>
                  <a:cubicBezTo>
                    <a:pt x="51" y="70"/>
                    <a:pt x="51" y="66"/>
                    <a:pt x="52" y="58"/>
                  </a:cubicBezTo>
                  <a:cubicBezTo>
                    <a:pt x="52" y="46"/>
                    <a:pt x="46" y="37"/>
                    <a:pt x="60" y="29"/>
                  </a:cubicBezTo>
                  <a:cubicBezTo>
                    <a:pt x="66" y="16"/>
                    <a:pt x="65" y="18"/>
                    <a:pt x="57" y="4"/>
                  </a:cubicBezTo>
                  <a:cubicBezTo>
                    <a:pt x="55" y="0"/>
                    <a:pt x="49" y="2"/>
                    <a:pt x="44" y="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5" y="11"/>
                    <a:pt x="19" y="8"/>
                    <a:pt x="12" y="12"/>
                  </a:cubicBezTo>
                  <a:cubicBezTo>
                    <a:pt x="6" y="15"/>
                    <a:pt x="19" y="27"/>
                    <a:pt x="18" y="35"/>
                  </a:cubicBezTo>
                  <a:cubicBezTo>
                    <a:pt x="18" y="39"/>
                    <a:pt x="12" y="48"/>
                    <a:pt x="0" y="56"/>
                  </a:cubicBezTo>
                  <a:cubicBezTo>
                    <a:pt x="8" y="68"/>
                    <a:pt x="21" y="58"/>
                    <a:pt x="23" y="62"/>
                  </a:cubicBezTo>
                  <a:cubicBezTo>
                    <a:pt x="28" y="71"/>
                    <a:pt x="21" y="90"/>
                    <a:pt x="20" y="98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EFE8A33A-1E90-45F7-A4B7-78ABE1A3315B}"/>
                </a:ext>
              </a:extLst>
            </p:cNvPr>
            <p:cNvSpPr/>
            <p:nvPr/>
          </p:nvSpPr>
          <p:spPr bwMode="auto">
            <a:xfrm>
              <a:off x="2814638" y="2792413"/>
              <a:ext cx="39688" cy="36513"/>
            </a:xfrm>
            <a:custGeom>
              <a:avLst/>
              <a:gdLst>
                <a:gd name="T0" fmla="*/ 30 w 51"/>
                <a:gd name="T1" fmla="*/ 43 h 46"/>
                <a:gd name="T2" fmla="*/ 35 w 51"/>
                <a:gd name="T3" fmla="*/ 46 h 46"/>
                <a:gd name="T4" fmla="*/ 51 w 51"/>
                <a:gd name="T5" fmla="*/ 26 h 46"/>
                <a:gd name="T6" fmla="*/ 46 w 51"/>
                <a:gd name="T7" fmla="*/ 10 h 46"/>
                <a:gd name="T8" fmla="*/ 0 w 51"/>
                <a:gd name="T9" fmla="*/ 11 h 46"/>
                <a:gd name="T10" fmla="*/ 30 w 51"/>
                <a:gd name="T1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46">
                  <a:moveTo>
                    <a:pt x="30" y="43"/>
                  </a:moveTo>
                  <a:cubicBezTo>
                    <a:pt x="35" y="46"/>
                    <a:pt x="35" y="46"/>
                    <a:pt x="35" y="46"/>
                  </a:cubicBezTo>
                  <a:cubicBezTo>
                    <a:pt x="41" y="40"/>
                    <a:pt x="47" y="33"/>
                    <a:pt x="51" y="26"/>
                  </a:cubicBezTo>
                  <a:cubicBezTo>
                    <a:pt x="50" y="20"/>
                    <a:pt x="49" y="16"/>
                    <a:pt x="46" y="10"/>
                  </a:cubicBezTo>
                  <a:cubicBezTo>
                    <a:pt x="40" y="0"/>
                    <a:pt x="6" y="2"/>
                    <a:pt x="0" y="11"/>
                  </a:cubicBezTo>
                  <a:cubicBezTo>
                    <a:pt x="13" y="20"/>
                    <a:pt x="18" y="20"/>
                    <a:pt x="3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56FA0841-2FAD-4DC7-AC9D-7D5BBA9DE30F}"/>
                </a:ext>
              </a:extLst>
            </p:cNvPr>
            <p:cNvSpPr/>
            <p:nvPr/>
          </p:nvSpPr>
          <p:spPr bwMode="auto">
            <a:xfrm>
              <a:off x="2324101" y="3351213"/>
              <a:ext cx="166688" cy="187325"/>
            </a:xfrm>
            <a:custGeom>
              <a:avLst/>
              <a:gdLst>
                <a:gd name="T0" fmla="*/ 157 w 214"/>
                <a:gd name="T1" fmla="*/ 83 h 241"/>
                <a:gd name="T2" fmla="*/ 154 w 214"/>
                <a:gd name="T3" fmla="*/ 90 h 241"/>
                <a:gd name="T4" fmla="*/ 146 w 214"/>
                <a:gd name="T5" fmla="*/ 81 h 241"/>
                <a:gd name="T6" fmla="*/ 137 w 214"/>
                <a:gd name="T7" fmla="*/ 57 h 241"/>
                <a:gd name="T8" fmla="*/ 137 w 214"/>
                <a:gd name="T9" fmla="*/ 48 h 241"/>
                <a:gd name="T10" fmla="*/ 161 w 214"/>
                <a:gd name="T11" fmla="*/ 69 h 241"/>
                <a:gd name="T12" fmla="*/ 157 w 214"/>
                <a:gd name="T13" fmla="*/ 82 h 241"/>
                <a:gd name="T14" fmla="*/ 157 w 214"/>
                <a:gd name="T15" fmla="*/ 83 h 241"/>
                <a:gd name="T16" fmla="*/ 149 w 214"/>
                <a:gd name="T17" fmla="*/ 189 h 241"/>
                <a:gd name="T18" fmla="*/ 171 w 214"/>
                <a:gd name="T19" fmla="*/ 212 h 241"/>
                <a:gd name="T20" fmla="*/ 178 w 214"/>
                <a:gd name="T21" fmla="*/ 217 h 241"/>
                <a:gd name="T22" fmla="*/ 189 w 214"/>
                <a:gd name="T23" fmla="*/ 228 h 241"/>
                <a:gd name="T24" fmla="*/ 206 w 214"/>
                <a:gd name="T25" fmla="*/ 223 h 241"/>
                <a:gd name="T26" fmla="*/ 191 w 214"/>
                <a:gd name="T27" fmla="*/ 209 h 241"/>
                <a:gd name="T28" fmla="*/ 162 w 214"/>
                <a:gd name="T29" fmla="*/ 180 h 241"/>
                <a:gd name="T30" fmla="*/ 118 w 214"/>
                <a:gd name="T31" fmla="*/ 109 h 241"/>
                <a:gd name="T32" fmla="*/ 110 w 214"/>
                <a:gd name="T33" fmla="*/ 95 h 241"/>
                <a:gd name="T34" fmla="*/ 111 w 214"/>
                <a:gd name="T35" fmla="*/ 94 h 241"/>
                <a:gd name="T36" fmla="*/ 146 w 214"/>
                <a:gd name="T37" fmla="*/ 124 h 241"/>
                <a:gd name="T38" fmla="*/ 165 w 214"/>
                <a:gd name="T39" fmla="*/ 105 h 241"/>
                <a:gd name="T40" fmla="*/ 169 w 214"/>
                <a:gd name="T41" fmla="*/ 105 h 241"/>
                <a:gd name="T42" fmla="*/ 184 w 214"/>
                <a:gd name="T43" fmla="*/ 125 h 241"/>
                <a:gd name="T44" fmla="*/ 205 w 214"/>
                <a:gd name="T45" fmla="*/ 140 h 241"/>
                <a:gd name="T46" fmla="*/ 212 w 214"/>
                <a:gd name="T47" fmla="*/ 139 h 241"/>
                <a:gd name="T48" fmla="*/ 214 w 214"/>
                <a:gd name="T49" fmla="*/ 129 h 241"/>
                <a:gd name="T50" fmla="*/ 214 w 214"/>
                <a:gd name="T51" fmla="*/ 122 h 241"/>
                <a:gd name="T52" fmla="*/ 182 w 214"/>
                <a:gd name="T53" fmla="*/ 87 h 241"/>
                <a:gd name="T54" fmla="*/ 174 w 214"/>
                <a:gd name="T55" fmla="*/ 63 h 241"/>
                <a:gd name="T56" fmla="*/ 163 w 214"/>
                <a:gd name="T57" fmla="*/ 41 h 241"/>
                <a:gd name="T58" fmla="*/ 133 w 214"/>
                <a:gd name="T59" fmla="*/ 19 h 241"/>
                <a:gd name="T60" fmla="*/ 125 w 214"/>
                <a:gd name="T61" fmla="*/ 65 h 241"/>
                <a:gd name="T62" fmla="*/ 99 w 214"/>
                <a:gd name="T63" fmla="*/ 41 h 241"/>
                <a:gd name="T64" fmla="*/ 90 w 214"/>
                <a:gd name="T65" fmla="*/ 5 h 241"/>
                <a:gd name="T66" fmla="*/ 87 w 214"/>
                <a:gd name="T67" fmla="*/ 0 h 241"/>
                <a:gd name="T68" fmla="*/ 80 w 214"/>
                <a:gd name="T69" fmla="*/ 8 h 241"/>
                <a:gd name="T70" fmla="*/ 80 w 214"/>
                <a:gd name="T71" fmla="*/ 12 h 241"/>
                <a:gd name="T72" fmla="*/ 83 w 214"/>
                <a:gd name="T73" fmla="*/ 25 h 241"/>
                <a:gd name="T74" fmla="*/ 75 w 214"/>
                <a:gd name="T75" fmla="*/ 24 h 241"/>
                <a:gd name="T76" fmla="*/ 61 w 214"/>
                <a:gd name="T77" fmla="*/ 42 h 241"/>
                <a:gd name="T78" fmla="*/ 70 w 214"/>
                <a:gd name="T79" fmla="*/ 78 h 241"/>
                <a:gd name="T80" fmla="*/ 85 w 214"/>
                <a:gd name="T81" fmla="*/ 107 h 241"/>
                <a:gd name="T82" fmla="*/ 79 w 214"/>
                <a:gd name="T83" fmla="*/ 65 h 241"/>
                <a:gd name="T84" fmla="*/ 102 w 214"/>
                <a:gd name="T85" fmla="*/ 91 h 241"/>
                <a:gd name="T86" fmla="*/ 106 w 214"/>
                <a:gd name="T87" fmla="*/ 111 h 241"/>
                <a:gd name="T88" fmla="*/ 112 w 214"/>
                <a:gd name="T89" fmla="*/ 129 h 241"/>
                <a:gd name="T90" fmla="*/ 112 w 214"/>
                <a:gd name="T91" fmla="*/ 134 h 241"/>
                <a:gd name="T92" fmla="*/ 70 w 214"/>
                <a:gd name="T93" fmla="*/ 96 h 241"/>
                <a:gd name="T94" fmla="*/ 53 w 214"/>
                <a:gd name="T95" fmla="*/ 74 h 241"/>
                <a:gd name="T96" fmla="*/ 39 w 214"/>
                <a:gd name="T97" fmla="*/ 50 h 241"/>
                <a:gd name="T98" fmla="*/ 33 w 214"/>
                <a:gd name="T99" fmla="*/ 58 h 241"/>
                <a:gd name="T100" fmla="*/ 10 w 214"/>
                <a:gd name="T101" fmla="*/ 60 h 241"/>
                <a:gd name="T102" fmla="*/ 4 w 214"/>
                <a:gd name="T103" fmla="*/ 79 h 241"/>
                <a:gd name="T104" fmla="*/ 0 w 214"/>
                <a:gd name="T105" fmla="*/ 91 h 241"/>
                <a:gd name="T106" fmla="*/ 7 w 214"/>
                <a:gd name="T107" fmla="*/ 100 h 241"/>
                <a:gd name="T108" fmla="*/ 40 w 214"/>
                <a:gd name="T109" fmla="*/ 86 h 241"/>
                <a:gd name="T110" fmla="*/ 47 w 214"/>
                <a:gd name="T111" fmla="*/ 118 h 241"/>
                <a:gd name="T112" fmla="*/ 56 w 214"/>
                <a:gd name="T113" fmla="*/ 139 h 241"/>
                <a:gd name="T114" fmla="*/ 63 w 214"/>
                <a:gd name="T115" fmla="*/ 121 h 241"/>
                <a:gd name="T116" fmla="*/ 61 w 214"/>
                <a:gd name="T117" fmla="*/ 108 h 241"/>
                <a:gd name="T118" fmla="*/ 61 w 214"/>
                <a:gd name="T119" fmla="*/ 103 h 241"/>
                <a:gd name="T120" fmla="*/ 83 w 214"/>
                <a:gd name="T121" fmla="*/ 125 h 241"/>
                <a:gd name="T122" fmla="*/ 107 w 214"/>
                <a:gd name="T123" fmla="*/ 144 h 241"/>
                <a:gd name="T124" fmla="*/ 149 w 214"/>
                <a:gd name="T125" fmla="*/ 189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241">
                  <a:moveTo>
                    <a:pt x="157" y="83"/>
                  </a:moveTo>
                  <a:cubicBezTo>
                    <a:pt x="158" y="86"/>
                    <a:pt x="165" y="94"/>
                    <a:pt x="154" y="90"/>
                  </a:cubicBezTo>
                  <a:cubicBezTo>
                    <a:pt x="150" y="88"/>
                    <a:pt x="149" y="84"/>
                    <a:pt x="146" y="81"/>
                  </a:cubicBezTo>
                  <a:cubicBezTo>
                    <a:pt x="143" y="77"/>
                    <a:pt x="137" y="62"/>
                    <a:pt x="137" y="57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49" y="50"/>
                    <a:pt x="155" y="64"/>
                    <a:pt x="161" y="69"/>
                  </a:cubicBezTo>
                  <a:cubicBezTo>
                    <a:pt x="161" y="79"/>
                    <a:pt x="157" y="75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lose/>
                  <a:moveTo>
                    <a:pt x="149" y="189"/>
                  </a:moveTo>
                  <a:cubicBezTo>
                    <a:pt x="171" y="212"/>
                    <a:pt x="171" y="212"/>
                    <a:pt x="171" y="212"/>
                  </a:cubicBezTo>
                  <a:cubicBezTo>
                    <a:pt x="171" y="212"/>
                    <a:pt x="174" y="211"/>
                    <a:pt x="178" y="217"/>
                  </a:cubicBezTo>
                  <a:cubicBezTo>
                    <a:pt x="182" y="222"/>
                    <a:pt x="183" y="227"/>
                    <a:pt x="189" y="228"/>
                  </a:cubicBezTo>
                  <a:cubicBezTo>
                    <a:pt x="199" y="230"/>
                    <a:pt x="211" y="241"/>
                    <a:pt x="206" y="223"/>
                  </a:cubicBezTo>
                  <a:cubicBezTo>
                    <a:pt x="202" y="211"/>
                    <a:pt x="197" y="215"/>
                    <a:pt x="191" y="209"/>
                  </a:cubicBezTo>
                  <a:cubicBezTo>
                    <a:pt x="177" y="198"/>
                    <a:pt x="173" y="193"/>
                    <a:pt x="162" y="180"/>
                  </a:cubicBezTo>
                  <a:cubicBezTo>
                    <a:pt x="143" y="160"/>
                    <a:pt x="118" y="145"/>
                    <a:pt x="118" y="109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25" y="98"/>
                    <a:pt x="133" y="123"/>
                    <a:pt x="146" y="124"/>
                  </a:cubicBezTo>
                  <a:cubicBezTo>
                    <a:pt x="158" y="124"/>
                    <a:pt x="162" y="114"/>
                    <a:pt x="165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1" y="112"/>
                    <a:pt x="180" y="118"/>
                    <a:pt x="184" y="125"/>
                  </a:cubicBezTo>
                  <a:cubicBezTo>
                    <a:pt x="188" y="132"/>
                    <a:pt x="193" y="140"/>
                    <a:pt x="205" y="140"/>
                  </a:cubicBezTo>
                  <a:cubicBezTo>
                    <a:pt x="208" y="140"/>
                    <a:pt x="209" y="140"/>
                    <a:pt x="212" y="139"/>
                  </a:cubicBezTo>
                  <a:cubicBezTo>
                    <a:pt x="212" y="135"/>
                    <a:pt x="213" y="134"/>
                    <a:pt x="214" y="129"/>
                  </a:cubicBezTo>
                  <a:cubicBezTo>
                    <a:pt x="214" y="122"/>
                    <a:pt x="214" y="122"/>
                    <a:pt x="214" y="122"/>
                  </a:cubicBezTo>
                  <a:cubicBezTo>
                    <a:pt x="214" y="110"/>
                    <a:pt x="190" y="100"/>
                    <a:pt x="182" y="87"/>
                  </a:cubicBezTo>
                  <a:cubicBezTo>
                    <a:pt x="176" y="78"/>
                    <a:pt x="176" y="75"/>
                    <a:pt x="174" y="63"/>
                  </a:cubicBezTo>
                  <a:cubicBezTo>
                    <a:pt x="171" y="52"/>
                    <a:pt x="168" y="48"/>
                    <a:pt x="163" y="41"/>
                  </a:cubicBezTo>
                  <a:cubicBezTo>
                    <a:pt x="150" y="27"/>
                    <a:pt x="151" y="16"/>
                    <a:pt x="133" y="19"/>
                  </a:cubicBezTo>
                  <a:cubicBezTo>
                    <a:pt x="122" y="21"/>
                    <a:pt x="124" y="47"/>
                    <a:pt x="125" y="65"/>
                  </a:cubicBezTo>
                  <a:cubicBezTo>
                    <a:pt x="117" y="64"/>
                    <a:pt x="104" y="47"/>
                    <a:pt x="99" y="41"/>
                  </a:cubicBezTo>
                  <a:cubicBezTo>
                    <a:pt x="92" y="33"/>
                    <a:pt x="91" y="21"/>
                    <a:pt x="90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4" y="2"/>
                    <a:pt x="81" y="4"/>
                    <a:pt x="80" y="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8"/>
                    <a:pt x="82" y="20"/>
                    <a:pt x="83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8" y="23"/>
                    <a:pt x="61" y="33"/>
                    <a:pt x="61" y="42"/>
                  </a:cubicBezTo>
                  <a:cubicBezTo>
                    <a:pt x="61" y="42"/>
                    <a:pt x="69" y="74"/>
                    <a:pt x="70" y="78"/>
                  </a:cubicBezTo>
                  <a:cubicBezTo>
                    <a:pt x="73" y="88"/>
                    <a:pt x="84" y="98"/>
                    <a:pt x="85" y="107"/>
                  </a:cubicBezTo>
                  <a:cubicBezTo>
                    <a:pt x="98" y="107"/>
                    <a:pt x="78" y="77"/>
                    <a:pt x="79" y="65"/>
                  </a:cubicBezTo>
                  <a:cubicBezTo>
                    <a:pt x="90" y="67"/>
                    <a:pt x="100" y="80"/>
                    <a:pt x="102" y="91"/>
                  </a:cubicBezTo>
                  <a:cubicBezTo>
                    <a:pt x="104" y="98"/>
                    <a:pt x="104" y="104"/>
                    <a:pt x="106" y="111"/>
                  </a:cubicBezTo>
                  <a:cubicBezTo>
                    <a:pt x="107" y="115"/>
                    <a:pt x="111" y="129"/>
                    <a:pt x="112" y="129"/>
                  </a:cubicBezTo>
                  <a:cubicBezTo>
                    <a:pt x="112" y="134"/>
                    <a:pt x="112" y="134"/>
                    <a:pt x="112" y="134"/>
                  </a:cubicBezTo>
                  <a:cubicBezTo>
                    <a:pt x="104" y="132"/>
                    <a:pt x="77" y="104"/>
                    <a:pt x="70" y="96"/>
                  </a:cubicBezTo>
                  <a:cubicBezTo>
                    <a:pt x="62" y="88"/>
                    <a:pt x="59" y="85"/>
                    <a:pt x="53" y="74"/>
                  </a:cubicBezTo>
                  <a:cubicBezTo>
                    <a:pt x="50" y="69"/>
                    <a:pt x="44" y="50"/>
                    <a:pt x="39" y="50"/>
                  </a:cubicBezTo>
                  <a:cubicBezTo>
                    <a:pt x="34" y="50"/>
                    <a:pt x="33" y="53"/>
                    <a:pt x="33" y="58"/>
                  </a:cubicBezTo>
                  <a:cubicBezTo>
                    <a:pt x="27" y="57"/>
                    <a:pt x="17" y="58"/>
                    <a:pt x="10" y="60"/>
                  </a:cubicBezTo>
                  <a:cubicBezTo>
                    <a:pt x="0" y="65"/>
                    <a:pt x="4" y="69"/>
                    <a:pt x="4" y="79"/>
                  </a:cubicBezTo>
                  <a:cubicBezTo>
                    <a:pt x="4" y="82"/>
                    <a:pt x="1" y="84"/>
                    <a:pt x="0" y="91"/>
                  </a:cubicBezTo>
                  <a:cubicBezTo>
                    <a:pt x="0" y="95"/>
                    <a:pt x="3" y="100"/>
                    <a:pt x="7" y="100"/>
                  </a:cubicBezTo>
                  <a:cubicBezTo>
                    <a:pt x="16" y="100"/>
                    <a:pt x="29" y="85"/>
                    <a:pt x="40" y="86"/>
                  </a:cubicBezTo>
                  <a:cubicBezTo>
                    <a:pt x="41" y="91"/>
                    <a:pt x="44" y="105"/>
                    <a:pt x="47" y="118"/>
                  </a:cubicBezTo>
                  <a:cubicBezTo>
                    <a:pt x="54" y="125"/>
                    <a:pt x="53" y="144"/>
                    <a:pt x="56" y="139"/>
                  </a:cubicBezTo>
                  <a:cubicBezTo>
                    <a:pt x="60" y="134"/>
                    <a:pt x="62" y="131"/>
                    <a:pt x="63" y="121"/>
                  </a:cubicBezTo>
                  <a:cubicBezTo>
                    <a:pt x="63" y="117"/>
                    <a:pt x="61" y="114"/>
                    <a:pt x="61" y="108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8" y="105"/>
                    <a:pt x="78" y="120"/>
                    <a:pt x="83" y="125"/>
                  </a:cubicBezTo>
                  <a:cubicBezTo>
                    <a:pt x="90" y="132"/>
                    <a:pt x="99" y="138"/>
                    <a:pt x="107" y="144"/>
                  </a:cubicBezTo>
                  <a:cubicBezTo>
                    <a:pt x="114" y="150"/>
                    <a:pt x="145" y="183"/>
                    <a:pt x="149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7A911423-0478-4AA8-B962-792F3654A6CA}"/>
                </a:ext>
              </a:extLst>
            </p:cNvPr>
            <p:cNvSpPr/>
            <p:nvPr/>
          </p:nvSpPr>
          <p:spPr bwMode="auto">
            <a:xfrm>
              <a:off x="2466976" y="3365500"/>
              <a:ext cx="26988" cy="33338"/>
            </a:xfrm>
            <a:custGeom>
              <a:avLst/>
              <a:gdLst>
                <a:gd name="T0" fmla="*/ 1 w 35"/>
                <a:gd name="T1" fmla="*/ 41 h 41"/>
                <a:gd name="T2" fmla="*/ 19 w 35"/>
                <a:gd name="T3" fmla="*/ 29 h 41"/>
                <a:gd name="T4" fmla="*/ 35 w 35"/>
                <a:gd name="T5" fmla="*/ 15 h 41"/>
                <a:gd name="T6" fmla="*/ 35 w 35"/>
                <a:gd name="T7" fmla="*/ 7 h 41"/>
                <a:gd name="T8" fmla="*/ 31 w 35"/>
                <a:gd name="T9" fmla="*/ 1 h 41"/>
                <a:gd name="T10" fmla="*/ 0 w 35"/>
                <a:gd name="T11" fmla="*/ 29 h 41"/>
                <a:gd name="T12" fmla="*/ 0 w 35"/>
                <a:gd name="T13" fmla="*/ 37 h 41"/>
                <a:gd name="T14" fmla="*/ 1 w 3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1">
                  <a:moveTo>
                    <a:pt x="1" y="41"/>
                  </a:moveTo>
                  <a:cubicBezTo>
                    <a:pt x="5" y="40"/>
                    <a:pt x="14" y="32"/>
                    <a:pt x="19" y="29"/>
                  </a:cubicBezTo>
                  <a:cubicBezTo>
                    <a:pt x="26" y="26"/>
                    <a:pt x="34" y="25"/>
                    <a:pt x="35" y="15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4"/>
                    <a:pt x="33" y="1"/>
                    <a:pt x="31" y="1"/>
                  </a:cubicBezTo>
                  <a:cubicBezTo>
                    <a:pt x="18" y="0"/>
                    <a:pt x="0" y="16"/>
                    <a:pt x="0" y="2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1" y="40"/>
                    <a:pt x="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FAF7C9E5-9DDB-4538-9738-57ED7F2CC04E}"/>
                </a:ext>
              </a:extLst>
            </p:cNvPr>
            <p:cNvSpPr/>
            <p:nvPr/>
          </p:nvSpPr>
          <p:spPr bwMode="auto">
            <a:xfrm>
              <a:off x="2408238" y="3208338"/>
              <a:ext cx="22225" cy="26988"/>
            </a:xfrm>
            <a:custGeom>
              <a:avLst/>
              <a:gdLst>
                <a:gd name="T0" fmla="*/ 2 w 29"/>
                <a:gd name="T1" fmla="*/ 36 h 36"/>
                <a:gd name="T2" fmla="*/ 5 w 29"/>
                <a:gd name="T3" fmla="*/ 36 h 36"/>
                <a:gd name="T4" fmla="*/ 27 w 29"/>
                <a:gd name="T5" fmla="*/ 17 h 36"/>
                <a:gd name="T6" fmla="*/ 28 w 29"/>
                <a:gd name="T7" fmla="*/ 12 h 36"/>
                <a:gd name="T8" fmla="*/ 26 w 29"/>
                <a:gd name="T9" fmla="*/ 2 h 36"/>
                <a:gd name="T10" fmla="*/ 17 w 29"/>
                <a:gd name="T11" fmla="*/ 0 h 36"/>
                <a:gd name="T12" fmla="*/ 2 w 29"/>
                <a:gd name="T13" fmla="*/ 16 h 36"/>
                <a:gd name="T14" fmla="*/ 2 w 29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6">
                  <a:moveTo>
                    <a:pt x="2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9" y="30"/>
                    <a:pt x="26" y="23"/>
                    <a:pt x="27" y="1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7"/>
                    <a:pt x="27" y="7"/>
                    <a:pt x="26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2" y="12"/>
                    <a:pt x="2" y="16"/>
                  </a:cubicBezTo>
                  <a:cubicBezTo>
                    <a:pt x="0" y="26"/>
                    <a:pt x="1" y="29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4" name="任意多边形: 形状 193">
              <a:extLst>
                <a:ext uri="{FF2B5EF4-FFF2-40B4-BE49-F238E27FC236}">
                  <a16:creationId xmlns:a16="http://schemas.microsoft.com/office/drawing/2014/main" id="{4D04F862-A9A8-42A9-8F42-7940E7F96B62}"/>
                </a:ext>
              </a:extLst>
            </p:cNvPr>
            <p:cNvSpPr/>
            <p:nvPr/>
          </p:nvSpPr>
          <p:spPr bwMode="auto">
            <a:xfrm>
              <a:off x="2439988" y="3170238"/>
              <a:ext cx="63500" cy="109538"/>
            </a:xfrm>
            <a:custGeom>
              <a:avLst/>
              <a:gdLst>
                <a:gd name="T0" fmla="*/ 54 w 82"/>
                <a:gd name="T1" fmla="*/ 68 h 141"/>
                <a:gd name="T2" fmla="*/ 21 w 82"/>
                <a:gd name="T3" fmla="*/ 51 h 141"/>
                <a:gd name="T4" fmla="*/ 28 w 82"/>
                <a:gd name="T5" fmla="*/ 25 h 141"/>
                <a:gd name="T6" fmla="*/ 29 w 82"/>
                <a:gd name="T7" fmla="*/ 19 h 141"/>
                <a:gd name="T8" fmla="*/ 52 w 82"/>
                <a:gd name="T9" fmla="*/ 38 h 141"/>
                <a:gd name="T10" fmla="*/ 63 w 82"/>
                <a:gd name="T11" fmla="*/ 66 h 141"/>
                <a:gd name="T12" fmla="*/ 54 w 82"/>
                <a:gd name="T13" fmla="*/ 68 h 141"/>
                <a:gd name="T14" fmla="*/ 34 w 82"/>
                <a:gd name="T15" fmla="*/ 84 h 141"/>
                <a:gd name="T16" fmla="*/ 49 w 82"/>
                <a:gd name="T17" fmla="*/ 79 h 141"/>
                <a:gd name="T18" fmla="*/ 34 w 82"/>
                <a:gd name="T19" fmla="*/ 84 h 141"/>
                <a:gd name="T20" fmla="*/ 55 w 82"/>
                <a:gd name="T21" fmla="*/ 133 h 141"/>
                <a:gd name="T22" fmla="*/ 36 w 82"/>
                <a:gd name="T23" fmla="*/ 103 h 141"/>
                <a:gd name="T24" fmla="*/ 56 w 82"/>
                <a:gd name="T25" fmla="*/ 101 h 141"/>
                <a:gd name="T26" fmla="*/ 66 w 82"/>
                <a:gd name="T27" fmla="*/ 94 h 141"/>
                <a:gd name="T28" fmla="*/ 75 w 82"/>
                <a:gd name="T29" fmla="*/ 94 h 141"/>
                <a:gd name="T30" fmla="*/ 80 w 82"/>
                <a:gd name="T31" fmla="*/ 89 h 141"/>
                <a:gd name="T32" fmla="*/ 81 w 82"/>
                <a:gd name="T33" fmla="*/ 61 h 141"/>
                <a:gd name="T34" fmla="*/ 79 w 82"/>
                <a:gd name="T35" fmla="*/ 54 h 141"/>
                <a:gd name="T36" fmla="*/ 60 w 82"/>
                <a:gd name="T37" fmla="*/ 30 h 141"/>
                <a:gd name="T38" fmla="*/ 33 w 82"/>
                <a:gd name="T39" fmla="*/ 0 h 141"/>
                <a:gd name="T40" fmla="*/ 20 w 82"/>
                <a:gd name="T41" fmla="*/ 17 h 141"/>
                <a:gd name="T42" fmla="*/ 17 w 82"/>
                <a:gd name="T43" fmla="*/ 38 h 141"/>
                <a:gd name="T44" fmla="*/ 16 w 82"/>
                <a:gd name="T45" fmla="*/ 49 h 141"/>
                <a:gd name="T46" fmla="*/ 1 w 82"/>
                <a:gd name="T47" fmla="*/ 51 h 141"/>
                <a:gd name="T48" fmla="*/ 19 w 82"/>
                <a:gd name="T49" fmla="*/ 70 h 141"/>
                <a:gd name="T50" fmla="*/ 3 w 82"/>
                <a:gd name="T51" fmla="*/ 83 h 141"/>
                <a:gd name="T52" fmla="*/ 2 w 82"/>
                <a:gd name="T53" fmla="*/ 85 h 141"/>
                <a:gd name="T54" fmla="*/ 26 w 82"/>
                <a:gd name="T55" fmla="*/ 94 h 141"/>
                <a:gd name="T56" fmla="*/ 34 w 82"/>
                <a:gd name="T57" fmla="*/ 122 h 141"/>
                <a:gd name="T58" fmla="*/ 0 w 82"/>
                <a:gd name="T59" fmla="*/ 131 h 141"/>
                <a:gd name="T60" fmla="*/ 26 w 82"/>
                <a:gd name="T61" fmla="*/ 139 h 141"/>
                <a:gd name="T62" fmla="*/ 39 w 82"/>
                <a:gd name="T63" fmla="*/ 140 h 141"/>
                <a:gd name="T64" fmla="*/ 54 w 82"/>
                <a:gd name="T65" fmla="*/ 137 h 141"/>
                <a:gd name="T66" fmla="*/ 55 w 82"/>
                <a:gd name="T67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" h="141">
                  <a:moveTo>
                    <a:pt x="54" y="68"/>
                  </a:moveTo>
                  <a:cubicBezTo>
                    <a:pt x="51" y="68"/>
                    <a:pt x="27" y="53"/>
                    <a:pt x="21" y="5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7" y="21"/>
                    <a:pt x="48" y="33"/>
                    <a:pt x="52" y="38"/>
                  </a:cubicBezTo>
                  <a:cubicBezTo>
                    <a:pt x="63" y="54"/>
                    <a:pt x="60" y="50"/>
                    <a:pt x="63" y="66"/>
                  </a:cubicBezTo>
                  <a:cubicBezTo>
                    <a:pt x="59" y="67"/>
                    <a:pt x="58" y="68"/>
                    <a:pt x="54" y="68"/>
                  </a:cubicBezTo>
                  <a:close/>
                  <a:moveTo>
                    <a:pt x="34" y="84"/>
                  </a:moveTo>
                  <a:cubicBezTo>
                    <a:pt x="48" y="85"/>
                    <a:pt x="59" y="85"/>
                    <a:pt x="49" y="79"/>
                  </a:cubicBezTo>
                  <a:cubicBezTo>
                    <a:pt x="28" y="68"/>
                    <a:pt x="23" y="70"/>
                    <a:pt x="34" y="84"/>
                  </a:cubicBezTo>
                  <a:close/>
                  <a:moveTo>
                    <a:pt x="55" y="133"/>
                  </a:moveTo>
                  <a:cubicBezTo>
                    <a:pt x="53" y="129"/>
                    <a:pt x="36" y="106"/>
                    <a:pt x="36" y="103"/>
                  </a:cubicBezTo>
                  <a:cubicBezTo>
                    <a:pt x="37" y="96"/>
                    <a:pt x="47" y="100"/>
                    <a:pt x="56" y="101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5" y="94"/>
                    <a:pt x="80" y="89"/>
                    <a:pt x="80" y="89"/>
                  </a:cubicBezTo>
                  <a:cubicBezTo>
                    <a:pt x="77" y="89"/>
                    <a:pt x="77" y="74"/>
                    <a:pt x="81" y="61"/>
                  </a:cubicBezTo>
                  <a:cubicBezTo>
                    <a:pt x="82" y="57"/>
                    <a:pt x="78" y="55"/>
                    <a:pt x="79" y="54"/>
                  </a:cubicBezTo>
                  <a:cubicBezTo>
                    <a:pt x="76" y="48"/>
                    <a:pt x="65" y="35"/>
                    <a:pt x="60" y="3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5" y="3"/>
                    <a:pt x="22" y="7"/>
                    <a:pt x="20" y="1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7" y="44"/>
                    <a:pt x="16" y="49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62"/>
                    <a:pt x="14" y="56"/>
                    <a:pt x="19" y="70"/>
                  </a:cubicBezTo>
                  <a:cubicBezTo>
                    <a:pt x="26" y="86"/>
                    <a:pt x="17" y="79"/>
                    <a:pt x="3" y="8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25" y="124"/>
                    <a:pt x="2" y="122"/>
                    <a:pt x="0" y="131"/>
                  </a:cubicBezTo>
                  <a:cubicBezTo>
                    <a:pt x="8" y="134"/>
                    <a:pt x="16" y="138"/>
                    <a:pt x="26" y="139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44" y="141"/>
                    <a:pt x="50" y="139"/>
                    <a:pt x="54" y="137"/>
                  </a:cubicBezTo>
                  <a:lnTo>
                    <a:pt x="55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5" name="任意多边形: 形状 194">
              <a:extLst>
                <a:ext uri="{FF2B5EF4-FFF2-40B4-BE49-F238E27FC236}">
                  <a16:creationId xmlns:a16="http://schemas.microsoft.com/office/drawing/2014/main" id="{27FF2BA0-E49C-43D7-B554-8CF89E11D1ED}"/>
                </a:ext>
              </a:extLst>
            </p:cNvPr>
            <p:cNvSpPr/>
            <p:nvPr/>
          </p:nvSpPr>
          <p:spPr bwMode="auto">
            <a:xfrm>
              <a:off x="2441576" y="2978150"/>
              <a:ext cx="169863" cy="138113"/>
            </a:xfrm>
            <a:custGeom>
              <a:avLst/>
              <a:gdLst>
                <a:gd name="T0" fmla="*/ 103 w 218"/>
                <a:gd name="T1" fmla="*/ 176 h 178"/>
                <a:gd name="T2" fmla="*/ 73 w 218"/>
                <a:gd name="T3" fmla="*/ 154 h 178"/>
                <a:gd name="T4" fmla="*/ 83 w 218"/>
                <a:gd name="T5" fmla="*/ 146 h 178"/>
                <a:gd name="T6" fmla="*/ 96 w 218"/>
                <a:gd name="T7" fmla="*/ 155 h 178"/>
                <a:gd name="T8" fmla="*/ 97 w 218"/>
                <a:gd name="T9" fmla="*/ 132 h 178"/>
                <a:gd name="T10" fmla="*/ 105 w 218"/>
                <a:gd name="T11" fmla="*/ 96 h 178"/>
                <a:gd name="T12" fmla="*/ 160 w 218"/>
                <a:gd name="T13" fmla="*/ 125 h 178"/>
                <a:gd name="T14" fmla="*/ 216 w 218"/>
                <a:gd name="T15" fmla="*/ 154 h 178"/>
                <a:gd name="T16" fmla="*/ 210 w 218"/>
                <a:gd name="T17" fmla="*/ 142 h 178"/>
                <a:gd name="T18" fmla="*/ 136 w 218"/>
                <a:gd name="T19" fmla="*/ 52 h 178"/>
                <a:gd name="T20" fmla="*/ 119 w 218"/>
                <a:gd name="T21" fmla="*/ 10 h 178"/>
                <a:gd name="T22" fmla="*/ 97 w 218"/>
                <a:gd name="T23" fmla="*/ 26 h 178"/>
                <a:gd name="T24" fmla="*/ 91 w 218"/>
                <a:gd name="T25" fmla="*/ 42 h 178"/>
                <a:gd name="T26" fmla="*/ 69 w 218"/>
                <a:gd name="T27" fmla="*/ 0 h 178"/>
                <a:gd name="T28" fmla="*/ 49 w 218"/>
                <a:gd name="T29" fmla="*/ 70 h 178"/>
                <a:gd name="T30" fmla="*/ 64 w 218"/>
                <a:gd name="T31" fmla="*/ 127 h 178"/>
                <a:gd name="T32" fmla="*/ 62 w 218"/>
                <a:gd name="T33" fmla="*/ 148 h 178"/>
                <a:gd name="T34" fmla="*/ 44 w 218"/>
                <a:gd name="T35" fmla="*/ 133 h 178"/>
                <a:gd name="T36" fmla="*/ 52 w 218"/>
                <a:gd name="T37" fmla="*/ 132 h 178"/>
                <a:gd name="T38" fmla="*/ 44 w 218"/>
                <a:gd name="T39" fmla="*/ 100 h 178"/>
                <a:gd name="T40" fmla="*/ 25 w 218"/>
                <a:gd name="T41" fmla="*/ 72 h 178"/>
                <a:gd name="T42" fmla="*/ 10 w 218"/>
                <a:gd name="T43" fmla="*/ 75 h 178"/>
                <a:gd name="T44" fmla="*/ 6 w 218"/>
                <a:gd name="T45" fmla="*/ 97 h 178"/>
                <a:gd name="T46" fmla="*/ 14 w 218"/>
                <a:gd name="T47" fmla="*/ 93 h 178"/>
                <a:gd name="T48" fmla="*/ 18 w 218"/>
                <a:gd name="T49" fmla="*/ 107 h 178"/>
                <a:gd name="T50" fmla="*/ 42 w 218"/>
                <a:gd name="T51" fmla="*/ 148 h 178"/>
                <a:gd name="T52" fmla="*/ 98 w 218"/>
                <a:gd name="T53" fmla="*/ 178 h 178"/>
                <a:gd name="T54" fmla="*/ 105 w 218"/>
                <a:gd name="T55" fmla="*/ 44 h 178"/>
                <a:gd name="T56" fmla="*/ 120 w 218"/>
                <a:gd name="T57" fmla="*/ 67 h 178"/>
                <a:gd name="T58" fmla="*/ 105 w 218"/>
                <a:gd name="T59" fmla="*/ 86 h 178"/>
                <a:gd name="T60" fmla="*/ 102 w 218"/>
                <a:gd name="T61" fmla="*/ 90 h 178"/>
                <a:gd name="T62" fmla="*/ 66 w 218"/>
                <a:gd name="T63" fmla="*/ 62 h 178"/>
                <a:gd name="T64" fmla="*/ 85 w 218"/>
                <a:gd name="T65" fmla="*/ 124 h 178"/>
                <a:gd name="T66" fmla="*/ 66 w 218"/>
                <a:gd name="T67" fmla="*/ 6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8" h="178">
                  <a:moveTo>
                    <a:pt x="98" y="178"/>
                  </a:moveTo>
                  <a:cubicBezTo>
                    <a:pt x="103" y="176"/>
                    <a:pt x="103" y="176"/>
                    <a:pt x="103" y="176"/>
                  </a:cubicBezTo>
                  <a:cubicBezTo>
                    <a:pt x="105" y="174"/>
                    <a:pt x="101" y="169"/>
                    <a:pt x="98" y="167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6" y="148"/>
                    <a:pt x="86" y="149"/>
                    <a:pt x="90" y="151"/>
                  </a:cubicBezTo>
                  <a:cubicBezTo>
                    <a:pt x="96" y="155"/>
                    <a:pt x="96" y="155"/>
                    <a:pt x="96" y="155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110" y="124"/>
                    <a:pt x="110" y="124"/>
                    <a:pt x="110" y="124"/>
                  </a:cubicBezTo>
                  <a:cubicBezTo>
                    <a:pt x="109" y="115"/>
                    <a:pt x="101" y="105"/>
                    <a:pt x="105" y="96"/>
                  </a:cubicBezTo>
                  <a:cubicBezTo>
                    <a:pt x="114" y="101"/>
                    <a:pt x="121" y="101"/>
                    <a:pt x="131" y="107"/>
                  </a:cubicBezTo>
                  <a:cubicBezTo>
                    <a:pt x="141" y="113"/>
                    <a:pt x="150" y="119"/>
                    <a:pt x="160" y="125"/>
                  </a:cubicBezTo>
                  <a:cubicBezTo>
                    <a:pt x="170" y="131"/>
                    <a:pt x="179" y="137"/>
                    <a:pt x="189" y="143"/>
                  </a:cubicBezTo>
                  <a:cubicBezTo>
                    <a:pt x="195" y="146"/>
                    <a:pt x="212" y="160"/>
                    <a:pt x="216" y="154"/>
                  </a:cubicBezTo>
                  <a:cubicBezTo>
                    <a:pt x="218" y="151"/>
                    <a:pt x="216" y="150"/>
                    <a:pt x="216" y="146"/>
                  </a:cubicBezTo>
                  <a:cubicBezTo>
                    <a:pt x="210" y="142"/>
                    <a:pt x="210" y="142"/>
                    <a:pt x="210" y="142"/>
                  </a:cubicBezTo>
                  <a:cubicBezTo>
                    <a:pt x="209" y="122"/>
                    <a:pt x="172" y="109"/>
                    <a:pt x="155" y="93"/>
                  </a:cubicBezTo>
                  <a:cubicBezTo>
                    <a:pt x="134" y="80"/>
                    <a:pt x="138" y="69"/>
                    <a:pt x="136" y="52"/>
                  </a:cubicBezTo>
                  <a:cubicBezTo>
                    <a:pt x="136" y="46"/>
                    <a:pt x="125" y="14"/>
                    <a:pt x="120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6" y="8"/>
                    <a:pt x="107" y="10"/>
                    <a:pt x="105" y="13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3" y="32"/>
                    <a:pt x="96" y="34"/>
                    <a:pt x="92" y="41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0" y="44"/>
                    <a:pt x="88" y="45"/>
                    <a:pt x="86" y="44"/>
                  </a:cubicBezTo>
                  <a:cubicBezTo>
                    <a:pt x="74" y="36"/>
                    <a:pt x="82" y="13"/>
                    <a:pt x="69" y="0"/>
                  </a:cubicBezTo>
                  <a:cubicBezTo>
                    <a:pt x="65" y="2"/>
                    <a:pt x="58" y="4"/>
                    <a:pt x="55" y="9"/>
                  </a:cubicBezTo>
                  <a:cubicBezTo>
                    <a:pt x="45" y="26"/>
                    <a:pt x="46" y="56"/>
                    <a:pt x="49" y="70"/>
                  </a:cubicBezTo>
                  <a:cubicBezTo>
                    <a:pt x="51" y="76"/>
                    <a:pt x="56" y="93"/>
                    <a:pt x="59" y="97"/>
                  </a:cubicBezTo>
                  <a:cubicBezTo>
                    <a:pt x="66" y="108"/>
                    <a:pt x="72" y="113"/>
                    <a:pt x="64" y="127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62" y="148"/>
                    <a:pt x="62" y="148"/>
                    <a:pt x="62" y="148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2" y="135"/>
                    <a:pt x="44" y="135"/>
                    <a:pt x="44" y="133"/>
                  </a:cubicBezTo>
                  <a:cubicBezTo>
                    <a:pt x="47" y="135"/>
                    <a:pt x="49" y="137"/>
                    <a:pt x="52" y="133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5" y="128"/>
                    <a:pt x="54" y="101"/>
                    <a:pt x="52" y="97"/>
                  </a:cubicBezTo>
                  <a:cubicBezTo>
                    <a:pt x="49" y="97"/>
                    <a:pt x="46" y="97"/>
                    <a:pt x="44" y="100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6" y="71"/>
                    <a:pt x="11" y="73"/>
                    <a:pt x="10" y="75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84"/>
                    <a:pt x="0" y="93"/>
                    <a:pt x="6" y="97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9" y="84"/>
                    <a:pt x="39" y="117"/>
                    <a:pt x="34" y="127"/>
                  </a:cubicBezTo>
                  <a:cubicBezTo>
                    <a:pt x="27" y="122"/>
                    <a:pt x="24" y="111"/>
                    <a:pt x="18" y="107"/>
                  </a:cubicBezTo>
                  <a:cubicBezTo>
                    <a:pt x="16" y="106"/>
                    <a:pt x="7" y="106"/>
                    <a:pt x="6" y="108"/>
                  </a:cubicBezTo>
                  <a:cubicBezTo>
                    <a:pt x="2" y="115"/>
                    <a:pt x="33" y="143"/>
                    <a:pt x="42" y="148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7" y="176"/>
                    <a:pt x="91" y="175"/>
                    <a:pt x="98" y="178"/>
                  </a:cubicBezTo>
                  <a:close/>
                  <a:moveTo>
                    <a:pt x="120" y="67"/>
                  </a:moveTo>
                  <a:cubicBezTo>
                    <a:pt x="111" y="66"/>
                    <a:pt x="101" y="56"/>
                    <a:pt x="105" y="44"/>
                  </a:cubicBezTo>
                  <a:cubicBezTo>
                    <a:pt x="106" y="38"/>
                    <a:pt x="111" y="34"/>
                    <a:pt x="113" y="40"/>
                  </a:cubicBezTo>
                  <a:cubicBezTo>
                    <a:pt x="117" y="49"/>
                    <a:pt x="121" y="63"/>
                    <a:pt x="120" y="67"/>
                  </a:cubicBezTo>
                  <a:close/>
                  <a:moveTo>
                    <a:pt x="99" y="85"/>
                  </a:moveTo>
                  <a:cubicBezTo>
                    <a:pt x="100" y="83"/>
                    <a:pt x="103" y="84"/>
                    <a:pt x="105" y="86"/>
                  </a:cubicBezTo>
                  <a:cubicBezTo>
                    <a:pt x="108" y="87"/>
                    <a:pt x="110" y="90"/>
                    <a:pt x="109" y="91"/>
                  </a:cubicBezTo>
                  <a:cubicBezTo>
                    <a:pt x="108" y="92"/>
                    <a:pt x="105" y="92"/>
                    <a:pt x="102" y="90"/>
                  </a:cubicBezTo>
                  <a:cubicBezTo>
                    <a:pt x="100" y="89"/>
                    <a:pt x="98" y="86"/>
                    <a:pt x="99" y="85"/>
                  </a:cubicBezTo>
                  <a:close/>
                  <a:moveTo>
                    <a:pt x="66" y="62"/>
                  </a:moveTo>
                  <a:cubicBezTo>
                    <a:pt x="76" y="84"/>
                    <a:pt x="76" y="105"/>
                    <a:pt x="89" y="123"/>
                  </a:cubicBezTo>
                  <a:cubicBezTo>
                    <a:pt x="91" y="128"/>
                    <a:pt x="90" y="128"/>
                    <a:pt x="85" y="124"/>
                  </a:cubicBezTo>
                  <a:cubicBezTo>
                    <a:pt x="76" y="111"/>
                    <a:pt x="66" y="98"/>
                    <a:pt x="61" y="81"/>
                  </a:cubicBezTo>
                  <a:cubicBezTo>
                    <a:pt x="56" y="66"/>
                    <a:pt x="60" y="53"/>
                    <a:pt x="6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6" name="任意多边形: 形状 195">
              <a:extLst>
                <a:ext uri="{FF2B5EF4-FFF2-40B4-BE49-F238E27FC236}">
                  <a16:creationId xmlns:a16="http://schemas.microsoft.com/office/drawing/2014/main" id="{12AF973E-604D-4445-AA0A-E31F1D41F711}"/>
                </a:ext>
              </a:extLst>
            </p:cNvPr>
            <p:cNvSpPr/>
            <p:nvPr/>
          </p:nvSpPr>
          <p:spPr bwMode="auto">
            <a:xfrm>
              <a:off x="2586038" y="2813050"/>
              <a:ext cx="152400" cy="165100"/>
            </a:xfrm>
            <a:custGeom>
              <a:avLst/>
              <a:gdLst>
                <a:gd name="T0" fmla="*/ 78 w 198"/>
                <a:gd name="T1" fmla="*/ 197 h 213"/>
                <a:gd name="T2" fmla="*/ 98 w 198"/>
                <a:gd name="T3" fmla="*/ 209 h 213"/>
                <a:gd name="T4" fmla="*/ 108 w 198"/>
                <a:gd name="T5" fmla="*/ 210 h 213"/>
                <a:gd name="T6" fmla="*/ 110 w 198"/>
                <a:gd name="T7" fmla="*/ 205 h 213"/>
                <a:gd name="T8" fmla="*/ 109 w 198"/>
                <a:gd name="T9" fmla="*/ 170 h 213"/>
                <a:gd name="T10" fmla="*/ 116 w 198"/>
                <a:gd name="T11" fmla="*/ 77 h 213"/>
                <a:gd name="T12" fmla="*/ 126 w 198"/>
                <a:gd name="T13" fmla="*/ 131 h 213"/>
                <a:gd name="T14" fmla="*/ 180 w 198"/>
                <a:gd name="T15" fmla="*/ 129 h 213"/>
                <a:gd name="T16" fmla="*/ 193 w 198"/>
                <a:gd name="T17" fmla="*/ 102 h 213"/>
                <a:gd name="T18" fmla="*/ 178 w 198"/>
                <a:gd name="T19" fmla="*/ 103 h 213"/>
                <a:gd name="T20" fmla="*/ 154 w 198"/>
                <a:gd name="T21" fmla="*/ 126 h 213"/>
                <a:gd name="T22" fmla="*/ 133 w 198"/>
                <a:gd name="T23" fmla="*/ 110 h 213"/>
                <a:gd name="T24" fmla="*/ 127 w 198"/>
                <a:gd name="T25" fmla="*/ 62 h 213"/>
                <a:gd name="T26" fmla="*/ 109 w 198"/>
                <a:gd name="T27" fmla="*/ 74 h 213"/>
                <a:gd name="T28" fmla="*/ 92 w 198"/>
                <a:gd name="T29" fmla="*/ 132 h 213"/>
                <a:gd name="T30" fmla="*/ 83 w 198"/>
                <a:gd name="T31" fmla="*/ 157 h 213"/>
                <a:gd name="T32" fmla="*/ 75 w 198"/>
                <a:gd name="T33" fmla="*/ 181 h 213"/>
                <a:gd name="T34" fmla="*/ 81 w 198"/>
                <a:gd name="T35" fmla="*/ 100 h 213"/>
                <a:gd name="T36" fmla="*/ 63 w 198"/>
                <a:gd name="T37" fmla="*/ 107 h 213"/>
                <a:gd name="T38" fmla="*/ 86 w 198"/>
                <a:gd name="T39" fmla="*/ 0 h 213"/>
                <a:gd name="T40" fmla="*/ 72 w 198"/>
                <a:gd name="T41" fmla="*/ 17 h 213"/>
                <a:gd name="T42" fmla="*/ 55 w 198"/>
                <a:gd name="T43" fmla="*/ 29 h 213"/>
                <a:gd name="T44" fmla="*/ 21 w 198"/>
                <a:gd name="T45" fmla="*/ 96 h 213"/>
                <a:gd name="T46" fmla="*/ 40 w 198"/>
                <a:gd name="T47" fmla="*/ 99 h 213"/>
                <a:gd name="T48" fmla="*/ 57 w 198"/>
                <a:gd name="T49" fmla="*/ 34 h 213"/>
                <a:gd name="T50" fmla="*/ 61 w 198"/>
                <a:gd name="T51" fmla="*/ 96 h 213"/>
                <a:gd name="T52" fmla="*/ 49 w 198"/>
                <a:gd name="T53" fmla="*/ 146 h 213"/>
                <a:gd name="T54" fmla="*/ 44 w 198"/>
                <a:gd name="T55" fmla="*/ 192 h 213"/>
                <a:gd name="T56" fmla="*/ 60 w 198"/>
                <a:gd name="T57" fmla="*/ 172 h 213"/>
                <a:gd name="T58" fmla="*/ 87 w 198"/>
                <a:gd name="T59" fmla="*/ 147 h 213"/>
                <a:gd name="T60" fmla="*/ 89 w 198"/>
                <a:gd name="T61" fmla="*/ 149 h 213"/>
                <a:gd name="T62" fmla="*/ 87 w 198"/>
                <a:gd name="T63" fmla="*/ 147 h 213"/>
                <a:gd name="T64" fmla="*/ 109 w 198"/>
                <a:gd name="T65" fmla="*/ 196 h 213"/>
                <a:gd name="T66" fmla="*/ 106 w 198"/>
                <a:gd name="T67" fmla="*/ 198 h 213"/>
                <a:gd name="T68" fmla="*/ 52 w 198"/>
                <a:gd name="T69" fmla="*/ 162 h 213"/>
                <a:gd name="T70" fmla="*/ 58 w 198"/>
                <a:gd name="T71" fmla="*/ 137 h 213"/>
                <a:gd name="T72" fmla="*/ 52 w 198"/>
                <a:gd name="T73" fmla="*/ 162 h 213"/>
                <a:gd name="T74" fmla="*/ 72 w 198"/>
                <a:gd name="T75" fmla="*/ 115 h 213"/>
                <a:gd name="T76" fmla="*/ 67 w 198"/>
                <a:gd name="T77" fmla="*/ 131 h 213"/>
                <a:gd name="T78" fmla="*/ 2 w 198"/>
                <a:gd name="T79" fmla="*/ 91 h 213"/>
                <a:gd name="T80" fmla="*/ 16 w 198"/>
                <a:gd name="T81" fmla="*/ 145 h 213"/>
                <a:gd name="T82" fmla="*/ 13 w 198"/>
                <a:gd name="T83" fmla="*/ 10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8" h="213">
                  <a:moveTo>
                    <a:pt x="73" y="198"/>
                  </a:moveTo>
                  <a:cubicBezTo>
                    <a:pt x="76" y="198"/>
                    <a:pt x="75" y="200"/>
                    <a:pt x="78" y="197"/>
                  </a:cubicBezTo>
                  <a:cubicBezTo>
                    <a:pt x="83" y="193"/>
                    <a:pt x="83" y="176"/>
                    <a:pt x="89" y="170"/>
                  </a:cubicBezTo>
                  <a:cubicBezTo>
                    <a:pt x="95" y="178"/>
                    <a:pt x="91" y="202"/>
                    <a:pt x="98" y="209"/>
                  </a:cubicBezTo>
                  <a:cubicBezTo>
                    <a:pt x="100" y="211"/>
                    <a:pt x="102" y="211"/>
                    <a:pt x="106" y="213"/>
                  </a:cubicBezTo>
                  <a:cubicBezTo>
                    <a:pt x="106" y="213"/>
                    <a:pt x="106" y="212"/>
                    <a:pt x="108" y="210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5" y="201"/>
                    <a:pt x="123" y="209"/>
                    <a:pt x="127" y="202"/>
                  </a:cubicBezTo>
                  <a:cubicBezTo>
                    <a:pt x="126" y="192"/>
                    <a:pt x="118" y="183"/>
                    <a:pt x="109" y="170"/>
                  </a:cubicBezTo>
                  <a:cubicBezTo>
                    <a:pt x="99" y="158"/>
                    <a:pt x="98" y="150"/>
                    <a:pt x="99" y="138"/>
                  </a:cubicBezTo>
                  <a:cubicBezTo>
                    <a:pt x="100" y="132"/>
                    <a:pt x="113" y="80"/>
                    <a:pt x="116" y="77"/>
                  </a:cubicBezTo>
                  <a:cubicBezTo>
                    <a:pt x="120" y="84"/>
                    <a:pt x="121" y="94"/>
                    <a:pt x="119" y="101"/>
                  </a:cubicBezTo>
                  <a:cubicBezTo>
                    <a:pt x="117" y="111"/>
                    <a:pt x="115" y="120"/>
                    <a:pt x="126" y="131"/>
                  </a:cubicBezTo>
                  <a:cubicBezTo>
                    <a:pt x="143" y="149"/>
                    <a:pt x="145" y="148"/>
                    <a:pt x="162" y="144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92" y="118"/>
                    <a:pt x="198" y="107"/>
                    <a:pt x="193" y="102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87" y="95"/>
                    <a:pt x="182" y="99"/>
                    <a:pt x="178" y="103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0" y="110"/>
                    <a:pt x="158" y="124"/>
                    <a:pt x="154" y="126"/>
                  </a:cubicBezTo>
                  <a:cubicBezTo>
                    <a:pt x="146" y="130"/>
                    <a:pt x="137" y="120"/>
                    <a:pt x="136" y="113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6" y="98"/>
                    <a:pt x="130" y="96"/>
                    <a:pt x="129" y="85"/>
                  </a:cubicBezTo>
                  <a:cubicBezTo>
                    <a:pt x="129" y="81"/>
                    <a:pt x="131" y="65"/>
                    <a:pt x="127" y="62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15" y="64"/>
                    <a:pt x="113" y="60"/>
                    <a:pt x="109" y="74"/>
                  </a:cubicBezTo>
                  <a:cubicBezTo>
                    <a:pt x="106" y="80"/>
                    <a:pt x="104" y="87"/>
                    <a:pt x="102" y="93"/>
                  </a:cubicBezTo>
                  <a:cubicBezTo>
                    <a:pt x="100" y="102"/>
                    <a:pt x="98" y="127"/>
                    <a:pt x="92" y="132"/>
                  </a:cubicBezTo>
                  <a:cubicBezTo>
                    <a:pt x="90" y="134"/>
                    <a:pt x="84" y="131"/>
                    <a:pt x="81" y="129"/>
                  </a:cubicBezTo>
                  <a:cubicBezTo>
                    <a:pt x="73" y="138"/>
                    <a:pt x="75" y="147"/>
                    <a:pt x="83" y="157"/>
                  </a:cubicBezTo>
                  <a:cubicBezTo>
                    <a:pt x="83" y="166"/>
                    <a:pt x="81" y="174"/>
                    <a:pt x="77" y="181"/>
                  </a:cubicBezTo>
                  <a:cubicBezTo>
                    <a:pt x="75" y="181"/>
                    <a:pt x="75" y="181"/>
                    <a:pt x="75" y="181"/>
                  </a:cubicBezTo>
                  <a:cubicBezTo>
                    <a:pt x="68" y="172"/>
                    <a:pt x="70" y="144"/>
                    <a:pt x="73" y="134"/>
                  </a:cubicBezTo>
                  <a:cubicBezTo>
                    <a:pt x="82" y="125"/>
                    <a:pt x="88" y="108"/>
                    <a:pt x="81" y="100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0" y="88"/>
                    <a:pt x="94" y="7"/>
                    <a:pt x="90" y="3"/>
                  </a:cubicBezTo>
                  <a:cubicBezTo>
                    <a:pt x="88" y="1"/>
                    <a:pt x="89" y="2"/>
                    <a:pt x="86" y="0"/>
                  </a:cubicBezTo>
                  <a:cubicBezTo>
                    <a:pt x="83" y="2"/>
                    <a:pt x="83" y="2"/>
                    <a:pt x="80" y="4"/>
                  </a:cubicBezTo>
                  <a:cubicBezTo>
                    <a:pt x="76" y="8"/>
                    <a:pt x="77" y="12"/>
                    <a:pt x="72" y="17"/>
                  </a:cubicBezTo>
                  <a:cubicBezTo>
                    <a:pt x="68" y="21"/>
                    <a:pt x="64" y="21"/>
                    <a:pt x="59" y="26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36" y="48"/>
                    <a:pt x="38" y="82"/>
                    <a:pt x="32" y="88"/>
                  </a:cubicBezTo>
                  <a:cubicBezTo>
                    <a:pt x="28" y="91"/>
                    <a:pt x="26" y="91"/>
                    <a:pt x="21" y="96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2" y="100"/>
                    <a:pt x="37" y="102"/>
                    <a:pt x="40" y="99"/>
                  </a:cubicBezTo>
                  <a:cubicBezTo>
                    <a:pt x="47" y="94"/>
                    <a:pt x="31" y="64"/>
                    <a:pt x="55" y="36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63" y="28"/>
                    <a:pt x="65" y="33"/>
                    <a:pt x="74" y="26"/>
                  </a:cubicBezTo>
                  <a:cubicBezTo>
                    <a:pt x="78" y="32"/>
                    <a:pt x="64" y="86"/>
                    <a:pt x="61" y="96"/>
                  </a:cubicBezTo>
                  <a:cubicBezTo>
                    <a:pt x="58" y="108"/>
                    <a:pt x="55" y="118"/>
                    <a:pt x="53" y="130"/>
                  </a:cubicBezTo>
                  <a:cubicBezTo>
                    <a:pt x="52" y="135"/>
                    <a:pt x="51" y="140"/>
                    <a:pt x="49" y="146"/>
                  </a:cubicBezTo>
                  <a:cubicBezTo>
                    <a:pt x="47" y="153"/>
                    <a:pt x="45" y="160"/>
                    <a:pt x="46" y="165"/>
                  </a:cubicBezTo>
                  <a:cubicBezTo>
                    <a:pt x="38" y="172"/>
                    <a:pt x="38" y="185"/>
                    <a:pt x="44" y="192"/>
                  </a:cubicBezTo>
                  <a:cubicBezTo>
                    <a:pt x="47" y="194"/>
                    <a:pt x="50" y="197"/>
                    <a:pt x="52" y="192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5" y="179"/>
                    <a:pt x="59" y="184"/>
                    <a:pt x="73" y="198"/>
                  </a:cubicBezTo>
                  <a:close/>
                  <a:moveTo>
                    <a:pt x="87" y="147"/>
                  </a:moveTo>
                  <a:cubicBezTo>
                    <a:pt x="88" y="147"/>
                    <a:pt x="88" y="147"/>
                    <a:pt x="89" y="148"/>
                  </a:cubicBezTo>
                  <a:cubicBezTo>
                    <a:pt x="89" y="148"/>
                    <a:pt x="89" y="149"/>
                    <a:pt x="89" y="149"/>
                  </a:cubicBezTo>
                  <a:cubicBezTo>
                    <a:pt x="89" y="149"/>
                    <a:pt x="88" y="149"/>
                    <a:pt x="87" y="149"/>
                  </a:cubicBezTo>
                  <a:cubicBezTo>
                    <a:pt x="87" y="148"/>
                    <a:pt x="87" y="148"/>
                    <a:pt x="87" y="147"/>
                  </a:cubicBezTo>
                  <a:close/>
                  <a:moveTo>
                    <a:pt x="105" y="195"/>
                  </a:moveTo>
                  <a:cubicBezTo>
                    <a:pt x="106" y="194"/>
                    <a:pt x="108" y="195"/>
                    <a:pt x="109" y="196"/>
                  </a:cubicBezTo>
                  <a:cubicBezTo>
                    <a:pt x="110" y="197"/>
                    <a:pt x="110" y="198"/>
                    <a:pt x="109" y="199"/>
                  </a:cubicBezTo>
                  <a:cubicBezTo>
                    <a:pt x="109" y="200"/>
                    <a:pt x="107" y="199"/>
                    <a:pt x="106" y="198"/>
                  </a:cubicBezTo>
                  <a:cubicBezTo>
                    <a:pt x="105" y="197"/>
                    <a:pt x="105" y="196"/>
                    <a:pt x="105" y="195"/>
                  </a:cubicBezTo>
                  <a:close/>
                  <a:moveTo>
                    <a:pt x="52" y="162"/>
                  </a:moveTo>
                  <a:cubicBezTo>
                    <a:pt x="52" y="154"/>
                    <a:pt x="54" y="146"/>
                    <a:pt x="56" y="138"/>
                  </a:cubicBezTo>
                  <a:cubicBezTo>
                    <a:pt x="56" y="136"/>
                    <a:pt x="57" y="136"/>
                    <a:pt x="58" y="137"/>
                  </a:cubicBezTo>
                  <a:cubicBezTo>
                    <a:pt x="59" y="142"/>
                    <a:pt x="59" y="150"/>
                    <a:pt x="57" y="157"/>
                  </a:cubicBezTo>
                  <a:cubicBezTo>
                    <a:pt x="55" y="162"/>
                    <a:pt x="52" y="163"/>
                    <a:pt x="52" y="162"/>
                  </a:cubicBezTo>
                  <a:close/>
                  <a:moveTo>
                    <a:pt x="65" y="122"/>
                  </a:moveTo>
                  <a:cubicBezTo>
                    <a:pt x="66" y="117"/>
                    <a:pt x="69" y="115"/>
                    <a:pt x="72" y="115"/>
                  </a:cubicBezTo>
                  <a:cubicBezTo>
                    <a:pt x="74" y="116"/>
                    <a:pt x="75" y="120"/>
                    <a:pt x="73" y="124"/>
                  </a:cubicBezTo>
                  <a:cubicBezTo>
                    <a:pt x="72" y="128"/>
                    <a:pt x="69" y="131"/>
                    <a:pt x="67" y="131"/>
                  </a:cubicBezTo>
                  <a:cubicBezTo>
                    <a:pt x="65" y="130"/>
                    <a:pt x="64" y="126"/>
                    <a:pt x="65" y="122"/>
                  </a:cubicBezTo>
                  <a:close/>
                  <a:moveTo>
                    <a:pt x="2" y="91"/>
                  </a:moveTo>
                  <a:cubicBezTo>
                    <a:pt x="8" y="109"/>
                    <a:pt x="8" y="125"/>
                    <a:pt x="7" y="141"/>
                  </a:cubicBezTo>
                  <a:cubicBezTo>
                    <a:pt x="7" y="155"/>
                    <a:pt x="15" y="159"/>
                    <a:pt x="16" y="145"/>
                  </a:cubicBezTo>
                  <a:cubicBezTo>
                    <a:pt x="16" y="134"/>
                    <a:pt x="16" y="125"/>
                    <a:pt x="15" y="116"/>
                  </a:cubicBezTo>
                  <a:cubicBezTo>
                    <a:pt x="14" y="111"/>
                    <a:pt x="15" y="105"/>
                    <a:pt x="13" y="101"/>
                  </a:cubicBezTo>
                  <a:cubicBezTo>
                    <a:pt x="6" y="84"/>
                    <a:pt x="0" y="86"/>
                    <a:pt x="2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7" name="任意多边形: 形状 196">
              <a:extLst>
                <a:ext uri="{FF2B5EF4-FFF2-40B4-BE49-F238E27FC236}">
                  <a16:creationId xmlns:a16="http://schemas.microsoft.com/office/drawing/2014/main" id="{F100110F-D814-4F2C-A956-53827B3418D4}"/>
                </a:ext>
              </a:extLst>
            </p:cNvPr>
            <p:cNvSpPr/>
            <p:nvPr/>
          </p:nvSpPr>
          <p:spPr bwMode="auto">
            <a:xfrm>
              <a:off x="2919413" y="2616200"/>
              <a:ext cx="157163" cy="149225"/>
            </a:xfrm>
            <a:custGeom>
              <a:avLst/>
              <a:gdLst>
                <a:gd name="T0" fmla="*/ 116 w 202"/>
                <a:gd name="T1" fmla="*/ 176 h 193"/>
                <a:gd name="T2" fmla="*/ 105 w 202"/>
                <a:gd name="T3" fmla="*/ 161 h 193"/>
                <a:gd name="T4" fmla="*/ 119 w 202"/>
                <a:gd name="T5" fmla="*/ 175 h 193"/>
                <a:gd name="T6" fmla="*/ 85 w 202"/>
                <a:gd name="T7" fmla="*/ 109 h 193"/>
                <a:gd name="T8" fmla="*/ 80 w 202"/>
                <a:gd name="T9" fmla="*/ 109 h 193"/>
                <a:gd name="T10" fmla="*/ 84 w 202"/>
                <a:gd name="T11" fmla="*/ 94 h 193"/>
                <a:gd name="T12" fmla="*/ 85 w 202"/>
                <a:gd name="T13" fmla="*/ 99 h 193"/>
                <a:gd name="T14" fmla="*/ 84 w 202"/>
                <a:gd name="T15" fmla="*/ 94 h 193"/>
                <a:gd name="T16" fmla="*/ 127 w 202"/>
                <a:gd name="T17" fmla="*/ 74 h 193"/>
                <a:gd name="T18" fmla="*/ 122 w 202"/>
                <a:gd name="T19" fmla="*/ 74 h 193"/>
                <a:gd name="T20" fmla="*/ 129 w 202"/>
                <a:gd name="T21" fmla="*/ 100 h 193"/>
                <a:gd name="T22" fmla="*/ 106 w 202"/>
                <a:gd name="T23" fmla="*/ 115 h 193"/>
                <a:gd name="T24" fmla="*/ 129 w 202"/>
                <a:gd name="T25" fmla="*/ 100 h 193"/>
                <a:gd name="T26" fmla="*/ 121 w 202"/>
                <a:gd name="T27" fmla="*/ 57 h 193"/>
                <a:gd name="T28" fmla="*/ 141 w 202"/>
                <a:gd name="T29" fmla="*/ 72 h 193"/>
                <a:gd name="T30" fmla="*/ 144 w 202"/>
                <a:gd name="T31" fmla="*/ 28 h 193"/>
                <a:gd name="T32" fmla="*/ 121 w 202"/>
                <a:gd name="T33" fmla="*/ 52 h 193"/>
                <a:gd name="T34" fmla="*/ 0 w 202"/>
                <a:gd name="T35" fmla="*/ 169 h 193"/>
                <a:gd name="T36" fmla="*/ 21 w 202"/>
                <a:gd name="T37" fmla="*/ 174 h 193"/>
                <a:gd name="T38" fmla="*/ 50 w 202"/>
                <a:gd name="T39" fmla="*/ 135 h 193"/>
                <a:gd name="T40" fmla="*/ 96 w 202"/>
                <a:gd name="T41" fmla="*/ 118 h 193"/>
                <a:gd name="T42" fmla="*/ 92 w 202"/>
                <a:gd name="T43" fmla="*/ 137 h 193"/>
                <a:gd name="T44" fmla="*/ 122 w 202"/>
                <a:gd name="T45" fmla="*/ 121 h 193"/>
                <a:gd name="T46" fmla="*/ 97 w 202"/>
                <a:gd name="T47" fmla="*/ 158 h 193"/>
                <a:gd name="T48" fmla="*/ 128 w 202"/>
                <a:gd name="T49" fmla="*/ 191 h 193"/>
                <a:gd name="T50" fmla="*/ 154 w 202"/>
                <a:gd name="T51" fmla="*/ 160 h 193"/>
                <a:gd name="T52" fmla="*/ 150 w 202"/>
                <a:gd name="T53" fmla="*/ 144 h 193"/>
                <a:gd name="T54" fmla="*/ 158 w 202"/>
                <a:gd name="T55" fmla="*/ 135 h 193"/>
                <a:gd name="T56" fmla="*/ 144 w 202"/>
                <a:gd name="T57" fmla="*/ 113 h 193"/>
                <a:gd name="T58" fmla="*/ 138 w 202"/>
                <a:gd name="T59" fmla="*/ 103 h 193"/>
                <a:gd name="T60" fmla="*/ 200 w 202"/>
                <a:gd name="T61" fmla="*/ 82 h 193"/>
                <a:gd name="T62" fmla="*/ 186 w 202"/>
                <a:gd name="T63" fmla="*/ 71 h 193"/>
                <a:gd name="T64" fmla="*/ 162 w 202"/>
                <a:gd name="T65" fmla="*/ 31 h 193"/>
                <a:gd name="T66" fmla="*/ 121 w 202"/>
                <a:gd name="T67" fmla="*/ 13 h 193"/>
                <a:gd name="T68" fmla="*/ 102 w 202"/>
                <a:gd name="T69" fmla="*/ 10 h 193"/>
                <a:gd name="T70" fmla="*/ 103 w 202"/>
                <a:gd name="T71" fmla="*/ 40 h 193"/>
                <a:gd name="T72" fmla="*/ 105 w 202"/>
                <a:gd name="T73" fmla="*/ 66 h 193"/>
                <a:gd name="T74" fmla="*/ 101 w 202"/>
                <a:gd name="T75" fmla="*/ 91 h 193"/>
                <a:gd name="T76" fmla="*/ 105 w 202"/>
                <a:gd name="T77" fmla="*/ 99 h 193"/>
                <a:gd name="T78" fmla="*/ 96 w 202"/>
                <a:gd name="T79" fmla="*/ 103 h 193"/>
                <a:gd name="T80" fmla="*/ 77 w 202"/>
                <a:gd name="T81" fmla="*/ 40 h 193"/>
                <a:gd name="T82" fmla="*/ 76 w 202"/>
                <a:gd name="T83" fmla="*/ 67 h 193"/>
                <a:gd name="T84" fmla="*/ 72 w 202"/>
                <a:gd name="T85" fmla="*/ 95 h 193"/>
                <a:gd name="T86" fmla="*/ 37 w 202"/>
                <a:gd name="T87" fmla="*/ 72 h 193"/>
                <a:gd name="T88" fmla="*/ 68 w 202"/>
                <a:gd name="T89" fmla="*/ 109 h 193"/>
                <a:gd name="T90" fmla="*/ 50 w 202"/>
                <a:gd name="T91" fmla="*/ 125 h 193"/>
                <a:gd name="T92" fmla="*/ 49 w 202"/>
                <a:gd name="T93" fmla="*/ 107 h 193"/>
                <a:gd name="T94" fmla="*/ 44 w 202"/>
                <a:gd name="T95" fmla="*/ 104 h 193"/>
                <a:gd name="T96" fmla="*/ 16 w 202"/>
                <a:gd name="T97" fmla="*/ 13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193">
                  <a:moveTo>
                    <a:pt x="119" y="175"/>
                  </a:moveTo>
                  <a:cubicBezTo>
                    <a:pt x="116" y="176"/>
                    <a:pt x="116" y="176"/>
                    <a:pt x="116" y="176"/>
                  </a:cubicBezTo>
                  <a:cubicBezTo>
                    <a:pt x="112" y="177"/>
                    <a:pt x="107" y="171"/>
                    <a:pt x="106" y="166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11" y="158"/>
                    <a:pt x="119" y="156"/>
                    <a:pt x="127" y="154"/>
                  </a:cubicBezTo>
                  <a:cubicBezTo>
                    <a:pt x="128" y="162"/>
                    <a:pt x="126" y="174"/>
                    <a:pt x="119" y="175"/>
                  </a:cubicBezTo>
                  <a:close/>
                  <a:moveTo>
                    <a:pt x="82" y="106"/>
                  </a:moveTo>
                  <a:cubicBezTo>
                    <a:pt x="84" y="106"/>
                    <a:pt x="85" y="107"/>
                    <a:pt x="85" y="109"/>
                  </a:cubicBezTo>
                  <a:cubicBezTo>
                    <a:pt x="86" y="110"/>
                    <a:pt x="85" y="112"/>
                    <a:pt x="83" y="112"/>
                  </a:cubicBezTo>
                  <a:cubicBezTo>
                    <a:pt x="82" y="112"/>
                    <a:pt x="80" y="111"/>
                    <a:pt x="80" y="109"/>
                  </a:cubicBezTo>
                  <a:cubicBezTo>
                    <a:pt x="80" y="108"/>
                    <a:pt x="81" y="106"/>
                    <a:pt x="82" y="106"/>
                  </a:cubicBezTo>
                  <a:close/>
                  <a:moveTo>
                    <a:pt x="84" y="94"/>
                  </a:moveTo>
                  <a:cubicBezTo>
                    <a:pt x="84" y="94"/>
                    <a:pt x="85" y="95"/>
                    <a:pt x="85" y="96"/>
                  </a:cubicBezTo>
                  <a:cubicBezTo>
                    <a:pt x="85" y="98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83" y="96"/>
                    <a:pt x="83" y="94"/>
                    <a:pt x="84" y="94"/>
                  </a:cubicBezTo>
                  <a:close/>
                  <a:moveTo>
                    <a:pt x="124" y="66"/>
                  </a:moveTo>
                  <a:cubicBezTo>
                    <a:pt x="126" y="66"/>
                    <a:pt x="127" y="69"/>
                    <a:pt x="127" y="74"/>
                  </a:cubicBezTo>
                  <a:cubicBezTo>
                    <a:pt x="127" y="78"/>
                    <a:pt x="127" y="81"/>
                    <a:pt x="125" y="81"/>
                  </a:cubicBezTo>
                  <a:cubicBezTo>
                    <a:pt x="123" y="81"/>
                    <a:pt x="122" y="78"/>
                    <a:pt x="122" y="74"/>
                  </a:cubicBezTo>
                  <a:cubicBezTo>
                    <a:pt x="121" y="71"/>
                    <a:pt x="123" y="66"/>
                    <a:pt x="124" y="66"/>
                  </a:cubicBezTo>
                  <a:close/>
                  <a:moveTo>
                    <a:pt x="129" y="100"/>
                  </a:moveTo>
                  <a:cubicBezTo>
                    <a:pt x="130" y="100"/>
                    <a:pt x="130" y="102"/>
                    <a:pt x="127" y="103"/>
                  </a:cubicBezTo>
                  <a:cubicBezTo>
                    <a:pt x="118" y="106"/>
                    <a:pt x="114" y="110"/>
                    <a:pt x="106" y="115"/>
                  </a:cubicBezTo>
                  <a:cubicBezTo>
                    <a:pt x="102" y="118"/>
                    <a:pt x="98" y="114"/>
                    <a:pt x="106" y="108"/>
                  </a:cubicBezTo>
                  <a:cubicBezTo>
                    <a:pt x="112" y="103"/>
                    <a:pt x="120" y="101"/>
                    <a:pt x="129" y="100"/>
                  </a:cubicBezTo>
                  <a:close/>
                  <a:moveTo>
                    <a:pt x="121" y="52"/>
                  </a:moveTo>
                  <a:cubicBezTo>
                    <a:pt x="121" y="57"/>
                    <a:pt x="121" y="57"/>
                    <a:pt x="121" y="57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41" y="54"/>
                    <a:pt x="140" y="67"/>
                    <a:pt x="141" y="72"/>
                  </a:cubicBezTo>
                  <a:cubicBezTo>
                    <a:pt x="147" y="66"/>
                    <a:pt x="150" y="44"/>
                    <a:pt x="150" y="33"/>
                  </a:cubicBezTo>
                  <a:cubicBezTo>
                    <a:pt x="148" y="30"/>
                    <a:pt x="148" y="28"/>
                    <a:pt x="144" y="28"/>
                  </a:cubicBezTo>
                  <a:cubicBezTo>
                    <a:pt x="141" y="29"/>
                    <a:pt x="141" y="29"/>
                    <a:pt x="141" y="29"/>
                  </a:cubicBezTo>
                  <a:cubicBezTo>
                    <a:pt x="133" y="30"/>
                    <a:pt x="120" y="45"/>
                    <a:pt x="121" y="52"/>
                  </a:cubicBezTo>
                  <a:close/>
                  <a:moveTo>
                    <a:pt x="1" y="161"/>
                  </a:moveTo>
                  <a:cubicBezTo>
                    <a:pt x="0" y="165"/>
                    <a:pt x="0" y="165"/>
                    <a:pt x="0" y="169"/>
                  </a:cubicBezTo>
                  <a:cubicBezTo>
                    <a:pt x="2" y="177"/>
                    <a:pt x="2" y="177"/>
                    <a:pt x="2" y="177"/>
                  </a:cubicBezTo>
                  <a:cubicBezTo>
                    <a:pt x="3" y="185"/>
                    <a:pt x="18" y="176"/>
                    <a:pt x="21" y="174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8" y="150"/>
                    <a:pt x="38" y="139"/>
                    <a:pt x="50" y="135"/>
                  </a:cubicBezTo>
                  <a:cubicBezTo>
                    <a:pt x="58" y="132"/>
                    <a:pt x="89" y="119"/>
                    <a:pt x="89" y="119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6" y="124"/>
                    <a:pt x="91" y="128"/>
                    <a:pt x="92" y="135"/>
                  </a:cubicBezTo>
                  <a:cubicBezTo>
                    <a:pt x="92" y="137"/>
                    <a:pt x="92" y="137"/>
                    <a:pt x="92" y="137"/>
                  </a:cubicBezTo>
                  <a:cubicBezTo>
                    <a:pt x="93" y="143"/>
                    <a:pt x="99" y="138"/>
                    <a:pt x="106" y="137"/>
                  </a:cubicBezTo>
                  <a:cubicBezTo>
                    <a:pt x="110" y="129"/>
                    <a:pt x="112" y="125"/>
                    <a:pt x="122" y="121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26" y="143"/>
                    <a:pt x="95" y="143"/>
                    <a:pt x="97" y="158"/>
                  </a:cubicBezTo>
                  <a:cubicBezTo>
                    <a:pt x="100" y="175"/>
                    <a:pt x="112" y="193"/>
                    <a:pt x="127" y="191"/>
                  </a:cubicBezTo>
                  <a:cubicBezTo>
                    <a:pt x="128" y="191"/>
                    <a:pt x="128" y="191"/>
                    <a:pt x="128" y="191"/>
                  </a:cubicBezTo>
                  <a:cubicBezTo>
                    <a:pt x="136" y="190"/>
                    <a:pt x="145" y="186"/>
                    <a:pt x="148" y="180"/>
                  </a:cubicBezTo>
                  <a:cubicBezTo>
                    <a:pt x="149" y="178"/>
                    <a:pt x="154" y="162"/>
                    <a:pt x="154" y="16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1" y="127"/>
                    <a:pt x="153" y="130"/>
                    <a:pt x="141" y="129"/>
                  </a:cubicBezTo>
                  <a:cubicBezTo>
                    <a:pt x="140" y="118"/>
                    <a:pt x="145" y="119"/>
                    <a:pt x="144" y="113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6"/>
                    <a:pt x="141" y="109"/>
                    <a:pt x="138" y="103"/>
                  </a:cubicBezTo>
                  <a:cubicBezTo>
                    <a:pt x="152" y="101"/>
                    <a:pt x="170" y="87"/>
                    <a:pt x="185" y="85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78"/>
                    <a:pt x="202" y="77"/>
                    <a:pt x="202" y="75"/>
                  </a:cubicBezTo>
                  <a:cubicBezTo>
                    <a:pt x="201" y="71"/>
                    <a:pt x="194" y="69"/>
                    <a:pt x="186" y="71"/>
                  </a:cubicBezTo>
                  <a:cubicBezTo>
                    <a:pt x="174" y="74"/>
                    <a:pt x="161" y="75"/>
                    <a:pt x="154" y="78"/>
                  </a:cubicBezTo>
                  <a:cubicBezTo>
                    <a:pt x="153" y="67"/>
                    <a:pt x="163" y="44"/>
                    <a:pt x="162" y="31"/>
                  </a:cubicBezTo>
                  <a:cubicBezTo>
                    <a:pt x="157" y="0"/>
                    <a:pt x="122" y="34"/>
                    <a:pt x="118" y="37"/>
                  </a:cubicBezTo>
                  <a:cubicBezTo>
                    <a:pt x="121" y="29"/>
                    <a:pt x="122" y="21"/>
                    <a:pt x="121" y="13"/>
                  </a:cubicBezTo>
                  <a:cubicBezTo>
                    <a:pt x="117" y="9"/>
                    <a:pt x="114" y="6"/>
                    <a:pt x="107" y="7"/>
                  </a:cubicBezTo>
                  <a:cubicBezTo>
                    <a:pt x="105" y="7"/>
                    <a:pt x="106" y="8"/>
                    <a:pt x="102" y="10"/>
                  </a:cubicBezTo>
                  <a:cubicBezTo>
                    <a:pt x="104" y="19"/>
                    <a:pt x="106" y="14"/>
                    <a:pt x="107" y="20"/>
                  </a:cubicBezTo>
                  <a:cubicBezTo>
                    <a:pt x="108" y="27"/>
                    <a:pt x="102" y="32"/>
                    <a:pt x="103" y="4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6" y="59"/>
                    <a:pt x="110" y="54"/>
                    <a:pt x="105" y="66"/>
                  </a:cubicBezTo>
                  <a:cubicBezTo>
                    <a:pt x="102" y="72"/>
                    <a:pt x="101" y="79"/>
                    <a:pt x="99" y="85"/>
                  </a:cubicBezTo>
                  <a:cubicBezTo>
                    <a:pt x="100" y="88"/>
                    <a:pt x="100" y="88"/>
                    <a:pt x="101" y="91"/>
                  </a:cubicBezTo>
                  <a:cubicBezTo>
                    <a:pt x="101" y="95"/>
                    <a:pt x="101" y="95"/>
                    <a:pt x="101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102"/>
                    <a:pt x="105" y="103"/>
                    <a:pt x="101" y="104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93" y="91"/>
                    <a:pt x="88" y="73"/>
                    <a:pt x="83" y="62"/>
                  </a:cubicBezTo>
                  <a:cubicBezTo>
                    <a:pt x="81" y="56"/>
                    <a:pt x="79" y="48"/>
                    <a:pt x="77" y="40"/>
                  </a:cubicBezTo>
                  <a:cubicBezTo>
                    <a:pt x="74" y="31"/>
                    <a:pt x="77" y="22"/>
                    <a:pt x="69" y="22"/>
                  </a:cubicBezTo>
                  <a:cubicBezTo>
                    <a:pt x="69" y="37"/>
                    <a:pt x="72" y="53"/>
                    <a:pt x="76" y="67"/>
                  </a:cubicBezTo>
                  <a:cubicBezTo>
                    <a:pt x="77" y="73"/>
                    <a:pt x="78" y="79"/>
                    <a:pt x="80" y="85"/>
                  </a:cubicBezTo>
                  <a:cubicBezTo>
                    <a:pt x="79" y="88"/>
                    <a:pt x="76" y="95"/>
                    <a:pt x="72" y="95"/>
                  </a:cubicBezTo>
                  <a:cubicBezTo>
                    <a:pt x="69" y="96"/>
                    <a:pt x="53" y="62"/>
                    <a:pt x="46" y="63"/>
                  </a:cubicBezTo>
                  <a:cubicBezTo>
                    <a:pt x="39" y="64"/>
                    <a:pt x="38" y="67"/>
                    <a:pt x="37" y="72"/>
                  </a:cubicBezTo>
                  <a:cubicBezTo>
                    <a:pt x="48" y="74"/>
                    <a:pt x="53" y="81"/>
                    <a:pt x="59" y="90"/>
                  </a:cubicBezTo>
                  <a:cubicBezTo>
                    <a:pt x="60" y="93"/>
                    <a:pt x="65" y="103"/>
                    <a:pt x="68" y="109"/>
                  </a:cubicBezTo>
                  <a:cubicBezTo>
                    <a:pt x="70" y="111"/>
                    <a:pt x="73" y="115"/>
                    <a:pt x="73" y="117"/>
                  </a:cubicBezTo>
                  <a:cubicBezTo>
                    <a:pt x="68" y="120"/>
                    <a:pt x="58" y="122"/>
                    <a:pt x="50" y="125"/>
                  </a:cubicBezTo>
                  <a:cubicBezTo>
                    <a:pt x="39" y="129"/>
                    <a:pt x="37" y="134"/>
                    <a:pt x="30" y="137"/>
                  </a:cubicBezTo>
                  <a:cubicBezTo>
                    <a:pt x="31" y="124"/>
                    <a:pt x="34" y="110"/>
                    <a:pt x="49" y="107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5" y="102"/>
                    <a:pt x="50" y="103"/>
                    <a:pt x="44" y="104"/>
                  </a:cubicBezTo>
                  <a:cubicBezTo>
                    <a:pt x="34" y="105"/>
                    <a:pt x="32" y="109"/>
                    <a:pt x="25" y="117"/>
                  </a:cubicBezTo>
                  <a:cubicBezTo>
                    <a:pt x="21" y="123"/>
                    <a:pt x="20" y="126"/>
                    <a:pt x="16" y="131"/>
                  </a:cubicBezTo>
                  <a:cubicBezTo>
                    <a:pt x="9" y="142"/>
                    <a:pt x="5" y="149"/>
                    <a:pt x="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8" name="任意多边形: 形状 197">
              <a:extLst>
                <a:ext uri="{FF2B5EF4-FFF2-40B4-BE49-F238E27FC236}">
                  <a16:creationId xmlns:a16="http://schemas.microsoft.com/office/drawing/2014/main" id="{B27D3099-FAAF-4FF2-8C75-643FD305C8B3}"/>
                </a:ext>
              </a:extLst>
            </p:cNvPr>
            <p:cNvSpPr/>
            <p:nvPr/>
          </p:nvSpPr>
          <p:spPr bwMode="auto">
            <a:xfrm>
              <a:off x="3011488" y="4102100"/>
              <a:ext cx="293688" cy="95250"/>
            </a:xfrm>
            <a:custGeom>
              <a:avLst/>
              <a:gdLst>
                <a:gd name="T0" fmla="*/ 0 w 380"/>
                <a:gd name="T1" fmla="*/ 44 h 124"/>
                <a:gd name="T2" fmla="*/ 27 w 380"/>
                <a:gd name="T3" fmla="*/ 29 h 124"/>
                <a:gd name="T4" fmla="*/ 27 w 380"/>
                <a:gd name="T5" fmla="*/ 122 h 124"/>
                <a:gd name="T6" fmla="*/ 53 w 380"/>
                <a:gd name="T7" fmla="*/ 122 h 124"/>
                <a:gd name="T8" fmla="*/ 53 w 380"/>
                <a:gd name="T9" fmla="*/ 3 h 124"/>
                <a:gd name="T10" fmla="*/ 29 w 380"/>
                <a:gd name="T11" fmla="*/ 3 h 124"/>
                <a:gd name="T12" fmla="*/ 0 w 380"/>
                <a:gd name="T13" fmla="*/ 20 h 124"/>
                <a:gd name="T14" fmla="*/ 0 w 380"/>
                <a:gd name="T15" fmla="*/ 44 h 124"/>
                <a:gd name="T16" fmla="*/ 92 w 380"/>
                <a:gd name="T17" fmla="*/ 92 h 124"/>
                <a:gd name="T18" fmla="*/ 131 w 380"/>
                <a:gd name="T19" fmla="*/ 123 h 124"/>
                <a:gd name="T20" fmla="*/ 165 w 380"/>
                <a:gd name="T21" fmla="*/ 107 h 124"/>
                <a:gd name="T22" fmla="*/ 174 w 380"/>
                <a:gd name="T23" fmla="*/ 53 h 124"/>
                <a:gd name="T24" fmla="*/ 132 w 380"/>
                <a:gd name="T25" fmla="*/ 0 h 124"/>
                <a:gd name="T26" fmla="*/ 90 w 380"/>
                <a:gd name="T27" fmla="*/ 41 h 124"/>
                <a:gd name="T28" fmla="*/ 125 w 380"/>
                <a:gd name="T29" fmla="*/ 77 h 124"/>
                <a:gd name="T30" fmla="*/ 148 w 380"/>
                <a:gd name="T31" fmla="*/ 69 h 124"/>
                <a:gd name="T32" fmla="*/ 130 w 380"/>
                <a:gd name="T33" fmla="*/ 107 h 124"/>
                <a:gd name="T34" fmla="*/ 118 w 380"/>
                <a:gd name="T35" fmla="*/ 92 h 124"/>
                <a:gd name="T36" fmla="*/ 92 w 380"/>
                <a:gd name="T37" fmla="*/ 92 h 124"/>
                <a:gd name="T38" fmla="*/ 116 w 380"/>
                <a:gd name="T39" fmla="*/ 39 h 124"/>
                <a:gd name="T40" fmla="*/ 133 w 380"/>
                <a:gd name="T41" fmla="*/ 18 h 124"/>
                <a:gd name="T42" fmla="*/ 148 w 380"/>
                <a:gd name="T43" fmla="*/ 39 h 124"/>
                <a:gd name="T44" fmla="*/ 133 w 380"/>
                <a:gd name="T45" fmla="*/ 59 h 124"/>
                <a:gd name="T46" fmla="*/ 116 w 380"/>
                <a:gd name="T47" fmla="*/ 39 h 124"/>
                <a:gd name="T48" fmla="*/ 194 w 380"/>
                <a:gd name="T49" fmla="*/ 89 h 124"/>
                <a:gd name="T50" fmla="*/ 233 w 380"/>
                <a:gd name="T51" fmla="*/ 123 h 124"/>
                <a:gd name="T52" fmla="*/ 275 w 380"/>
                <a:gd name="T53" fmla="*/ 92 h 124"/>
                <a:gd name="T54" fmla="*/ 252 w 380"/>
                <a:gd name="T55" fmla="*/ 60 h 124"/>
                <a:gd name="T56" fmla="*/ 252 w 380"/>
                <a:gd name="T57" fmla="*/ 60 h 124"/>
                <a:gd name="T58" fmla="*/ 274 w 380"/>
                <a:gd name="T59" fmla="*/ 31 h 124"/>
                <a:gd name="T60" fmla="*/ 234 w 380"/>
                <a:gd name="T61" fmla="*/ 0 h 124"/>
                <a:gd name="T62" fmla="*/ 195 w 380"/>
                <a:gd name="T63" fmla="*/ 34 h 124"/>
                <a:gd name="T64" fmla="*/ 221 w 380"/>
                <a:gd name="T65" fmla="*/ 34 h 124"/>
                <a:gd name="T66" fmla="*/ 234 w 380"/>
                <a:gd name="T67" fmla="*/ 18 h 124"/>
                <a:gd name="T68" fmla="*/ 249 w 380"/>
                <a:gd name="T69" fmla="*/ 34 h 124"/>
                <a:gd name="T70" fmla="*/ 221 w 380"/>
                <a:gd name="T71" fmla="*/ 53 h 124"/>
                <a:gd name="T72" fmla="*/ 221 w 380"/>
                <a:gd name="T73" fmla="*/ 69 h 124"/>
                <a:gd name="T74" fmla="*/ 249 w 380"/>
                <a:gd name="T75" fmla="*/ 89 h 124"/>
                <a:gd name="T76" fmla="*/ 234 w 380"/>
                <a:gd name="T77" fmla="*/ 107 h 124"/>
                <a:gd name="T78" fmla="*/ 219 w 380"/>
                <a:gd name="T79" fmla="*/ 89 h 124"/>
                <a:gd name="T80" fmla="*/ 194 w 380"/>
                <a:gd name="T81" fmla="*/ 89 h 124"/>
                <a:gd name="T82" fmla="*/ 296 w 380"/>
                <a:gd name="T83" fmla="*/ 122 h 124"/>
                <a:gd name="T84" fmla="*/ 379 w 380"/>
                <a:gd name="T85" fmla="*/ 122 h 124"/>
                <a:gd name="T86" fmla="*/ 379 w 380"/>
                <a:gd name="T87" fmla="*/ 104 h 124"/>
                <a:gd name="T88" fmla="*/ 322 w 380"/>
                <a:gd name="T89" fmla="*/ 104 h 124"/>
                <a:gd name="T90" fmla="*/ 322 w 380"/>
                <a:gd name="T91" fmla="*/ 104 h 124"/>
                <a:gd name="T92" fmla="*/ 340 w 380"/>
                <a:gd name="T93" fmla="*/ 87 h 124"/>
                <a:gd name="T94" fmla="*/ 379 w 380"/>
                <a:gd name="T95" fmla="*/ 34 h 124"/>
                <a:gd name="T96" fmla="*/ 339 w 380"/>
                <a:gd name="T97" fmla="*/ 0 h 124"/>
                <a:gd name="T98" fmla="*/ 298 w 380"/>
                <a:gd name="T99" fmla="*/ 36 h 124"/>
                <a:gd name="T100" fmla="*/ 324 w 380"/>
                <a:gd name="T101" fmla="*/ 36 h 124"/>
                <a:gd name="T102" fmla="*/ 339 w 380"/>
                <a:gd name="T103" fmla="*/ 18 h 124"/>
                <a:gd name="T104" fmla="*/ 353 w 380"/>
                <a:gd name="T105" fmla="*/ 33 h 124"/>
                <a:gd name="T106" fmla="*/ 310 w 380"/>
                <a:gd name="T107" fmla="*/ 85 h 124"/>
                <a:gd name="T108" fmla="*/ 296 w 380"/>
                <a:gd name="T109" fmla="*/ 98 h 124"/>
                <a:gd name="T110" fmla="*/ 296 w 380"/>
                <a:gd name="T111" fmla="*/ 1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124">
                  <a:moveTo>
                    <a:pt x="0" y="44"/>
                  </a:moveTo>
                  <a:cubicBezTo>
                    <a:pt x="10" y="40"/>
                    <a:pt x="19" y="35"/>
                    <a:pt x="27" y="29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0" y="10"/>
                    <a:pt x="10" y="16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lose/>
                  <a:moveTo>
                    <a:pt x="92" y="92"/>
                  </a:moveTo>
                  <a:cubicBezTo>
                    <a:pt x="93" y="113"/>
                    <a:pt x="105" y="124"/>
                    <a:pt x="131" y="123"/>
                  </a:cubicBezTo>
                  <a:cubicBezTo>
                    <a:pt x="146" y="123"/>
                    <a:pt x="157" y="118"/>
                    <a:pt x="165" y="107"/>
                  </a:cubicBezTo>
                  <a:cubicBezTo>
                    <a:pt x="171" y="97"/>
                    <a:pt x="174" y="79"/>
                    <a:pt x="174" y="53"/>
                  </a:cubicBezTo>
                  <a:cubicBezTo>
                    <a:pt x="174" y="18"/>
                    <a:pt x="160" y="0"/>
                    <a:pt x="132" y="0"/>
                  </a:cubicBezTo>
                  <a:cubicBezTo>
                    <a:pt x="106" y="2"/>
                    <a:pt x="92" y="16"/>
                    <a:pt x="90" y="41"/>
                  </a:cubicBezTo>
                  <a:cubicBezTo>
                    <a:pt x="92" y="63"/>
                    <a:pt x="104" y="75"/>
                    <a:pt x="125" y="77"/>
                  </a:cubicBezTo>
                  <a:cubicBezTo>
                    <a:pt x="134" y="77"/>
                    <a:pt x="141" y="75"/>
                    <a:pt x="148" y="69"/>
                  </a:cubicBezTo>
                  <a:cubicBezTo>
                    <a:pt x="149" y="94"/>
                    <a:pt x="143" y="107"/>
                    <a:pt x="130" y="107"/>
                  </a:cubicBezTo>
                  <a:cubicBezTo>
                    <a:pt x="124" y="107"/>
                    <a:pt x="120" y="102"/>
                    <a:pt x="118" y="92"/>
                  </a:cubicBezTo>
                  <a:cubicBezTo>
                    <a:pt x="92" y="92"/>
                    <a:pt x="92" y="92"/>
                    <a:pt x="92" y="92"/>
                  </a:cubicBezTo>
                  <a:close/>
                  <a:moveTo>
                    <a:pt x="116" y="39"/>
                  </a:moveTo>
                  <a:cubicBezTo>
                    <a:pt x="116" y="25"/>
                    <a:pt x="122" y="18"/>
                    <a:pt x="133" y="18"/>
                  </a:cubicBezTo>
                  <a:cubicBezTo>
                    <a:pt x="143" y="18"/>
                    <a:pt x="148" y="25"/>
                    <a:pt x="148" y="39"/>
                  </a:cubicBezTo>
                  <a:cubicBezTo>
                    <a:pt x="148" y="52"/>
                    <a:pt x="143" y="59"/>
                    <a:pt x="133" y="59"/>
                  </a:cubicBezTo>
                  <a:cubicBezTo>
                    <a:pt x="122" y="59"/>
                    <a:pt x="116" y="53"/>
                    <a:pt x="116" y="39"/>
                  </a:cubicBezTo>
                  <a:close/>
                  <a:moveTo>
                    <a:pt x="194" y="89"/>
                  </a:moveTo>
                  <a:cubicBezTo>
                    <a:pt x="194" y="112"/>
                    <a:pt x="207" y="123"/>
                    <a:pt x="233" y="123"/>
                  </a:cubicBezTo>
                  <a:cubicBezTo>
                    <a:pt x="259" y="121"/>
                    <a:pt x="272" y="111"/>
                    <a:pt x="275" y="92"/>
                  </a:cubicBezTo>
                  <a:cubicBezTo>
                    <a:pt x="275" y="75"/>
                    <a:pt x="267" y="65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66" y="56"/>
                    <a:pt x="273" y="47"/>
                    <a:pt x="274" y="31"/>
                  </a:cubicBezTo>
                  <a:cubicBezTo>
                    <a:pt x="272" y="13"/>
                    <a:pt x="259" y="3"/>
                    <a:pt x="234" y="0"/>
                  </a:cubicBezTo>
                  <a:cubicBezTo>
                    <a:pt x="209" y="1"/>
                    <a:pt x="196" y="12"/>
                    <a:pt x="195" y="3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2" y="25"/>
                    <a:pt x="227" y="19"/>
                    <a:pt x="234" y="18"/>
                  </a:cubicBezTo>
                  <a:cubicBezTo>
                    <a:pt x="244" y="18"/>
                    <a:pt x="248" y="24"/>
                    <a:pt x="249" y="34"/>
                  </a:cubicBezTo>
                  <a:cubicBezTo>
                    <a:pt x="249" y="46"/>
                    <a:pt x="240" y="52"/>
                    <a:pt x="221" y="53"/>
                  </a:cubicBezTo>
                  <a:cubicBezTo>
                    <a:pt x="221" y="69"/>
                    <a:pt x="221" y="69"/>
                    <a:pt x="221" y="69"/>
                  </a:cubicBezTo>
                  <a:cubicBezTo>
                    <a:pt x="239" y="69"/>
                    <a:pt x="248" y="75"/>
                    <a:pt x="249" y="89"/>
                  </a:cubicBezTo>
                  <a:cubicBezTo>
                    <a:pt x="248" y="100"/>
                    <a:pt x="243" y="106"/>
                    <a:pt x="234" y="107"/>
                  </a:cubicBezTo>
                  <a:cubicBezTo>
                    <a:pt x="225" y="106"/>
                    <a:pt x="220" y="100"/>
                    <a:pt x="219" y="89"/>
                  </a:cubicBezTo>
                  <a:cubicBezTo>
                    <a:pt x="194" y="89"/>
                    <a:pt x="194" y="89"/>
                    <a:pt x="194" y="89"/>
                  </a:cubicBezTo>
                  <a:close/>
                  <a:moveTo>
                    <a:pt x="296" y="122"/>
                  </a:moveTo>
                  <a:cubicBezTo>
                    <a:pt x="379" y="122"/>
                    <a:pt x="379" y="122"/>
                    <a:pt x="379" y="122"/>
                  </a:cubicBezTo>
                  <a:cubicBezTo>
                    <a:pt x="379" y="104"/>
                    <a:pt x="379" y="104"/>
                    <a:pt x="379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5" y="101"/>
                    <a:pt x="331" y="95"/>
                    <a:pt x="340" y="87"/>
                  </a:cubicBezTo>
                  <a:cubicBezTo>
                    <a:pt x="367" y="66"/>
                    <a:pt x="380" y="48"/>
                    <a:pt x="379" y="34"/>
                  </a:cubicBezTo>
                  <a:cubicBezTo>
                    <a:pt x="378" y="13"/>
                    <a:pt x="364" y="2"/>
                    <a:pt x="339" y="0"/>
                  </a:cubicBezTo>
                  <a:cubicBezTo>
                    <a:pt x="312" y="1"/>
                    <a:pt x="299" y="13"/>
                    <a:pt x="298" y="36"/>
                  </a:cubicBezTo>
                  <a:cubicBezTo>
                    <a:pt x="324" y="36"/>
                    <a:pt x="324" y="36"/>
                    <a:pt x="324" y="36"/>
                  </a:cubicBezTo>
                  <a:cubicBezTo>
                    <a:pt x="325" y="25"/>
                    <a:pt x="330" y="19"/>
                    <a:pt x="339" y="18"/>
                  </a:cubicBezTo>
                  <a:cubicBezTo>
                    <a:pt x="347" y="18"/>
                    <a:pt x="352" y="23"/>
                    <a:pt x="353" y="33"/>
                  </a:cubicBezTo>
                  <a:cubicBezTo>
                    <a:pt x="353" y="43"/>
                    <a:pt x="339" y="60"/>
                    <a:pt x="310" y="85"/>
                  </a:cubicBezTo>
                  <a:cubicBezTo>
                    <a:pt x="303" y="91"/>
                    <a:pt x="298" y="95"/>
                    <a:pt x="296" y="98"/>
                  </a:cubicBezTo>
                  <a:lnTo>
                    <a:pt x="296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  <p:sp>
          <p:nvSpPr>
            <p:cNvPr id="199" name="任意多边形: 形状 198">
              <a:extLst>
                <a:ext uri="{FF2B5EF4-FFF2-40B4-BE49-F238E27FC236}">
                  <a16:creationId xmlns:a16="http://schemas.microsoft.com/office/drawing/2014/main" id="{B9D43190-2CD6-4553-B54E-ACDDF86E37AE}"/>
                </a:ext>
              </a:extLst>
            </p:cNvPr>
            <p:cNvSpPr/>
            <p:nvPr/>
          </p:nvSpPr>
          <p:spPr bwMode="auto">
            <a:xfrm>
              <a:off x="2246313" y="2511425"/>
              <a:ext cx="1822450" cy="1835150"/>
            </a:xfrm>
            <a:custGeom>
              <a:avLst/>
              <a:gdLst>
                <a:gd name="T0" fmla="*/ 1288 w 2348"/>
                <a:gd name="T1" fmla="*/ 1573 h 2365"/>
                <a:gd name="T2" fmla="*/ 1403 w 2348"/>
                <a:gd name="T3" fmla="*/ 1374 h 2365"/>
                <a:gd name="T4" fmla="*/ 1322 w 2348"/>
                <a:gd name="T5" fmla="*/ 725 h 2365"/>
                <a:gd name="T6" fmla="*/ 958 w 2348"/>
                <a:gd name="T7" fmla="*/ 1374 h 2365"/>
                <a:gd name="T8" fmla="*/ 1072 w 2348"/>
                <a:gd name="T9" fmla="*/ 1575 h 2365"/>
                <a:gd name="T10" fmla="*/ 1245 w 2348"/>
                <a:gd name="T11" fmla="*/ 1925 h 2365"/>
                <a:gd name="T12" fmla="*/ 1389 w 2348"/>
                <a:gd name="T13" fmla="*/ 1953 h 2365"/>
                <a:gd name="T14" fmla="*/ 958 w 2348"/>
                <a:gd name="T15" fmla="*/ 1893 h 2365"/>
                <a:gd name="T16" fmla="*/ 1270 w 2348"/>
                <a:gd name="T17" fmla="*/ 1937 h 2365"/>
                <a:gd name="T18" fmla="*/ 1415 w 2348"/>
                <a:gd name="T19" fmla="*/ 1829 h 2365"/>
                <a:gd name="T20" fmla="*/ 1194 w 2348"/>
                <a:gd name="T21" fmla="*/ 1876 h 2365"/>
                <a:gd name="T22" fmla="*/ 1098 w 2348"/>
                <a:gd name="T23" fmla="*/ 1796 h 2365"/>
                <a:gd name="T24" fmla="*/ 1200 w 2348"/>
                <a:gd name="T25" fmla="*/ 1803 h 2365"/>
                <a:gd name="T26" fmla="*/ 756 w 2348"/>
                <a:gd name="T27" fmla="*/ 1820 h 2365"/>
                <a:gd name="T28" fmla="*/ 446 w 2348"/>
                <a:gd name="T29" fmla="*/ 1811 h 2365"/>
                <a:gd name="T30" fmla="*/ 518 w 2348"/>
                <a:gd name="T31" fmla="*/ 1811 h 2365"/>
                <a:gd name="T32" fmla="*/ 582 w 2348"/>
                <a:gd name="T33" fmla="*/ 1766 h 2365"/>
                <a:gd name="T34" fmla="*/ 639 w 2348"/>
                <a:gd name="T35" fmla="*/ 1766 h 2365"/>
                <a:gd name="T36" fmla="*/ 704 w 2348"/>
                <a:gd name="T37" fmla="*/ 1811 h 2365"/>
                <a:gd name="T38" fmla="*/ 781 w 2348"/>
                <a:gd name="T39" fmla="*/ 1811 h 2365"/>
                <a:gd name="T40" fmla="*/ 1179 w 2348"/>
                <a:gd name="T41" fmla="*/ 377 h 2365"/>
                <a:gd name="T42" fmla="*/ 316 w 2348"/>
                <a:gd name="T43" fmla="*/ 1522 h 2365"/>
                <a:gd name="T44" fmla="*/ 2003 w 2348"/>
                <a:gd name="T45" fmla="*/ 1581 h 2365"/>
                <a:gd name="T46" fmla="*/ 1546 w 2348"/>
                <a:gd name="T47" fmla="*/ 1766 h 2365"/>
                <a:gd name="T48" fmla="*/ 1611 w 2348"/>
                <a:gd name="T49" fmla="*/ 1811 h 2365"/>
                <a:gd name="T50" fmla="*/ 1688 w 2348"/>
                <a:gd name="T51" fmla="*/ 1811 h 2365"/>
                <a:gd name="T52" fmla="*/ 1760 w 2348"/>
                <a:gd name="T53" fmla="*/ 1811 h 2365"/>
                <a:gd name="T54" fmla="*/ 1824 w 2348"/>
                <a:gd name="T55" fmla="*/ 1766 h 2365"/>
                <a:gd name="T56" fmla="*/ 1881 w 2348"/>
                <a:gd name="T57" fmla="*/ 1687 h 2365"/>
                <a:gd name="T58" fmla="*/ 1946 w 2348"/>
                <a:gd name="T59" fmla="*/ 1811 h 2365"/>
                <a:gd name="T60" fmla="*/ 1121 w 2348"/>
                <a:gd name="T61" fmla="*/ 1909 h 2365"/>
                <a:gd name="T62" fmla="*/ 951 w 2348"/>
                <a:gd name="T63" fmla="*/ 1832 h 2365"/>
                <a:gd name="T64" fmla="*/ 1121 w 2348"/>
                <a:gd name="T65" fmla="*/ 1856 h 2365"/>
                <a:gd name="T66" fmla="*/ 1121 w 2348"/>
                <a:gd name="T67" fmla="*/ 1803 h 2365"/>
                <a:gd name="T68" fmla="*/ 2082 w 2348"/>
                <a:gd name="T69" fmla="*/ 1622 h 2365"/>
                <a:gd name="T70" fmla="*/ 358 w 2348"/>
                <a:gd name="T71" fmla="*/ 1731 h 2365"/>
                <a:gd name="T72" fmla="*/ 917 w 2348"/>
                <a:gd name="T73" fmla="*/ 1797 h 2365"/>
                <a:gd name="T74" fmla="*/ 1452 w 2348"/>
                <a:gd name="T75" fmla="*/ 1259 h 2365"/>
                <a:gd name="T76" fmla="*/ 1911 w 2348"/>
                <a:gd name="T77" fmla="*/ 1358 h 2365"/>
                <a:gd name="T78" fmla="*/ 1830 w 2348"/>
                <a:gd name="T79" fmla="*/ 1126 h 2365"/>
                <a:gd name="T80" fmla="*/ 1162 w 2348"/>
                <a:gd name="T81" fmla="*/ 439 h 2365"/>
                <a:gd name="T82" fmla="*/ 677 w 2348"/>
                <a:gd name="T83" fmla="*/ 1183 h 2365"/>
                <a:gd name="T84" fmla="*/ 1195 w 2348"/>
                <a:gd name="T85" fmla="*/ 503 h 2365"/>
                <a:gd name="T86" fmla="*/ 386 w 2348"/>
                <a:gd name="T87" fmla="*/ 1302 h 2365"/>
                <a:gd name="T88" fmla="*/ 525 w 2348"/>
                <a:gd name="T89" fmla="*/ 1544 h 2365"/>
                <a:gd name="T90" fmla="*/ 1318 w 2348"/>
                <a:gd name="T91" fmla="*/ 1534 h 2365"/>
                <a:gd name="T92" fmla="*/ 1318 w 2348"/>
                <a:gd name="T93" fmla="*/ 1588 h 2365"/>
                <a:gd name="T94" fmla="*/ 1365 w 2348"/>
                <a:gd name="T95" fmla="*/ 1649 h 2365"/>
                <a:gd name="T96" fmla="*/ 1365 w 2348"/>
                <a:gd name="T97" fmla="*/ 1721 h 2365"/>
                <a:gd name="T98" fmla="*/ 1518 w 2348"/>
                <a:gd name="T99" fmla="*/ 1547 h 2365"/>
                <a:gd name="T100" fmla="*/ 1471 w 2348"/>
                <a:gd name="T101" fmla="*/ 1605 h 2365"/>
                <a:gd name="T102" fmla="*/ 1471 w 2348"/>
                <a:gd name="T103" fmla="*/ 1661 h 2365"/>
                <a:gd name="T104" fmla="*/ 1518 w 2348"/>
                <a:gd name="T105" fmla="*/ 1721 h 2365"/>
                <a:gd name="T106" fmla="*/ 997 w 2348"/>
                <a:gd name="T107" fmla="*/ 1541 h 2365"/>
                <a:gd name="T108" fmla="*/ 1043 w 2348"/>
                <a:gd name="T109" fmla="*/ 1600 h 2365"/>
                <a:gd name="T110" fmla="*/ 1043 w 2348"/>
                <a:gd name="T111" fmla="*/ 1667 h 2365"/>
                <a:gd name="T112" fmla="*/ 997 w 2348"/>
                <a:gd name="T113" fmla="*/ 1726 h 2365"/>
                <a:gd name="T114" fmla="*/ 844 w 2348"/>
                <a:gd name="T115" fmla="*/ 1541 h 2365"/>
                <a:gd name="T116" fmla="*/ 844 w 2348"/>
                <a:gd name="T117" fmla="*/ 1612 h 2365"/>
                <a:gd name="T118" fmla="*/ 891 w 2348"/>
                <a:gd name="T119" fmla="*/ 1673 h 2365"/>
                <a:gd name="T120" fmla="*/ 891 w 2348"/>
                <a:gd name="T121" fmla="*/ 1738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8" h="2365">
                  <a:moveTo>
                    <a:pt x="842" y="1508"/>
                  </a:moveTo>
                  <a:cubicBezTo>
                    <a:pt x="916" y="1508"/>
                    <a:pt x="916" y="1508"/>
                    <a:pt x="916" y="1508"/>
                  </a:cubicBezTo>
                  <a:cubicBezTo>
                    <a:pt x="916" y="1529"/>
                    <a:pt x="916" y="1529"/>
                    <a:pt x="916" y="1529"/>
                  </a:cubicBezTo>
                  <a:cubicBezTo>
                    <a:pt x="971" y="1529"/>
                    <a:pt x="971" y="1529"/>
                    <a:pt x="971" y="1529"/>
                  </a:cubicBezTo>
                  <a:cubicBezTo>
                    <a:pt x="971" y="1508"/>
                    <a:pt x="971" y="1508"/>
                    <a:pt x="971" y="1508"/>
                  </a:cubicBezTo>
                  <a:cubicBezTo>
                    <a:pt x="1053" y="1508"/>
                    <a:pt x="1053" y="1508"/>
                    <a:pt x="1053" y="1508"/>
                  </a:cubicBezTo>
                  <a:cubicBezTo>
                    <a:pt x="1053" y="1797"/>
                    <a:pt x="1053" y="1797"/>
                    <a:pt x="1053" y="1797"/>
                  </a:cubicBezTo>
                  <a:cubicBezTo>
                    <a:pt x="1067" y="1797"/>
                    <a:pt x="1067" y="1797"/>
                    <a:pt x="1067" y="1797"/>
                  </a:cubicBezTo>
                  <a:cubicBezTo>
                    <a:pt x="1067" y="1580"/>
                    <a:pt x="1067" y="1580"/>
                    <a:pt x="1067" y="1580"/>
                  </a:cubicBezTo>
                  <a:cubicBezTo>
                    <a:pt x="1100" y="1545"/>
                    <a:pt x="1139" y="1518"/>
                    <a:pt x="1188" y="1518"/>
                  </a:cubicBezTo>
                  <a:cubicBezTo>
                    <a:pt x="1230" y="1519"/>
                    <a:pt x="1266" y="1548"/>
                    <a:pt x="1297" y="1583"/>
                  </a:cubicBezTo>
                  <a:cubicBezTo>
                    <a:pt x="1297" y="1797"/>
                    <a:pt x="1297" y="1797"/>
                    <a:pt x="1297" y="1797"/>
                  </a:cubicBezTo>
                  <a:cubicBezTo>
                    <a:pt x="1309" y="1797"/>
                    <a:pt x="1309" y="1797"/>
                    <a:pt x="1309" y="1797"/>
                  </a:cubicBezTo>
                  <a:cubicBezTo>
                    <a:pt x="1309" y="1508"/>
                    <a:pt x="1309" y="1508"/>
                    <a:pt x="1309" y="1508"/>
                  </a:cubicBezTo>
                  <a:cubicBezTo>
                    <a:pt x="1390" y="1508"/>
                    <a:pt x="1390" y="1508"/>
                    <a:pt x="1390" y="1508"/>
                  </a:cubicBezTo>
                  <a:cubicBezTo>
                    <a:pt x="1390" y="1529"/>
                    <a:pt x="1390" y="1529"/>
                    <a:pt x="1390" y="1529"/>
                  </a:cubicBezTo>
                  <a:cubicBezTo>
                    <a:pt x="1445" y="1529"/>
                    <a:pt x="1445" y="1529"/>
                    <a:pt x="1445" y="1529"/>
                  </a:cubicBezTo>
                  <a:cubicBezTo>
                    <a:pt x="1445" y="1508"/>
                    <a:pt x="1445" y="1508"/>
                    <a:pt x="1445" y="1508"/>
                  </a:cubicBezTo>
                  <a:cubicBezTo>
                    <a:pt x="1519" y="1508"/>
                    <a:pt x="1519" y="1508"/>
                    <a:pt x="1519" y="1508"/>
                  </a:cubicBezTo>
                  <a:cubicBezTo>
                    <a:pt x="1519" y="1487"/>
                    <a:pt x="1519" y="1487"/>
                    <a:pt x="1519" y="1487"/>
                  </a:cubicBezTo>
                  <a:cubicBezTo>
                    <a:pt x="1307" y="1487"/>
                    <a:pt x="1307" y="1487"/>
                    <a:pt x="1307" y="1487"/>
                  </a:cubicBezTo>
                  <a:cubicBezTo>
                    <a:pt x="1398" y="1399"/>
                    <a:pt x="1398" y="1399"/>
                    <a:pt x="1398" y="1399"/>
                  </a:cubicBezTo>
                  <a:cubicBezTo>
                    <a:pt x="1294" y="1399"/>
                    <a:pt x="1294" y="1399"/>
                    <a:pt x="1294" y="1399"/>
                  </a:cubicBezTo>
                  <a:cubicBezTo>
                    <a:pt x="1294" y="1576"/>
                    <a:pt x="1294" y="1576"/>
                    <a:pt x="1294" y="1576"/>
                  </a:cubicBezTo>
                  <a:cubicBezTo>
                    <a:pt x="1290" y="1576"/>
                    <a:pt x="1290" y="1576"/>
                    <a:pt x="1290" y="1576"/>
                  </a:cubicBezTo>
                  <a:cubicBezTo>
                    <a:pt x="1290" y="1575"/>
                    <a:pt x="1289" y="1574"/>
                    <a:pt x="1288" y="1573"/>
                  </a:cubicBezTo>
                  <a:cubicBezTo>
                    <a:pt x="1288" y="1485"/>
                    <a:pt x="1288" y="1485"/>
                    <a:pt x="1288" y="1485"/>
                  </a:cubicBezTo>
                  <a:cubicBezTo>
                    <a:pt x="1266" y="1485"/>
                    <a:pt x="1266" y="1485"/>
                    <a:pt x="1266" y="1485"/>
                  </a:cubicBezTo>
                  <a:cubicBezTo>
                    <a:pt x="1266" y="1552"/>
                    <a:pt x="1266" y="1552"/>
                    <a:pt x="1266" y="1552"/>
                  </a:cubicBezTo>
                  <a:cubicBezTo>
                    <a:pt x="1263" y="1550"/>
                    <a:pt x="1261" y="1548"/>
                    <a:pt x="1259" y="1546"/>
                  </a:cubicBezTo>
                  <a:cubicBezTo>
                    <a:pt x="1259" y="1485"/>
                    <a:pt x="1259" y="1485"/>
                    <a:pt x="1259" y="1485"/>
                  </a:cubicBezTo>
                  <a:cubicBezTo>
                    <a:pt x="1253" y="1485"/>
                    <a:pt x="1253" y="1485"/>
                    <a:pt x="1253" y="1485"/>
                  </a:cubicBezTo>
                  <a:cubicBezTo>
                    <a:pt x="1253" y="1542"/>
                    <a:pt x="1253" y="1542"/>
                    <a:pt x="1253" y="1542"/>
                  </a:cubicBezTo>
                  <a:cubicBezTo>
                    <a:pt x="1251" y="1541"/>
                    <a:pt x="1250" y="1540"/>
                    <a:pt x="1248" y="1538"/>
                  </a:cubicBezTo>
                  <a:cubicBezTo>
                    <a:pt x="1248" y="1485"/>
                    <a:pt x="1248" y="1485"/>
                    <a:pt x="1248" y="1485"/>
                  </a:cubicBezTo>
                  <a:cubicBezTo>
                    <a:pt x="1241" y="1485"/>
                    <a:pt x="1241" y="1485"/>
                    <a:pt x="1241" y="1485"/>
                  </a:cubicBezTo>
                  <a:cubicBezTo>
                    <a:pt x="1241" y="1534"/>
                    <a:pt x="1241" y="1534"/>
                    <a:pt x="1241" y="1534"/>
                  </a:cubicBezTo>
                  <a:cubicBezTo>
                    <a:pt x="1239" y="1533"/>
                    <a:pt x="1237" y="1532"/>
                    <a:pt x="1235" y="1531"/>
                  </a:cubicBezTo>
                  <a:cubicBezTo>
                    <a:pt x="1235" y="1399"/>
                    <a:pt x="1235" y="1399"/>
                    <a:pt x="1235" y="1399"/>
                  </a:cubicBezTo>
                  <a:cubicBezTo>
                    <a:pt x="1221" y="1399"/>
                    <a:pt x="1221" y="1399"/>
                    <a:pt x="1221" y="1399"/>
                  </a:cubicBezTo>
                  <a:cubicBezTo>
                    <a:pt x="1221" y="1524"/>
                    <a:pt x="1221" y="1524"/>
                    <a:pt x="1221" y="1524"/>
                  </a:cubicBezTo>
                  <a:cubicBezTo>
                    <a:pt x="1219" y="1523"/>
                    <a:pt x="1216" y="1523"/>
                    <a:pt x="1214" y="1522"/>
                  </a:cubicBezTo>
                  <a:cubicBezTo>
                    <a:pt x="1214" y="1382"/>
                    <a:pt x="1214" y="1382"/>
                    <a:pt x="1214" y="1382"/>
                  </a:cubicBezTo>
                  <a:cubicBezTo>
                    <a:pt x="1403" y="1382"/>
                    <a:pt x="1403" y="1382"/>
                    <a:pt x="1403" y="1382"/>
                  </a:cubicBezTo>
                  <a:cubicBezTo>
                    <a:pt x="1403" y="1377"/>
                    <a:pt x="1403" y="1377"/>
                    <a:pt x="1403" y="1377"/>
                  </a:cubicBezTo>
                  <a:cubicBezTo>
                    <a:pt x="1207" y="1377"/>
                    <a:pt x="1207" y="1377"/>
                    <a:pt x="1207" y="1377"/>
                  </a:cubicBezTo>
                  <a:cubicBezTo>
                    <a:pt x="1206" y="1520"/>
                    <a:pt x="1206" y="1520"/>
                    <a:pt x="1206" y="1520"/>
                  </a:cubicBezTo>
                  <a:cubicBezTo>
                    <a:pt x="1204" y="1519"/>
                    <a:pt x="1203" y="1519"/>
                    <a:pt x="1201" y="1519"/>
                  </a:cubicBezTo>
                  <a:cubicBezTo>
                    <a:pt x="1201" y="1370"/>
                    <a:pt x="1201" y="1370"/>
                    <a:pt x="1201" y="1370"/>
                  </a:cubicBezTo>
                  <a:cubicBezTo>
                    <a:pt x="1207" y="1370"/>
                    <a:pt x="1207" y="1370"/>
                    <a:pt x="1207" y="1370"/>
                  </a:cubicBezTo>
                  <a:cubicBezTo>
                    <a:pt x="1207" y="1374"/>
                    <a:pt x="1207" y="1374"/>
                    <a:pt x="1207" y="1374"/>
                  </a:cubicBezTo>
                  <a:cubicBezTo>
                    <a:pt x="1403" y="1374"/>
                    <a:pt x="1403" y="1374"/>
                    <a:pt x="1403" y="1374"/>
                  </a:cubicBezTo>
                  <a:cubicBezTo>
                    <a:pt x="1403" y="1369"/>
                    <a:pt x="1403" y="1369"/>
                    <a:pt x="1403" y="1369"/>
                  </a:cubicBezTo>
                  <a:cubicBezTo>
                    <a:pt x="1406" y="1369"/>
                    <a:pt x="1406" y="1369"/>
                    <a:pt x="1406" y="1369"/>
                  </a:cubicBezTo>
                  <a:cubicBezTo>
                    <a:pt x="1428" y="1418"/>
                    <a:pt x="1455" y="1438"/>
                    <a:pt x="1489" y="1438"/>
                  </a:cubicBezTo>
                  <a:cubicBezTo>
                    <a:pt x="1496" y="1438"/>
                    <a:pt x="1503" y="1437"/>
                    <a:pt x="1510" y="1436"/>
                  </a:cubicBezTo>
                  <a:cubicBezTo>
                    <a:pt x="1511" y="1393"/>
                    <a:pt x="1490" y="1347"/>
                    <a:pt x="1460" y="1316"/>
                  </a:cubicBezTo>
                  <a:cubicBezTo>
                    <a:pt x="1446" y="1338"/>
                    <a:pt x="1430" y="1354"/>
                    <a:pt x="1414" y="1363"/>
                  </a:cubicBezTo>
                  <a:cubicBezTo>
                    <a:pt x="1259" y="1363"/>
                    <a:pt x="1103" y="1363"/>
                    <a:pt x="948" y="1363"/>
                  </a:cubicBezTo>
                  <a:cubicBezTo>
                    <a:pt x="905" y="1335"/>
                    <a:pt x="891" y="1300"/>
                    <a:pt x="875" y="1267"/>
                  </a:cubicBezTo>
                  <a:cubicBezTo>
                    <a:pt x="926" y="1305"/>
                    <a:pt x="1021" y="1279"/>
                    <a:pt x="1004" y="1194"/>
                  </a:cubicBezTo>
                  <a:cubicBezTo>
                    <a:pt x="1012" y="1194"/>
                    <a:pt x="1020" y="1194"/>
                    <a:pt x="1028" y="1194"/>
                  </a:cubicBezTo>
                  <a:cubicBezTo>
                    <a:pt x="1031" y="1200"/>
                    <a:pt x="1035" y="1205"/>
                    <a:pt x="1038" y="1211"/>
                  </a:cubicBezTo>
                  <a:cubicBezTo>
                    <a:pt x="1045" y="1211"/>
                    <a:pt x="1051" y="1211"/>
                    <a:pt x="1058" y="1211"/>
                  </a:cubicBezTo>
                  <a:cubicBezTo>
                    <a:pt x="1061" y="1218"/>
                    <a:pt x="1064" y="1226"/>
                    <a:pt x="1067" y="1233"/>
                  </a:cubicBezTo>
                  <a:cubicBezTo>
                    <a:pt x="1144" y="1233"/>
                    <a:pt x="1221" y="1233"/>
                    <a:pt x="1297" y="1233"/>
                  </a:cubicBezTo>
                  <a:cubicBezTo>
                    <a:pt x="1301" y="1227"/>
                    <a:pt x="1305" y="1220"/>
                    <a:pt x="1308" y="1214"/>
                  </a:cubicBezTo>
                  <a:cubicBezTo>
                    <a:pt x="1314" y="1214"/>
                    <a:pt x="1321" y="1214"/>
                    <a:pt x="1327" y="1214"/>
                  </a:cubicBezTo>
                  <a:cubicBezTo>
                    <a:pt x="1328" y="1208"/>
                    <a:pt x="1330" y="1201"/>
                    <a:pt x="1332" y="1195"/>
                  </a:cubicBezTo>
                  <a:cubicBezTo>
                    <a:pt x="1344" y="1195"/>
                    <a:pt x="1356" y="1195"/>
                    <a:pt x="1369" y="1195"/>
                  </a:cubicBezTo>
                  <a:cubicBezTo>
                    <a:pt x="1361" y="1262"/>
                    <a:pt x="1394" y="1286"/>
                    <a:pt x="1437" y="1283"/>
                  </a:cubicBezTo>
                  <a:cubicBezTo>
                    <a:pt x="1433" y="1169"/>
                    <a:pt x="1423" y="1060"/>
                    <a:pt x="1407" y="956"/>
                  </a:cubicBezTo>
                  <a:cubicBezTo>
                    <a:pt x="1407" y="916"/>
                    <a:pt x="1394" y="893"/>
                    <a:pt x="1364" y="856"/>
                  </a:cubicBezTo>
                  <a:cubicBezTo>
                    <a:pt x="1363" y="857"/>
                    <a:pt x="1362" y="857"/>
                    <a:pt x="1362" y="857"/>
                  </a:cubicBezTo>
                  <a:cubicBezTo>
                    <a:pt x="1365" y="887"/>
                    <a:pt x="1369" y="918"/>
                    <a:pt x="1372" y="948"/>
                  </a:cubicBezTo>
                  <a:cubicBezTo>
                    <a:pt x="1365" y="957"/>
                    <a:pt x="1359" y="958"/>
                    <a:pt x="1354" y="950"/>
                  </a:cubicBezTo>
                  <a:cubicBezTo>
                    <a:pt x="1350" y="910"/>
                    <a:pt x="1346" y="869"/>
                    <a:pt x="1343" y="828"/>
                  </a:cubicBezTo>
                  <a:cubicBezTo>
                    <a:pt x="1339" y="792"/>
                    <a:pt x="1330" y="759"/>
                    <a:pt x="1322" y="725"/>
                  </a:cubicBezTo>
                  <a:cubicBezTo>
                    <a:pt x="1307" y="700"/>
                    <a:pt x="1294" y="688"/>
                    <a:pt x="1281" y="674"/>
                  </a:cubicBezTo>
                  <a:cubicBezTo>
                    <a:pt x="1283" y="697"/>
                    <a:pt x="1284" y="719"/>
                    <a:pt x="1286" y="742"/>
                  </a:cubicBezTo>
                  <a:cubicBezTo>
                    <a:pt x="1281" y="742"/>
                    <a:pt x="1277" y="742"/>
                    <a:pt x="1272" y="742"/>
                  </a:cubicBezTo>
                  <a:cubicBezTo>
                    <a:pt x="1267" y="695"/>
                    <a:pt x="1263" y="647"/>
                    <a:pt x="1259" y="600"/>
                  </a:cubicBezTo>
                  <a:cubicBezTo>
                    <a:pt x="1251" y="568"/>
                    <a:pt x="1244" y="546"/>
                    <a:pt x="1227" y="547"/>
                  </a:cubicBezTo>
                  <a:cubicBezTo>
                    <a:pt x="1154" y="559"/>
                    <a:pt x="1120" y="584"/>
                    <a:pt x="1071" y="604"/>
                  </a:cubicBezTo>
                  <a:cubicBezTo>
                    <a:pt x="1040" y="618"/>
                    <a:pt x="1015" y="639"/>
                    <a:pt x="997" y="672"/>
                  </a:cubicBezTo>
                  <a:cubicBezTo>
                    <a:pt x="994" y="702"/>
                    <a:pt x="991" y="732"/>
                    <a:pt x="988" y="763"/>
                  </a:cubicBezTo>
                  <a:cubicBezTo>
                    <a:pt x="979" y="784"/>
                    <a:pt x="969" y="806"/>
                    <a:pt x="959" y="827"/>
                  </a:cubicBezTo>
                  <a:cubicBezTo>
                    <a:pt x="958" y="879"/>
                    <a:pt x="957" y="931"/>
                    <a:pt x="956" y="983"/>
                  </a:cubicBezTo>
                  <a:cubicBezTo>
                    <a:pt x="951" y="984"/>
                    <a:pt x="946" y="985"/>
                    <a:pt x="941" y="986"/>
                  </a:cubicBezTo>
                  <a:cubicBezTo>
                    <a:pt x="942" y="937"/>
                    <a:pt x="943" y="888"/>
                    <a:pt x="944" y="839"/>
                  </a:cubicBezTo>
                  <a:cubicBezTo>
                    <a:pt x="944" y="812"/>
                    <a:pt x="955" y="785"/>
                    <a:pt x="972" y="759"/>
                  </a:cubicBezTo>
                  <a:cubicBezTo>
                    <a:pt x="973" y="745"/>
                    <a:pt x="975" y="731"/>
                    <a:pt x="977" y="718"/>
                  </a:cubicBezTo>
                  <a:cubicBezTo>
                    <a:pt x="974" y="718"/>
                    <a:pt x="971" y="718"/>
                    <a:pt x="968" y="718"/>
                  </a:cubicBezTo>
                  <a:cubicBezTo>
                    <a:pt x="955" y="728"/>
                    <a:pt x="946" y="739"/>
                    <a:pt x="940" y="749"/>
                  </a:cubicBezTo>
                  <a:cubicBezTo>
                    <a:pt x="934" y="778"/>
                    <a:pt x="927" y="807"/>
                    <a:pt x="925" y="836"/>
                  </a:cubicBezTo>
                  <a:cubicBezTo>
                    <a:pt x="931" y="914"/>
                    <a:pt x="887" y="1024"/>
                    <a:pt x="911" y="1120"/>
                  </a:cubicBezTo>
                  <a:cubicBezTo>
                    <a:pt x="894" y="1120"/>
                    <a:pt x="894" y="1120"/>
                    <a:pt x="894" y="1120"/>
                  </a:cubicBezTo>
                  <a:cubicBezTo>
                    <a:pt x="879" y="1061"/>
                    <a:pt x="892" y="966"/>
                    <a:pt x="909" y="857"/>
                  </a:cubicBezTo>
                  <a:cubicBezTo>
                    <a:pt x="884" y="875"/>
                    <a:pt x="864" y="911"/>
                    <a:pt x="864" y="988"/>
                  </a:cubicBezTo>
                  <a:cubicBezTo>
                    <a:pt x="843" y="1435"/>
                    <a:pt x="843" y="1435"/>
                    <a:pt x="843" y="1435"/>
                  </a:cubicBezTo>
                  <a:cubicBezTo>
                    <a:pt x="852" y="1437"/>
                    <a:pt x="861" y="1438"/>
                    <a:pt x="872" y="1438"/>
                  </a:cubicBezTo>
                  <a:cubicBezTo>
                    <a:pt x="905" y="1438"/>
                    <a:pt x="932" y="1418"/>
                    <a:pt x="955" y="1369"/>
                  </a:cubicBezTo>
                  <a:cubicBezTo>
                    <a:pt x="958" y="1369"/>
                    <a:pt x="958" y="1369"/>
                    <a:pt x="958" y="1369"/>
                  </a:cubicBezTo>
                  <a:cubicBezTo>
                    <a:pt x="958" y="1374"/>
                    <a:pt x="958" y="1374"/>
                    <a:pt x="958" y="1374"/>
                  </a:cubicBezTo>
                  <a:cubicBezTo>
                    <a:pt x="1154" y="1374"/>
                    <a:pt x="1154" y="1374"/>
                    <a:pt x="1154" y="1374"/>
                  </a:cubicBezTo>
                  <a:cubicBezTo>
                    <a:pt x="1154" y="1370"/>
                    <a:pt x="1154" y="1370"/>
                    <a:pt x="1154" y="1370"/>
                  </a:cubicBezTo>
                  <a:cubicBezTo>
                    <a:pt x="1160" y="1370"/>
                    <a:pt x="1160" y="1370"/>
                    <a:pt x="1160" y="1370"/>
                  </a:cubicBezTo>
                  <a:cubicBezTo>
                    <a:pt x="1160" y="1521"/>
                    <a:pt x="1160" y="1521"/>
                    <a:pt x="1160" y="1521"/>
                  </a:cubicBezTo>
                  <a:cubicBezTo>
                    <a:pt x="1158" y="1521"/>
                    <a:pt x="1156" y="1522"/>
                    <a:pt x="1154" y="1522"/>
                  </a:cubicBezTo>
                  <a:cubicBezTo>
                    <a:pt x="1154" y="1377"/>
                    <a:pt x="1154" y="1377"/>
                    <a:pt x="1154" y="1377"/>
                  </a:cubicBezTo>
                  <a:cubicBezTo>
                    <a:pt x="958" y="1377"/>
                    <a:pt x="958" y="1377"/>
                    <a:pt x="958" y="1377"/>
                  </a:cubicBezTo>
                  <a:cubicBezTo>
                    <a:pt x="958" y="1382"/>
                    <a:pt x="958" y="1382"/>
                    <a:pt x="958" y="1382"/>
                  </a:cubicBezTo>
                  <a:cubicBezTo>
                    <a:pt x="1146" y="1382"/>
                    <a:pt x="1146" y="1382"/>
                    <a:pt x="1146" y="1382"/>
                  </a:cubicBezTo>
                  <a:cubicBezTo>
                    <a:pt x="1146" y="1525"/>
                    <a:pt x="1146" y="1525"/>
                    <a:pt x="1146" y="1525"/>
                  </a:cubicBezTo>
                  <a:cubicBezTo>
                    <a:pt x="1144" y="1526"/>
                    <a:pt x="1142" y="1526"/>
                    <a:pt x="1140" y="1527"/>
                  </a:cubicBezTo>
                  <a:cubicBezTo>
                    <a:pt x="1140" y="1399"/>
                    <a:pt x="1140" y="1399"/>
                    <a:pt x="1140" y="1399"/>
                  </a:cubicBezTo>
                  <a:cubicBezTo>
                    <a:pt x="1125" y="1399"/>
                    <a:pt x="1125" y="1399"/>
                    <a:pt x="1125" y="1399"/>
                  </a:cubicBezTo>
                  <a:cubicBezTo>
                    <a:pt x="1125" y="1534"/>
                    <a:pt x="1125" y="1534"/>
                    <a:pt x="1125" y="1534"/>
                  </a:cubicBezTo>
                  <a:cubicBezTo>
                    <a:pt x="1123" y="1535"/>
                    <a:pt x="1121" y="1536"/>
                    <a:pt x="1119" y="1537"/>
                  </a:cubicBezTo>
                  <a:cubicBezTo>
                    <a:pt x="1119" y="1485"/>
                    <a:pt x="1119" y="1485"/>
                    <a:pt x="1119" y="1485"/>
                  </a:cubicBezTo>
                  <a:cubicBezTo>
                    <a:pt x="1113" y="1485"/>
                    <a:pt x="1113" y="1485"/>
                    <a:pt x="1113" y="1485"/>
                  </a:cubicBezTo>
                  <a:cubicBezTo>
                    <a:pt x="1113" y="1541"/>
                    <a:pt x="1113" y="1541"/>
                    <a:pt x="1113" y="1541"/>
                  </a:cubicBezTo>
                  <a:cubicBezTo>
                    <a:pt x="1111" y="1542"/>
                    <a:pt x="1109" y="1544"/>
                    <a:pt x="1107" y="1545"/>
                  </a:cubicBezTo>
                  <a:cubicBezTo>
                    <a:pt x="1107" y="1485"/>
                    <a:pt x="1107" y="1485"/>
                    <a:pt x="1107" y="1485"/>
                  </a:cubicBezTo>
                  <a:cubicBezTo>
                    <a:pt x="1101" y="1485"/>
                    <a:pt x="1101" y="1485"/>
                    <a:pt x="1101" y="1485"/>
                  </a:cubicBezTo>
                  <a:cubicBezTo>
                    <a:pt x="1101" y="1549"/>
                    <a:pt x="1101" y="1549"/>
                    <a:pt x="1101" y="1549"/>
                  </a:cubicBezTo>
                  <a:cubicBezTo>
                    <a:pt x="1099" y="1551"/>
                    <a:pt x="1097" y="1552"/>
                    <a:pt x="1095" y="1554"/>
                  </a:cubicBezTo>
                  <a:cubicBezTo>
                    <a:pt x="1095" y="1485"/>
                    <a:pt x="1095" y="1485"/>
                    <a:pt x="1095" y="1485"/>
                  </a:cubicBezTo>
                  <a:cubicBezTo>
                    <a:pt x="1072" y="1485"/>
                    <a:pt x="1072" y="1485"/>
                    <a:pt x="1072" y="1485"/>
                  </a:cubicBezTo>
                  <a:cubicBezTo>
                    <a:pt x="1072" y="1575"/>
                    <a:pt x="1072" y="1575"/>
                    <a:pt x="1072" y="1575"/>
                  </a:cubicBezTo>
                  <a:cubicBezTo>
                    <a:pt x="1072" y="1575"/>
                    <a:pt x="1072" y="1575"/>
                    <a:pt x="1071" y="1576"/>
                  </a:cubicBezTo>
                  <a:cubicBezTo>
                    <a:pt x="1067" y="1576"/>
                    <a:pt x="1067" y="1576"/>
                    <a:pt x="1067" y="1576"/>
                  </a:cubicBezTo>
                  <a:cubicBezTo>
                    <a:pt x="1067" y="1399"/>
                    <a:pt x="1067" y="1399"/>
                    <a:pt x="1067" y="1399"/>
                  </a:cubicBezTo>
                  <a:cubicBezTo>
                    <a:pt x="962" y="1399"/>
                    <a:pt x="962" y="1399"/>
                    <a:pt x="962" y="1399"/>
                  </a:cubicBezTo>
                  <a:cubicBezTo>
                    <a:pt x="1054" y="1487"/>
                    <a:pt x="1054" y="1487"/>
                    <a:pt x="1054" y="1487"/>
                  </a:cubicBezTo>
                  <a:cubicBezTo>
                    <a:pt x="842" y="1487"/>
                    <a:pt x="842" y="1487"/>
                    <a:pt x="842" y="1487"/>
                  </a:cubicBezTo>
                  <a:cubicBezTo>
                    <a:pt x="842" y="1508"/>
                    <a:pt x="842" y="1508"/>
                    <a:pt x="842" y="1508"/>
                  </a:cubicBezTo>
                  <a:close/>
                  <a:moveTo>
                    <a:pt x="1605" y="1820"/>
                  </a:moveTo>
                  <a:cubicBezTo>
                    <a:pt x="1415" y="1820"/>
                    <a:pt x="1415" y="1820"/>
                    <a:pt x="1415" y="1820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605" y="1829"/>
                    <a:pt x="1605" y="1829"/>
                    <a:pt x="1605" y="1829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245" y="1931"/>
                  </a:moveTo>
                  <a:cubicBezTo>
                    <a:pt x="1194" y="1931"/>
                    <a:pt x="1194" y="1931"/>
                    <a:pt x="1194" y="1931"/>
                  </a:cubicBezTo>
                  <a:cubicBezTo>
                    <a:pt x="1194" y="1953"/>
                    <a:pt x="1194" y="1953"/>
                    <a:pt x="1194" y="1953"/>
                  </a:cubicBezTo>
                  <a:cubicBezTo>
                    <a:pt x="1245" y="1953"/>
                    <a:pt x="1245" y="1953"/>
                    <a:pt x="1245" y="1953"/>
                  </a:cubicBezTo>
                  <a:cubicBezTo>
                    <a:pt x="1245" y="1931"/>
                    <a:pt x="1245" y="1931"/>
                    <a:pt x="1245" y="1931"/>
                  </a:cubicBezTo>
                  <a:close/>
                  <a:moveTo>
                    <a:pt x="1239" y="1937"/>
                  </a:moveTo>
                  <a:cubicBezTo>
                    <a:pt x="1239" y="1945"/>
                    <a:pt x="1239" y="1945"/>
                    <a:pt x="1239" y="1945"/>
                  </a:cubicBezTo>
                  <a:cubicBezTo>
                    <a:pt x="1200" y="1945"/>
                    <a:pt x="1200" y="1945"/>
                    <a:pt x="1200" y="1945"/>
                  </a:cubicBezTo>
                  <a:cubicBezTo>
                    <a:pt x="1200" y="1937"/>
                    <a:pt x="1200" y="1937"/>
                    <a:pt x="1200" y="1937"/>
                  </a:cubicBezTo>
                  <a:cubicBezTo>
                    <a:pt x="1239" y="1937"/>
                    <a:pt x="1239" y="1937"/>
                    <a:pt x="1239" y="1937"/>
                  </a:cubicBezTo>
                  <a:close/>
                  <a:moveTo>
                    <a:pt x="1245" y="1904"/>
                  </a:moveTo>
                  <a:cubicBezTo>
                    <a:pt x="1194" y="1904"/>
                    <a:pt x="1194" y="1904"/>
                    <a:pt x="1194" y="1904"/>
                  </a:cubicBezTo>
                  <a:cubicBezTo>
                    <a:pt x="1194" y="1925"/>
                    <a:pt x="1194" y="1925"/>
                    <a:pt x="1194" y="1925"/>
                  </a:cubicBezTo>
                  <a:cubicBezTo>
                    <a:pt x="1245" y="1925"/>
                    <a:pt x="1245" y="1925"/>
                    <a:pt x="1245" y="1925"/>
                  </a:cubicBezTo>
                  <a:cubicBezTo>
                    <a:pt x="1245" y="1904"/>
                    <a:pt x="1245" y="1904"/>
                    <a:pt x="1245" y="1904"/>
                  </a:cubicBezTo>
                  <a:close/>
                  <a:moveTo>
                    <a:pt x="1239" y="1909"/>
                  </a:moveTo>
                  <a:cubicBezTo>
                    <a:pt x="1239" y="1918"/>
                    <a:pt x="1239" y="1918"/>
                    <a:pt x="1239" y="1918"/>
                  </a:cubicBezTo>
                  <a:cubicBezTo>
                    <a:pt x="1200" y="1918"/>
                    <a:pt x="1200" y="1918"/>
                    <a:pt x="1200" y="1918"/>
                  </a:cubicBezTo>
                  <a:cubicBezTo>
                    <a:pt x="1200" y="1909"/>
                    <a:pt x="1200" y="1909"/>
                    <a:pt x="1200" y="1909"/>
                  </a:cubicBezTo>
                  <a:cubicBezTo>
                    <a:pt x="1239" y="1909"/>
                    <a:pt x="1239" y="1909"/>
                    <a:pt x="1239" y="1909"/>
                  </a:cubicBezTo>
                  <a:close/>
                  <a:moveTo>
                    <a:pt x="1264" y="1812"/>
                  </a:moveTo>
                  <a:cubicBezTo>
                    <a:pt x="1264" y="1812"/>
                    <a:pt x="1264" y="1812"/>
                    <a:pt x="1264" y="1812"/>
                  </a:cubicBezTo>
                  <a:cubicBezTo>
                    <a:pt x="1264" y="1838"/>
                    <a:pt x="1264" y="1838"/>
                    <a:pt x="1264" y="1838"/>
                  </a:cubicBezTo>
                  <a:cubicBezTo>
                    <a:pt x="1409" y="1838"/>
                    <a:pt x="1409" y="1838"/>
                    <a:pt x="1409" y="1838"/>
                  </a:cubicBezTo>
                  <a:cubicBezTo>
                    <a:pt x="1409" y="1845"/>
                    <a:pt x="1409" y="1845"/>
                    <a:pt x="1409" y="1845"/>
                  </a:cubicBezTo>
                  <a:cubicBezTo>
                    <a:pt x="1264" y="1845"/>
                    <a:pt x="1264" y="1845"/>
                    <a:pt x="1264" y="1845"/>
                  </a:cubicBezTo>
                  <a:cubicBezTo>
                    <a:pt x="1264" y="1866"/>
                    <a:pt x="1264" y="1866"/>
                    <a:pt x="1264" y="1866"/>
                  </a:cubicBezTo>
                  <a:cubicBezTo>
                    <a:pt x="1408" y="1866"/>
                    <a:pt x="1408" y="1866"/>
                    <a:pt x="1408" y="1866"/>
                  </a:cubicBezTo>
                  <a:cubicBezTo>
                    <a:pt x="1408" y="1872"/>
                    <a:pt x="1408" y="1872"/>
                    <a:pt x="1408" y="1872"/>
                  </a:cubicBezTo>
                  <a:cubicBezTo>
                    <a:pt x="1264" y="1872"/>
                    <a:pt x="1264" y="1872"/>
                    <a:pt x="1264" y="1872"/>
                  </a:cubicBezTo>
                  <a:cubicBezTo>
                    <a:pt x="1264" y="1893"/>
                    <a:pt x="1264" y="1893"/>
                    <a:pt x="1264" y="1893"/>
                  </a:cubicBezTo>
                  <a:cubicBezTo>
                    <a:pt x="1402" y="1893"/>
                    <a:pt x="1402" y="1893"/>
                    <a:pt x="1402" y="1893"/>
                  </a:cubicBezTo>
                  <a:cubicBezTo>
                    <a:pt x="1397" y="1897"/>
                    <a:pt x="1393" y="1902"/>
                    <a:pt x="1389" y="1906"/>
                  </a:cubicBezTo>
                  <a:cubicBezTo>
                    <a:pt x="1264" y="1906"/>
                    <a:pt x="1264" y="1906"/>
                    <a:pt x="1264" y="1906"/>
                  </a:cubicBezTo>
                  <a:cubicBezTo>
                    <a:pt x="1264" y="1924"/>
                    <a:pt x="1264" y="1924"/>
                    <a:pt x="1264" y="1924"/>
                  </a:cubicBezTo>
                  <a:cubicBezTo>
                    <a:pt x="1384" y="1924"/>
                    <a:pt x="1384" y="1924"/>
                    <a:pt x="1384" y="1924"/>
                  </a:cubicBezTo>
                  <a:cubicBezTo>
                    <a:pt x="1384" y="1931"/>
                    <a:pt x="1384" y="1931"/>
                    <a:pt x="1384" y="1931"/>
                  </a:cubicBezTo>
                  <a:cubicBezTo>
                    <a:pt x="1264" y="1931"/>
                    <a:pt x="1264" y="1931"/>
                    <a:pt x="1264" y="1931"/>
                  </a:cubicBezTo>
                  <a:cubicBezTo>
                    <a:pt x="1264" y="1953"/>
                    <a:pt x="1264" y="1953"/>
                    <a:pt x="1264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611" y="1953"/>
                    <a:pt x="1611" y="1953"/>
                    <a:pt x="1611" y="1953"/>
                  </a:cubicBezTo>
                  <a:cubicBezTo>
                    <a:pt x="1611" y="1908"/>
                    <a:pt x="1611" y="1908"/>
                    <a:pt x="1611" y="1908"/>
                  </a:cubicBezTo>
                  <a:cubicBezTo>
                    <a:pt x="1610" y="1900"/>
                    <a:pt x="1606" y="1893"/>
                    <a:pt x="1597" y="1888"/>
                  </a:cubicBezTo>
                  <a:cubicBezTo>
                    <a:pt x="1595" y="1834"/>
                    <a:pt x="1595" y="1834"/>
                    <a:pt x="1595" y="1834"/>
                  </a:cubicBezTo>
                  <a:cubicBezTo>
                    <a:pt x="1611" y="1834"/>
                    <a:pt x="1611" y="1834"/>
                    <a:pt x="1611" y="1834"/>
                  </a:cubicBezTo>
                  <a:cubicBezTo>
                    <a:pt x="1611" y="1816"/>
                    <a:pt x="1611" y="1816"/>
                    <a:pt x="1611" y="1816"/>
                  </a:cubicBezTo>
                  <a:cubicBezTo>
                    <a:pt x="2081" y="1821"/>
                    <a:pt x="2081" y="1821"/>
                    <a:pt x="2081" y="1821"/>
                  </a:cubicBezTo>
                  <a:cubicBezTo>
                    <a:pt x="1880" y="2109"/>
                    <a:pt x="1548" y="2298"/>
                    <a:pt x="1174" y="2298"/>
                  </a:cubicBezTo>
                  <a:cubicBezTo>
                    <a:pt x="799" y="2298"/>
                    <a:pt x="466" y="2109"/>
                    <a:pt x="266" y="1820"/>
                  </a:cubicBezTo>
                  <a:cubicBezTo>
                    <a:pt x="749" y="1820"/>
                    <a:pt x="749" y="1820"/>
                    <a:pt x="749" y="1820"/>
                  </a:cubicBezTo>
                  <a:cubicBezTo>
                    <a:pt x="749" y="1834"/>
                    <a:pt x="749" y="1834"/>
                    <a:pt x="749" y="1834"/>
                  </a:cubicBezTo>
                  <a:cubicBezTo>
                    <a:pt x="765" y="1834"/>
                    <a:pt x="765" y="1834"/>
                    <a:pt x="765" y="1834"/>
                  </a:cubicBezTo>
                  <a:cubicBezTo>
                    <a:pt x="764" y="1888"/>
                    <a:pt x="764" y="1888"/>
                    <a:pt x="764" y="1888"/>
                  </a:cubicBezTo>
                  <a:cubicBezTo>
                    <a:pt x="754" y="1893"/>
                    <a:pt x="751" y="1900"/>
                    <a:pt x="750" y="1908"/>
                  </a:cubicBezTo>
                  <a:cubicBezTo>
                    <a:pt x="749" y="1953"/>
                    <a:pt x="749" y="1953"/>
                    <a:pt x="749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1096" y="1953"/>
                    <a:pt x="1096" y="1953"/>
                    <a:pt x="1096" y="1953"/>
                  </a:cubicBezTo>
                  <a:cubicBezTo>
                    <a:pt x="1096" y="1931"/>
                    <a:pt x="1096" y="1931"/>
                    <a:pt x="1096" y="1931"/>
                  </a:cubicBezTo>
                  <a:cubicBezTo>
                    <a:pt x="976" y="1931"/>
                    <a:pt x="976" y="1931"/>
                    <a:pt x="976" y="1931"/>
                  </a:cubicBezTo>
                  <a:cubicBezTo>
                    <a:pt x="976" y="1924"/>
                    <a:pt x="976" y="1924"/>
                    <a:pt x="976" y="1924"/>
                  </a:cubicBezTo>
                  <a:cubicBezTo>
                    <a:pt x="1096" y="1924"/>
                    <a:pt x="1096" y="1924"/>
                    <a:pt x="1096" y="1924"/>
                  </a:cubicBezTo>
                  <a:cubicBezTo>
                    <a:pt x="1096" y="1906"/>
                    <a:pt x="1096" y="1906"/>
                    <a:pt x="1096" y="1906"/>
                  </a:cubicBezTo>
                  <a:cubicBezTo>
                    <a:pt x="971" y="1906"/>
                    <a:pt x="971" y="1906"/>
                    <a:pt x="971" y="1906"/>
                  </a:cubicBezTo>
                  <a:cubicBezTo>
                    <a:pt x="967" y="1902"/>
                    <a:pt x="963" y="1897"/>
                    <a:pt x="958" y="1893"/>
                  </a:cubicBezTo>
                  <a:cubicBezTo>
                    <a:pt x="1096" y="1893"/>
                    <a:pt x="1096" y="1893"/>
                    <a:pt x="1096" y="1893"/>
                  </a:cubicBezTo>
                  <a:cubicBezTo>
                    <a:pt x="1096" y="1872"/>
                    <a:pt x="1096" y="1872"/>
                    <a:pt x="1096" y="1872"/>
                  </a:cubicBezTo>
                  <a:cubicBezTo>
                    <a:pt x="953" y="1872"/>
                    <a:pt x="953" y="1872"/>
                    <a:pt x="953" y="1872"/>
                  </a:cubicBezTo>
                  <a:cubicBezTo>
                    <a:pt x="952" y="1866"/>
                    <a:pt x="952" y="1866"/>
                    <a:pt x="952" y="1866"/>
                  </a:cubicBezTo>
                  <a:cubicBezTo>
                    <a:pt x="1096" y="1866"/>
                    <a:pt x="1096" y="1866"/>
                    <a:pt x="1096" y="1866"/>
                  </a:cubicBezTo>
                  <a:cubicBezTo>
                    <a:pt x="1096" y="1845"/>
                    <a:pt x="1096" y="1845"/>
                    <a:pt x="1096" y="1845"/>
                  </a:cubicBezTo>
                  <a:cubicBezTo>
                    <a:pt x="952" y="1845"/>
                    <a:pt x="952" y="1845"/>
                    <a:pt x="952" y="1845"/>
                  </a:cubicBezTo>
                  <a:cubicBezTo>
                    <a:pt x="951" y="1838"/>
                    <a:pt x="951" y="1838"/>
                    <a:pt x="951" y="1838"/>
                  </a:cubicBezTo>
                  <a:cubicBezTo>
                    <a:pt x="1096" y="1838"/>
                    <a:pt x="1096" y="1838"/>
                    <a:pt x="1096" y="1838"/>
                  </a:cubicBezTo>
                  <a:cubicBezTo>
                    <a:pt x="1096" y="1803"/>
                    <a:pt x="1096" y="1803"/>
                    <a:pt x="1096" y="1803"/>
                  </a:cubicBezTo>
                  <a:cubicBezTo>
                    <a:pt x="1116" y="1803"/>
                    <a:pt x="1116" y="1803"/>
                    <a:pt x="1116" y="1803"/>
                  </a:cubicBezTo>
                  <a:cubicBezTo>
                    <a:pt x="1116" y="1811"/>
                    <a:pt x="1116" y="1811"/>
                    <a:pt x="1116" y="1811"/>
                  </a:cubicBezTo>
                  <a:cubicBezTo>
                    <a:pt x="1116" y="1815"/>
                    <a:pt x="1116" y="1815"/>
                    <a:pt x="1116" y="1815"/>
                  </a:cubicBezTo>
                  <a:cubicBezTo>
                    <a:pt x="1116" y="1817"/>
                    <a:pt x="1116" y="1817"/>
                    <a:pt x="1116" y="1817"/>
                  </a:cubicBezTo>
                  <a:cubicBezTo>
                    <a:pt x="1166" y="1817"/>
                    <a:pt x="1166" y="1817"/>
                    <a:pt x="1166" y="1817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3"/>
                    <a:pt x="1166" y="1803"/>
                    <a:pt x="1166" y="1803"/>
                  </a:cubicBezTo>
                  <a:cubicBezTo>
                    <a:pt x="1194" y="1803"/>
                    <a:pt x="1194" y="1803"/>
                    <a:pt x="1194" y="1803"/>
                  </a:cubicBezTo>
                  <a:cubicBezTo>
                    <a:pt x="1194" y="1817"/>
                    <a:pt x="1194" y="1817"/>
                    <a:pt x="1194" y="1817"/>
                  </a:cubicBezTo>
                  <a:cubicBezTo>
                    <a:pt x="1245" y="1817"/>
                    <a:pt x="1245" y="1817"/>
                    <a:pt x="1245" y="1817"/>
                  </a:cubicBezTo>
                  <a:cubicBezTo>
                    <a:pt x="1245" y="1803"/>
                    <a:pt x="1245" y="1803"/>
                    <a:pt x="1245" y="1803"/>
                  </a:cubicBezTo>
                  <a:cubicBezTo>
                    <a:pt x="1264" y="1803"/>
                    <a:pt x="1264" y="1803"/>
                    <a:pt x="1264" y="1803"/>
                  </a:cubicBezTo>
                  <a:cubicBezTo>
                    <a:pt x="1264" y="1812"/>
                    <a:pt x="1264" y="1812"/>
                    <a:pt x="1264" y="1812"/>
                  </a:cubicBezTo>
                  <a:close/>
                  <a:moveTo>
                    <a:pt x="1384" y="1937"/>
                  </a:moveTo>
                  <a:cubicBezTo>
                    <a:pt x="1270" y="1937"/>
                    <a:pt x="1270" y="1937"/>
                    <a:pt x="1270" y="1937"/>
                  </a:cubicBezTo>
                  <a:cubicBezTo>
                    <a:pt x="1270" y="1945"/>
                    <a:pt x="1270" y="1945"/>
                    <a:pt x="1270" y="1945"/>
                  </a:cubicBezTo>
                  <a:cubicBezTo>
                    <a:pt x="1384" y="1945"/>
                    <a:pt x="1384" y="1945"/>
                    <a:pt x="1384" y="1945"/>
                  </a:cubicBezTo>
                  <a:cubicBezTo>
                    <a:pt x="1384" y="1937"/>
                    <a:pt x="1384" y="1937"/>
                    <a:pt x="1384" y="1937"/>
                  </a:cubicBezTo>
                  <a:close/>
                  <a:moveTo>
                    <a:pt x="1384" y="1911"/>
                  </a:moveTo>
                  <a:cubicBezTo>
                    <a:pt x="1269" y="1911"/>
                    <a:pt x="1269" y="1911"/>
                    <a:pt x="1269" y="1911"/>
                  </a:cubicBezTo>
                  <a:cubicBezTo>
                    <a:pt x="1269" y="1918"/>
                    <a:pt x="1269" y="1918"/>
                    <a:pt x="1269" y="1918"/>
                  </a:cubicBezTo>
                  <a:cubicBezTo>
                    <a:pt x="1384" y="1918"/>
                    <a:pt x="1384" y="1918"/>
                    <a:pt x="1384" y="1918"/>
                  </a:cubicBezTo>
                  <a:cubicBezTo>
                    <a:pt x="1384" y="1911"/>
                    <a:pt x="1384" y="1911"/>
                    <a:pt x="1384" y="1911"/>
                  </a:cubicBezTo>
                  <a:close/>
                  <a:moveTo>
                    <a:pt x="1408" y="1878"/>
                  </a:moveTo>
                  <a:cubicBezTo>
                    <a:pt x="1270" y="1878"/>
                    <a:pt x="1270" y="1878"/>
                    <a:pt x="1270" y="1878"/>
                  </a:cubicBezTo>
                  <a:cubicBezTo>
                    <a:pt x="1270" y="1887"/>
                    <a:pt x="1270" y="1887"/>
                    <a:pt x="1270" y="1887"/>
                  </a:cubicBezTo>
                  <a:cubicBezTo>
                    <a:pt x="1407" y="1887"/>
                    <a:pt x="1407" y="1887"/>
                    <a:pt x="1407" y="1887"/>
                  </a:cubicBezTo>
                  <a:cubicBezTo>
                    <a:pt x="1408" y="1878"/>
                    <a:pt x="1408" y="1878"/>
                    <a:pt x="1408" y="1878"/>
                  </a:cubicBezTo>
                  <a:close/>
                  <a:moveTo>
                    <a:pt x="1409" y="1852"/>
                  </a:moveTo>
                  <a:cubicBezTo>
                    <a:pt x="1270" y="1852"/>
                    <a:pt x="1270" y="1852"/>
                    <a:pt x="1270" y="1852"/>
                  </a:cubicBezTo>
                  <a:cubicBezTo>
                    <a:pt x="1270" y="1860"/>
                    <a:pt x="1270" y="1860"/>
                    <a:pt x="1270" y="1860"/>
                  </a:cubicBezTo>
                  <a:cubicBezTo>
                    <a:pt x="1408" y="1860"/>
                    <a:pt x="1408" y="1860"/>
                    <a:pt x="1408" y="1860"/>
                  </a:cubicBezTo>
                  <a:cubicBezTo>
                    <a:pt x="1409" y="1852"/>
                    <a:pt x="1409" y="1852"/>
                    <a:pt x="1409" y="1852"/>
                  </a:cubicBezTo>
                  <a:close/>
                  <a:moveTo>
                    <a:pt x="1410" y="1824"/>
                  </a:moveTo>
                  <a:cubicBezTo>
                    <a:pt x="1270" y="1824"/>
                    <a:pt x="1270" y="1824"/>
                    <a:pt x="1270" y="1824"/>
                  </a:cubicBezTo>
                  <a:cubicBezTo>
                    <a:pt x="1270" y="1832"/>
                    <a:pt x="1270" y="1832"/>
                    <a:pt x="1270" y="1832"/>
                  </a:cubicBezTo>
                  <a:cubicBezTo>
                    <a:pt x="1409" y="1832"/>
                    <a:pt x="1409" y="1832"/>
                    <a:pt x="1409" y="1832"/>
                  </a:cubicBezTo>
                  <a:cubicBezTo>
                    <a:pt x="1410" y="1824"/>
                    <a:pt x="1410" y="1824"/>
                    <a:pt x="1410" y="1824"/>
                  </a:cubicBezTo>
                  <a:close/>
                  <a:moveTo>
                    <a:pt x="1605" y="1820"/>
                  </a:moveTo>
                  <a:cubicBezTo>
                    <a:pt x="1605" y="1829"/>
                    <a:pt x="1605" y="1829"/>
                    <a:pt x="1605" y="1829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415" y="1820"/>
                    <a:pt x="1415" y="1820"/>
                    <a:pt x="1415" y="1820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589" y="1835"/>
                  </a:moveTo>
                  <a:cubicBezTo>
                    <a:pt x="1415" y="1835"/>
                    <a:pt x="1415" y="1835"/>
                    <a:pt x="1415" y="1835"/>
                  </a:cubicBezTo>
                  <a:cubicBezTo>
                    <a:pt x="1415" y="1887"/>
                    <a:pt x="1415" y="1887"/>
                    <a:pt x="1415" y="1887"/>
                  </a:cubicBezTo>
                  <a:cubicBezTo>
                    <a:pt x="1589" y="1887"/>
                    <a:pt x="1589" y="1887"/>
                    <a:pt x="1589" y="1887"/>
                  </a:cubicBezTo>
                  <a:cubicBezTo>
                    <a:pt x="1589" y="1835"/>
                    <a:pt x="1589" y="1835"/>
                    <a:pt x="1589" y="1835"/>
                  </a:cubicBezTo>
                  <a:close/>
                  <a:moveTo>
                    <a:pt x="1578" y="1893"/>
                  </a:moveTo>
                  <a:cubicBezTo>
                    <a:pt x="1419" y="1893"/>
                    <a:pt x="1419" y="1893"/>
                    <a:pt x="1419" y="1893"/>
                  </a:cubicBezTo>
                  <a:cubicBezTo>
                    <a:pt x="1404" y="1898"/>
                    <a:pt x="1397" y="1907"/>
                    <a:pt x="1391" y="1917"/>
                  </a:cubicBezTo>
                  <a:cubicBezTo>
                    <a:pt x="1391" y="1944"/>
                    <a:pt x="1391" y="1944"/>
                    <a:pt x="1391" y="1944"/>
                  </a:cubicBezTo>
                  <a:cubicBezTo>
                    <a:pt x="1604" y="1944"/>
                    <a:pt x="1604" y="1944"/>
                    <a:pt x="1604" y="1944"/>
                  </a:cubicBezTo>
                  <a:cubicBezTo>
                    <a:pt x="1604" y="1913"/>
                    <a:pt x="1604" y="1913"/>
                    <a:pt x="1604" y="1913"/>
                  </a:cubicBezTo>
                  <a:cubicBezTo>
                    <a:pt x="1603" y="1900"/>
                    <a:pt x="1595" y="1894"/>
                    <a:pt x="1578" y="1893"/>
                  </a:cubicBezTo>
                  <a:close/>
                  <a:moveTo>
                    <a:pt x="1245" y="1850"/>
                  </a:moveTo>
                  <a:cubicBezTo>
                    <a:pt x="1194" y="1850"/>
                    <a:pt x="1194" y="1850"/>
                    <a:pt x="1194" y="1850"/>
                  </a:cubicBezTo>
                  <a:cubicBezTo>
                    <a:pt x="1194" y="1871"/>
                    <a:pt x="1194" y="1871"/>
                    <a:pt x="1194" y="1871"/>
                  </a:cubicBezTo>
                  <a:cubicBezTo>
                    <a:pt x="1245" y="1871"/>
                    <a:pt x="1245" y="1871"/>
                    <a:pt x="1245" y="1871"/>
                  </a:cubicBezTo>
                  <a:cubicBezTo>
                    <a:pt x="1245" y="1850"/>
                    <a:pt x="1245" y="1850"/>
                    <a:pt x="1245" y="1850"/>
                  </a:cubicBezTo>
                  <a:close/>
                  <a:moveTo>
                    <a:pt x="1239" y="1856"/>
                  </a:moveTo>
                  <a:cubicBezTo>
                    <a:pt x="1200" y="1856"/>
                    <a:pt x="1200" y="1856"/>
                    <a:pt x="1200" y="1856"/>
                  </a:cubicBezTo>
                  <a:cubicBezTo>
                    <a:pt x="1200" y="1864"/>
                    <a:pt x="1200" y="1864"/>
                    <a:pt x="1200" y="1864"/>
                  </a:cubicBezTo>
                  <a:cubicBezTo>
                    <a:pt x="1239" y="1864"/>
                    <a:pt x="1239" y="1864"/>
                    <a:pt x="1239" y="1864"/>
                  </a:cubicBezTo>
                  <a:cubicBezTo>
                    <a:pt x="1239" y="1856"/>
                    <a:pt x="1239" y="1856"/>
                    <a:pt x="1239" y="1856"/>
                  </a:cubicBezTo>
                  <a:close/>
                  <a:moveTo>
                    <a:pt x="1245" y="1876"/>
                  </a:moveTo>
                  <a:cubicBezTo>
                    <a:pt x="1194" y="1876"/>
                    <a:pt x="1194" y="1876"/>
                    <a:pt x="1194" y="1876"/>
                  </a:cubicBezTo>
                  <a:cubicBezTo>
                    <a:pt x="1194" y="1897"/>
                    <a:pt x="1194" y="1897"/>
                    <a:pt x="1194" y="1897"/>
                  </a:cubicBezTo>
                  <a:cubicBezTo>
                    <a:pt x="1245" y="1897"/>
                    <a:pt x="1245" y="1897"/>
                    <a:pt x="1245" y="1897"/>
                  </a:cubicBezTo>
                  <a:cubicBezTo>
                    <a:pt x="1245" y="1876"/>
                    <a:pt x="1245" y="1876"/>
                    <a:pt x="1245" y="1876"/>
                  </a:cubicBezTo>
                  <a:close/>
                  <a:moveTo>
                    <a:pt x="1239" y="1881"/>
                  </a:moveTo>
                  <a:cubicBezTo>
                    <a:pt x="1200" y="1881"/>
                    <a:pt x="1200" y="1881"/>
                    <a:pt x="1200" y="1881"/>
                  </a:cubicBezTo>
                  <a:cubicBezTo>
                    <a:pt x="1200" y="1890"/>
                    <a:pt x="1200" y="1890"/>
                    <a:pt x="1200" y="1890"/>
                  </a:cubicBezTo>
                  <a:cubicBezTo>
                    <a:pt x="1239" y="1890"/>
                    <a:pt x="1239" y="1890"/>
                    <a:pt x="1239" y="1890"/>
                  </a:cubicBezTo>
                  <a:cubicBezTo>
                    <a:pt x="1239" y="1881"/>
                    <a:pt x="1239" y="1881"/>
                    <a:pt x="1239" y="1881"/>
                  </a:cubicBezTo>
                  <a:close/>
                  <a:moveTo>
                    <a:pt x="1245" y="1823"/>
                  </a:moveTo>
                  <a:cubicBezTo>
                    <a:pt x="1194" y="1823"/>
                    <a:pt x="1194" y="1823"/>
                    <a:pt x="1194" y="1823"/>
                  </a:cubicBezTo>
                  <a:cubicBezTo>
                    <a:pt x="1194" y="1844"/>
                    <a:pt x="1194" y="1844"/>
                    <a:pt x="1194" y="1844"/>
                  </a:cubicBezTo>
                  <a:cubicBezTo>
                    <a:pt x="1245" y="1844"/>
                    <a:pt x="1245" y="1844"/>
                    <a:pt x="1245" y="1844"/>
                  </a:cubicBezTo>
                  <a:cubicBezTo>
                    <a:pt x="1245" y="1823"/>
                    <a:pt x="1245" y="1823"/>
                    <a:pt x="1245" y="1823"/>
                  </a:cubicBezTo>
                  <a:close/>
                  <a:moveTo>
                    <a:pt x="1239" y="1828"/>
                  </a:moveTo>
                  <a:cubicBezTo>
                    <a:pt x="1200" y="1828"/>
                    <a:pt x="1200" y="1828"/>
                    <a:pt x="1200" y="1828"/>
                  </a:cubicBezTo>
                  <a:cubicBezTo>
                    <a:pt x="1200" y="1837"/>
                    <a:pt x="1200" y="1837"/>
                    <a:pt x="1200" y="1837"/>
                  </a:cubicBezTo>
                  <a:cubicBezTo>
                    <a:pt x="1239" y="1837"/>
                    <a:pt x="1239" y="1837"/>
                    <a:pt x="1239" y="1837"/>
                  </a:cubicBezTo>
                  <a:cubicBezTo>
                    <a:pt x="1239" y="1828"/>
                    <a:pt x="1239" y="1828"/>
                    <a:pt x="1239" y="1828"/>
                  </a:cubicBezTo>
                  <a:close/>
                  <a:moveTo>
                    <a:pt x="1245" y="1796"/>
                  </a:moveTo>
                  <a:cubicBezTo>
                    <a:pt x="1194" y="1796"/>
                    <a:pt x="1194" y="1796"/>
                    <a:pt x="1194" y="1796"/>
                  </a:cubicBezTo>
                  <a:cubicBezTo>
                    <a:pt x="1194" y="1796"/>
                    <a:pt x="1194" y="1796"/>
                    <a:pt x="1194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98" y="1796"/>
                    <a:pt x="1098" y="1796"/>
                    <a:pt x="1098" y="1796"/>
                  </a:cubicBezTo>
                  <a:cubicBezTo>
                    <a:pt x="1098" y="1589"/>
                    <a:pt x="1098" y="1589"/>
                    <a:pt x="1098" y="1589"/>
                  </a:cubicBezTo>
                  <a:cubicBezTo>
                    <a:pt x="1134" y="1560"/>
                    <a:pt x="1150" y="1555"/>
                    <a:pt x="1182" y="1555"/>
                  </a:cubicBezTo>
                  <a:cubicBezTo>
                    <a:pt x="1222" y="1555"/>
                    <a:pt x="1235" y="1564"/>
                    <a:pt x="1268" y="1596"/>
                  </a:cubicBezTo>
                  <a:cubicBezTo>
                    <a:pt x="1268" y="1796"/>
                    <a:pt x="1268" y="1796"/>
                    <a:pt x="1268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194" y="1796"/>
                  </a:moveTo>
                  <a:cubicBezTo>
                    <a:pt x="1194" y="1797"/>
                    <a:pt x="1194" y="1797"/>
                    <a:pt x="1194" y="1797"/>
                  </a:cubicBezTo>
                  <a:cubicBezTo>
                    <a:pt x="1166" y="1797"/>
                    <a:pt x="1166" y="1797"/>
                    <a:pt x="1166" y="1797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94" y="1796"/>
                    <a:pt x="1194" y="1796"/>
                    <a:pt x="1194" y="1796"/>
                  </a:cubicBezTo>
                  <a:close/>
                  <a:moveTo>
                    <a:pt x="1245" y="1796"/>
                  </a:moveTo>
                  <a:cubicBezTo>
                    <a:pt x="1268" y="1796"/>
                    <a:pt x="1268" y="1796"/>
                    <a:pt x="1268" y="1796"/>
                  </a:cubicBezTo>
                  <a:cubicBezTo>
                    <a:pt x="1274" y="1796"/>
                    <a:pt x="1274" y="1796"/>
                    <a:pt x="1274" y="1796"/>
                  </a:cubicBezTo>
                  <a:cubicBezTo>
                    <a:pt x="1274" y="1592"/>
                    <a:pt x="1274" y="1592"/>
                    <a:pt x="1274" y="1592"/>
                  </a:cubicBezTo>
                  <a:cubicBezTo>
                    <a:pt x="1242" y="1561"/>
                    <a:pt x="1225" y="1547"/>
                    <a:pt x="1183" y="1548"/>
                  </a:cubicBezTo>
                  <a:cubicBezTo>
                    <a:pt x="1144" y="1548"/>
                    <a:pt x="1123" y="1557"/>
                    <a:pt x="1092" y="1586"/>
                  </a:cubicBezTo>
                  <a:cubicBezTo>
                    <a:pt x="1092" y="1797"/>
                    <a:pt x="1092" y="1797"/>
                    <a:pt x="1092" y="1797"/>
                  </a:cubicBezTo>
                  <a:cubicBezTo>
                    <a:pt x="1116" y="1797"/>
                    <a:pt x="1116" y="1797"/>
                    <a:pt x="1116" y="1797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73" y="1796"/>
                    <a:pt x="1073" y="1796"/>
                    <a:pt x="1073" y="1796"/>
                  </a:cubicBezTo>
                  <a:cubicBezTo>
                    <a:pt x="1073" y="1584"/>
                    <a:pt x="1073" y="1584"/>
                    <a:pt x="1073" y="1584"/>
                  </a:cubicBezTo>
                  <a:cubicBezTo>
                    <a:pt x="1104" y="1551"/>
                    <a:pt x="1141" y="1525"/>
                    <a:pt x="1188" y="1524"/>
                  </a:cubicBezTo>
                  <a:cubicBezTo>
                    <a:pt x="1228" y="1526"/>
                    <a:pt x="1262" y="1553"/>
                    <a:pt x="1292" y="1587"/>
                  </a:cubicBezTo>
                  <a:cubicBezTo>
                    <a:pt x="1292" y="1796"/>
                    <a:pt x="1292" y="1796"/>
                    <a:pt x="1292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200" y="1803"/>
                  </a:moveTo>
                  <a:cubicBezTo>
                    <a:pt x="1200" y="1810"/>
                    <a:pt x="1200" y="1810"/>
                    <a:pt x="1200" y="1810"/>
                  </a:cubicBezTo>
                  <a:cubicBezTo>
                    <a:pt x="1239" y="1810"/>
                    <a:pt x="1239" y="1810"/>
                    <a:pt x="1239" y="1810"/>
                  </a:cubicBezTo>
                  <a:cubicBezTo>
                    <a:pt x="1239" y="1803"/>
                    <a:pt x="1239" y="1803"/>
                    <a:pt x="1239" y="1803"/>
                  </a:cubicBezTo>
                  <a:cubicBezTo>
                    <a:pt x="1200" y="1803"/>
                    <a:pt x="1200" y="1803"/>
                    <a:pt x="1200" y="1803"/>
                  </a:cubicBezTo>
                  <a:close/>
                  <a:moveTo>
                    <a:pt x="1270" y="1803"/>
                  </a:moveTo>
                  <a:cubicBezTo>
                    <a:pt x="1270" y="1811"/>
                    <a:pt x="1270" y="1811"/>
                    <a:pt x="1270" y="1811"/>
                  </a:cubicBezTo>
                  <a:cubicBezTo>
                    <a:pt x="1519" y="1811"/>
                    <a:pt x="1519" y="1811"/>
                    <a:pt x="1519" y="1811"/>
                  </a:cubicBezTo>
                  <a:cubicBezTo>
                    <a:pt x="1519" y="1803"/>
                    <a:pt x="1519" y="1803"/>
                    <a:pt x="1519" y="1803"/>
                  </a:cubicBezTo>
                  <a:cubicBezTo>
                    <a:pt x="1436" y="1803"/>
                    <a:pt x="1353" y="1803"/>
                    <a:pt x="1270" y="1803"/>
                  </a:cubicBezTo>
                  <a:close/>
                  <a:moveTo>
                    <a:pt x="1090" y="1811"/>
                  </a:moveTo>
                  <a:cubicBezTo>
                    <a:pt x="1090" y="1803"/>
                    <a:pt x="1090" y="1803"/>
                    <a:pt x="1090" y="1803"/>
                  </a:cubicBezTo>
                  <a:cubicBezTo>
                    <a:pt x="1067" y="1803"/>
                    <a:pt x="1067" y="1803"/>
                    <a:pt x="1067" y="1803"/>
                  </a:cubicBezTo>
                  <a:cubicBezTo>
                    <a:pt x="1053" y="1803"/>
                    <a:pt x="1053" y="1803"/>
                    <a:pt x="1053" y="1803"/>
                  </a:cubicBezTo>
                  <a:cubicBezTo>
                    <a:pt x="843" y="1803"/>
                    <a:pt x="843" y="1803"/>
                    <a:pt x="843" y="1803"/>
                  </a:cubicBezTo>
                  <a:cubicBezTo>
                    <a:pt x="843" y="1811"/>
                    <a:pt x="843" y="1811"/>
                    <a:pt x="843" y="1811"/>
                  </a:cubicBezTo>
                  <a:cubicBezTo>
                    <a:pt x="1090" y="1811"/>
                    <a:pt x="1090" y="1811"/>
                    <a:pt x="1090" y="1811"/>
                  </a:cubicBezTo>
                  <a:close/>
                  <a:moveTo>
                    <a:pt x="1174" y="0"/>
                  </a:moveTo>
                  <a:cubicBezTo>
                    <a:pt x="1820" y="0"/>
                    <a:pt x="2348" y="531"/>
                    <a:pt x="2348" y="1182"/>
                  </a:cubicBezTo>
                  <a:cubicBezTo>
                    <a:pt x="2348" y="1834"/>
                    <a:pt x="1820" y="2365"/>
                    <a:pt x="1174" y="2365"/>
                  </a:cubicBezTo>
                  <a:cubicBezTo>
                    <a:pt x="527" y="2365"/>
                    <a:pt x="0" y="1834"/>
                    <a:pt x="0" y="1182"/>
                  </a:cubicBezTo>
                  <a:cubicBezTo>
                    <a:pt x="0" y="531"/>
                    <a:pt x="527" y="0"/>
                    <a:pt x="1174" y="0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268" y="1811"/>
                  </a:moveTo>
                  <a:cubicBezTo>
                    <a:pt x="391" y="1811"/>
                    <a:pt x="391" y="1811"/>
                    <a:pt x="391" y="1811"/>
                  </a:cubicBezTo>
                  <a:cubicBezTo>
                    <a:pt x="391" y="1767"/>
                    <a:pt x="391" y="1767"/>
                    <a:pt x="391" y="1767"/>
                  </a:cubicBezTo>
                  <a:cubicBezTo>
                    <a:pt x="242" y="1767"/>
                    <a:pt x="242" y="1767"/>
                    <a:pt x="242" y="1767"/>
                  </a:cubicBezTo>
                  <a:cubicBezTo>
                    <a:pt x="268" y="1811"/>
                    <a:pt x="268" y="1811"/>
                    <a:pt x="268" y="1811"/>
                  </a:cubicBezTo>
                  <a:close/>
                  <a:moveTo>
                    <a:pt x="394" y="1811"/>
                  </a:moveTo>
                  <a:cubicBezTo>
                    <a:pt x="402" y="1811"/>
                    <a:pt x="402" y="1811"/>
                    <a:pt x="402" y="1811"/>
                  </a:cubicBezTo>
                  <a:cubicBezTo>
                    <a:pt x="402" y="1687"/>
                    <a:pt x="402" y="1687"/>
                    <a:pt x="402" y="1687"/>
                  </a:cubicBezTo>
                  <a:cubicBezTo>
                    <a:pt x="394" y="1687"/>
                    <a:pt x="394" y="1687"/>
                    <a:pt x="394" y="1687"/>
                  </a:cubicBezTo>
                  <a:cubicBezTo>
                    <a:pt x="394" y="1811"/>
                    <a:pt x="394" y="1811"/>
                    <a:pt x="394" y="1811"/>
                  </a:cubicBezTo>
                  <a:close/>
                  <a:moveTo>
                    <a:pt x="407" y="1811"/>
                  </a:moveTo>
                  <a:cubicBezTo>
                    <a:pt x="415" y="1811"/>
                    <a:pt x="415" y="1811"/>
                    <a:pt x="415" y="1811"/>
                  </a:cubicBezTo>
                  <a:cubicBezTo>
                    <a:pt x="415" y="1687"/>
                    <a:pt x="415" y="1687"/>
                    <a:pt x="415" y="1687"/>
                  </a:cubicBezTo>
                  <a:cubicBezTo>
                    <a:pt x="407" y="1687"/>
                    <a:pt x="407" y="1687"/>
                    <a:pt x="407" y="1687"/>
                  </a:cubicBezTo>
                  <a:cubicBezTo>
                    <a:pt x="407" y="1811"/>
                    <a:pt x="407" y="1811"/>
                    <a:pt x="407" y="1811"/>
                  </a:cubicBezTo>
                  <a:close/>
                  <a:moveTo>
                    <a:pt x="420" y="1811"/>
                  </a:moveTo>
                  <a:cubicBezTo>
                    <a:pt x="428" y="1811"/>
                    <a:pt x="428" y="1811"/>
                    <a:pt x="428" y="1811"/>
                  </a:cubicBezTo>
                  <a:cubicBezTo>
                    <a:pt x="428" y="1687"/>
                    <a:pt x="428" y="1687"/>
                    <a:pt x="428" y="1687"/>
                  </a:cubicBezTo>
                  <a:cubicBezTo>
                    <a:pt x="420" y="1687"/>
                    <a:pt x="420" y="1687"/>
                    <a:pt x="420" y="1687"/>
                  </a:cubicBezTo>
                  <a:cubicBezTo>
                    <a:pt x="420" y="1811"/>
                    <a:pt x="420" y="1811"/>
                    <a:pt x="420" y="1811"/>
                  </a:cubicBezTo>
                  <a:close/>
                  <a:moveTo>
                    <a:pt x="433" y="1811"/>
                  </a:moveTo>
                  <a:cubicBezTo>
                    <a:pt x="441" y="1811"/>
                    <a:pt x="441" y="1811"/>
                    <a:pt x="441" y="1811"/>
                  </a:cubicBezTo>
                  <a:cubicBezTo>
                    <a:pt x="441" y="1687"/>
                    <a:pt x="441" y="1687"/>
                    <a:pt x="441" y="1687"/>
                  </a:cubicBezTo>
                  <a:cubicBezTo>
                    <a:pt x="433" y="1687"/>
                    <a:pt x="433" y="1687"/>
                    <a:pt x="433" y="1687"/>
                  </a:cubicBezTo>
                  <a:cubicBezTo>
                    <a:pt x="433" y="1811"/>
                    <a:pt x="433" y="1811"/>
                    <a:pt x="433" y="1811"/>
                  </a:cubicBezTo>
                  <a:close/>
                  <a:moveTo>
                    <a:pt x="446" y="1811"/>
                  </a:moveTo>
                  <a:cubicBezTo>
                    <a:pt x="454" y="1811"/>
                    <a:pt x="454" y="1811"/>
                    <a:pt x="454" y="1811"/>
                  </a:cubicBezTo>
                  <a:cubicBezTo>
                    <a:pt x="454" y="1687"/>
                    <a:pt x="454" y="1687"/>
                    <a:pt x="454" y="1687"/>
                  </a:cubicBezTo>
                  <a:cubicBezTo>
                    <a:pt x="446" y="1687"/>
                    <a:pt x="446" y="1687"/>
                    <a:pt x="446" y="1687"/>
                  </a:cubicBezTo>
                  <a:cubicBezTo>
                    <a:pt x="446" y="1811"/>
                    <a:pt x="446" y="1811"/>
                    <a:pt x="446" y="1811"/>
                  </a:cubicBezTo>
                  <a:close/>
                  <a:moveTo>
                    <a:pt x="459" y="1811"/>
                  </a:moveTo>
                  <a:cubicBezTo>
                    <a:pt x="466" y="1811"/>
                    <a:pt x="466" y="1811"/>
                    <a:pt x="466" y="1811"/>
                  </a:cubicBezTo>
                  <a:cubicBezTo>
                    <a:pt x="466" y="1687"/>
                    <a:pt x="466" y="1687"/>
                    <a:pt x="466" y="1687"/>
                  </a:cubicBezTo>
                  <a:cubicBezTo>
                    <a:pt x="459" y="1687"/>
                    <a:pt x="459" y="1687"/>
                    <a:pt x="459" y="1687"/>
                  </a:cubicBezTo>
                  <a:cubicBezTo>
                    <a:pt x="459" y="1811"/>
                    <a:pt x="459" y="1811"/>
                    <a:pt x="459" y="1811"/>
                  </a:cubicBezTo>
                  <a:close/>
                  <a:moveTo>
                    <a:pt x="472" y="1811"/>
                  </a:moveTo>
                  <a:cubicBezTo>
                    <a:pt x="479" y="1811"/>
                    <a:pt x="479" y="1811"/>
                    <a:pt x="479" y="1811"/>
                  </a:cubicBezTo>
                  <a:cubicBezTo>
                    <a:pt x="479" y="1687"/>
                    <a:pt x="479" y="1687"/>
                    <a:pt x="479" y="1687"/>
                  </a:cubicBezTo>
                  <a:cubicBezTo>
                    <a:pt x="472" y="1687"/>
                    <a:pt x="472" y="1687"/>
                    <a:pt x="472" y="1687"/>
                  </a:cubicBezTo>
                  <a:cubicBezTo>
                    <a:pt x="472" y="1811"/>
                    <a:pt x="472" y="1811"/>
                    <a:pt x="472" y="1811"/>
                  </a:cubicBezTo>
                  <a:close/>
                  <a:moveTo>
                    <a:pt x="485" y="1811"/>
                  </a:moveTo>
                  <a:cubicBezTo>
                    <a:pt x="492" y="1811"/>
                    <a:pt x="492" y="1811"/>
                    <a:pt x="492" y="1811"/>
                  </a:cubicBezTo>
                  <a:cubicBezTo>
                    <a:pt x="492" y="1687"/>
                    <a:pt x="492" y="1687"/>
                    <a:pt x="492" y="1687"/>
                  </a:cubicBezTo>
                  <a:cubicBezTo>
                    <a:pt x="485" y="1687"/>
                    <a:pt x="485" y="1687"/>
                    <a:pt x="485" y="1687"/>
                  </a:cubicBezTo>
                  <a:cubicBezTo>
                    <a:pt x="485" y="1811"/>
                    <a:pt x="485" y="1811"/>
                    <a:pt x="485" y="1811"/>
                  </a:cubicBezTo>
                  <a:close/>
                  <a:moveTo>
                    <a:pt x="498" y="1811"/>
                  </a:moveTo>
                  <a:cubicBezTo>
                    <a:pt x="505" y="1811"/>
                    <a:pt x="505" y="1811"/>
                    <a:pt x="505" y="1811"/>
                  </a:cubicBezTo>
                  <a:cubicBezTo>
                    <a:pt x="505" y="1687"/>
                    <a:pt x="505" y="1687"/>
                    <a:pt x="505" y="1687"/>
                  </a:cubicBezTo>
                  <a:cubicBezTo>
                    <a:pt x="498" y="1687"/>
                    <a:pt x="498" y="1687"/>
                    <a:pt x="498" y="1687"/>
                  </a:cubicBezTo>
                  <a:cubicBezTo>
                    <a:pt x="498" y="1811"/>
                    <a:pt x="498" y="1811"/>
                    <a:pt x="498" y="1811"/>
                  </a:cubicBezTo>
                  <a:close/>
                  <a:moveTo>
                    <a:pt x="510" y="1811"/>
                  </a:moveTo>
                  <a:cubicBezTo>
                    <a:pt x="518" y="1811"/>
                    <a:pt x="518" y="1811"/>
                    <a:pt x="518" y="1811"/>
                  </a:cubicBezTo>
                  <a:cubicBezTo>
                    <a:pt x="518" y="1687"/>
                    <a:pt x="518" y="1687"/>
                    <a:pt x="518" y="1687"/>
                  </a:cubicBezTo>
                  <a:cubicBezTo>
                    <a:pt x="510" y="1687"/>
                    <a:pt x="510" y="1687"/>
                    <a:pt x="510" y="1687"/>
                  </a:cubicBezTo>
                  <a:cubicBezTo>
                    <a:pt x="510" y="1811"/>
                    <a:pt x="510" y="1811"/>
                    <a:pt x="510" y="1811"/>
                  </a:cubicBezTo>
                  <a:close/>
                  <a:moveTo>
                    <a:pt x="523" y="1811"/>
                  </a:moveTo>
                  <a:cubicBezTo>
                    <a:pt x="531" y="1811"/>
                    <a:pt x="531" y="1811"/>
                    <a:pt x="531" y="1811"/>
                  </a:cubicBezTo>
                  <a:cubicBezTo>
                    <a:pt x="531" y="1766"/>
                    <a:pt x="531" y="1766"/>
                    <a:pt x="531" y="1766"/>
                  </a:cubicBezTo>
                  <a:cubicBezTo>
                    <a:pt x="523" y="1766"/>
                    <a:pt x="523" y="1766"/>
                    <a:pt x="523" y="1766"/>
                  </a:cubicBezTo>
                  <a:cubicBezTo>
                    <a:pt x="523" y="1811"/>
                    <a:pt x="523" y="1811"/>
                    <a:pt x="523" y="1811"/>
                  </a:cubicBezTo>
                  <a:close/>
                  <a:moveTo>
                    <a:pt x="536" y="1811"/>
                  </a:moveTo>
                  <a:cubicBezTo>
                    <a:pt x="544" y="1811"/>
                    <a:pt x="544" y="1811"/>
                    <a:pt x="544" y="1811"/>
                  </a:cubicBezTo>
                  <a:cubicBezTo>
                    <a:pt x="544" y="1766"/>
                    <a:pt x="544" y="1766"/>
                    <a:pt x="544" y="1766"/>
                  </a:cubicBezTo>
                  <a:cubicBezTo>
                    <a:pt x="536" y="1766"/>
                    <a:pt x="536" y="1766"/>
                    <a:pt x="536" y="1766"/>
                  </a:cubicBezTo>
                  <a:cubicBezTo>
                    <a:pt x="536" y="1811"/>
                    <a:pt x="536" y="1811"/>
                    <a:pt x="536" y="1811"/>
                  </a:cubicBezTo>
                  <a:close/>
                  <a:moveTo>
                    <a:pt x="549" y="1811"/>
                  </a:moveTo>
                  <a:cubicBezTo>
                    <a:pt x="557" y="1811"/>
                    <a:pt x="557" y="1811"/>
                    <a:pt x="557" y="1811"/>
                  </a:cubicBezTo>
                  <a:cubicBezTo>
                    <a:pt x="557" y="1766"/>
                    <a:pt x="557" y="1766"/>
                    <a:pt x="557" y="1766"/>
                  </a:cubicBezTo>
                  <a:cubicBezTo>
                    <a:pt x="549" y="1766"/>
                    <a:pt x="549" y="1766"/>
                    <a:pt x="549" y="1766"/>
                  </a:cubicBezTo>
                  <a:cubicBezTo>
                    <a:pt x="549" y="1811"/>
                    <a:pt x="549" y="1811"/>
                    <a:pt x="549" y="1811"/>
                  </a:cubicBezTo>
                  <a:close/>
                  <a:moveTo>
                    <a:pt x="562" y="1811"/>
                  </a:moveTo>
                  <a:cubicBezTo>
                    <a:pt x="570" y="1811"/>
                    <a:pt x="570" y="1811"/>
                    <a:pt x="570" y="1811"/>
                  </a:cubicBezTo>
                  <a:cubicBezTo>
                    <a:pt x="570" y="1766"/>
                    <a:pt x="570" y="1766"/>
                    <a:pt x="570" y="1766"/>
                  </a:cubicBezTo>
                  <a:cubicBezTo>
                    <a:pt x="562" y="1766"/>
                    <a:pt x="562" y="1766"/>
                    <a:pt x="562" y="1766"/>
                  </a:cubicBezTo>
                  <a:cubicBezTo>
                    <a:pt x="562" y="1811"/>
                    <a:pt x="562" y="1811"/>
                    <a:pt x="562" y="1811"/>
                  </a:cubicBezTo>
                  <a:close/>
                  <a:moveTo>
                    <a:pt x="575" y="1811"/>
                  </a:moveTo>
                  <a:cubicBezTo>
                    <a:pt x="582" y="1811"/>
                    <a:pt x="582" y="1811"/>
                    <a:pt x="582" y="1811"/>
                  </a:cubicBezTo>
                  <a:cubicBezTo>
                    <a:pt x="582" y="1766"/>
                    <a:pt x="582" y="1766"/>
                    <a:pt x="582" y="1766"/>
                  </a:cubicBezTo>
                  <a:cubicBezTo>
                    <a:pt x="575" y="1766"/>
                    <a:pt x="575" y="1766"/>
                    <a:pt x="575" y="1766"/>
                  </a:cubicBezTo>
                  <a:cubicBezTo>
                    <a:pt x="575" y="1811"/>
                    <a:pt x="575" y="1811"/>
                    <a:pt x="575" y="1811"/>
                  </a:cubicBezTo>
                  <a:close/>
                  <a:moveTo>
                    <a:pt x="588" y="1811"/>
                  </a:moveTo>
                  <a:cubicBezTo>
                    <a:pt x="595" y="1811"/>
                    <a:pt x="595" y="1811"/>
                    <a:pt x="595" y="1811"/>
                  </a:cubicBezTo>
                  <a:cubicBezTo>
                    <a:pt x="595" y="1766"/>
                    <a:pt x="595" y="1766"/>
                    <a:pt x="595" y="1766"/>
                  </a:cubicBezTo>
                  <a:cubicBezTo>
                    <a:pt x="588" y="1766"/>
                    <a:pt x="588" y="1766"/>
                    <a:pt x="588" y="1766"/>
                  </a:cubicBezTo>
                  <a:cubicBezTo>
                    <a:pt x="588" y="1811"/>
                    <a:pt x="588" y="1811"/>
                    <a:pt x="588" y="1811"/>
                  </a:cubicBezTo>
                  <a:close/>
                  <a:moveTo>
                    <a:pt x="601" y="1811"/>
                  </a:moveTo>
                  <a:cubicBezTo>
                    <a:pt x="608" y="1811"/>
                    <a:pt x="608" y="1811"/>
                    <a:pt x="608" y="1811"/>
                  </a:cubicBezTo>
                  <a:cubicBezTo>
                    <a:pt x="608" y="1766"/>
                    <a:pt x="608" y="1766"/>
                    <a:pt x="608" y="1766"/>
                  </a:cubicBezTo>
                  <a:cubicBezTo>
                    <a:pt x="601" y="1766"/>
                    <a:pt x="601" y="1766"/>
                    <a:pt x="601" y="1766"/>
                  </a:cubicBezTo>
                  <a:cubicBezTo>
                    <a:pt x="601" y="1811"/>
                    <a:pt x="601" y="1811"/>
                    <a:pt x="601" y="1811"/>
                  </a:cubicBezTo>
                  <a:close/>
                  <a:moveTo>
                    <a:pt x="614" y="1811"/>
                  </a:moveTo>
                  <a:cubicBezTo>
                    <a:pt x="621" y="1811"/>
                    <a:pt x="621" y="1811"/>
                    <a:pt x="621" y="1811"/>
                  </a:cubicBezTo>
                  <a:cubicBezTo>
                    <a:pt x="621" y="1766"/>
                    <a:pt x="621" y="1766"/>
                    <a:pt x="621" y="1766"/>
                  </a:cubicBezTo>
                  <a:cubicBezTo>
                    <a:pt x="614" y="1766"/>
                    <a:pt x="614" y="1766"/>
                    <a:pt x="614" y="1766"/>
                  </a:cubicBezTo>
                  <a:cubicBezTo>
                    <a:pt x="614" y="1811"/>
                    <a:pt x="614" y="1811"/>
                    <a:pt x="614" y="1811"/>
                  </a:cubicBezTo>
                  <a:close/>
                  <a:moveTo>
                    <a:pt x="626" y="1811"/>
                  </a:moveTo>
                  <a:cubicBezTo>
                    <a:pt x="634" y="1811"/>
                    <a:pt x="634" y="1811"/>
                    <a:pt x="634" y="1811"/>
                  </a:cubicBezTo>
                  <a:cubicBezTo>
                    <a:pt x="634" y="1766"/>
                    <a:pt x="634" y="1766"/>
                    <a:pt x="634" y="1766"/>
                  </a:cubicBezTo>
                  <a:cubicBezTo>
                    <a:pt x="626" y="1766"/>
                    <a:pt x="626" y="1766"/>
                    <a:pt x="626" y="1766"/>
                  </a:cubicBezTo>
                  <a:cubicBezTo>
                    <a:pt x="626" y="1811"/>
                    <a:pt x="626" y="1811"/>
                    <a:pt x="626" y="1811"/>
                  </a:cubicBezTo>
                  <a:close/>
                  <a:moveTo>
                    <a:pt x="639" y="1811"/>
                  </a:moveTo>
                  <a:cubicBezTo>
                    <a:pt x="647" y="1811"/>
                    <a:pt x="647" y="1811"/>
                    <a:pt x="647" y="1811"/>
                  </a:cubicBezTo>
                  <a:cubicBezTo>
                    <a:pt x="647" y="1766"/>
                    <a:pt x="647" y="1766"/>
                    <a:pt x="647" y="1766"/>
                  </a:cubicBezTo>
                  <a:cubicBezTo>
                    <a:pt x="639" y="1766"/>
                    <a:pt x="639" y="1766"/>
                    <a:pt x="639" y="1766"/>
                  </a:cubicBezTo>
                  <a:cubicBezTo>
                    <a:pt x="639" y="1811"/>
                    <a:pt x="639" y="1811"/>
                    <a:pt x="639" y="1811"/>
                  </a:cubicBezTo>
                  <a:close/>
                  <a:moveTo>
                    <a:pt x="652" y="1811"/>
                  </a:moveTo>
                  <a:cubicBezTo>
                    <a:pt x="660" y="1811"/>
                    <a:pt x="660" y="1811"/>
                    <a:pt x="660" y="1811"/>
                  </a:cubicBezTo>
                  <a:cubicBezTo>
                    <a:pt x="660" y="1766"/>
                    <a:pt x="660" y="1766"/>
                    <a:pt x="660" y="1766"/>
                  </a:cubicBezTo>
                  <a:cubicBezTo>
                    <a:pt x="652" y="1766"/>
                    <a:pt x="652" y="1766"/>
                    <a:pt x="652" y="1766"/>
                  </a:cubicBezTo>
                  <a:cubicBezTo>
                    <a:pt x="652" y="1811"/>
                    <a:pt x="652" y="1811"/>
                    <a:pt x="652" y="1811"/>
                  </a:cubicBezTo>
                  <a:close/>
                  <a:moveTo>
                    <a:pt x="665" y="1811"/>
                  </a:moveTo>
                  <a:cubicBezTo>
                    <a:pt x="673" y="1811"/>
                    <a:pt x="673" y="1811"/>
                    <a:pt x="673" y="1811"/>
                  </a:cubicBezTo>
                  <a:cubicBezTo>
                    <a:pt x="673" y="1766"/>
                    <a:pt x="673" y="1766"/>
                    <a:pt x="673" y="1766"/>
                  </a:cubicBezTo>
                  <a:cubicBezTo>
                    <a:pt x="665" y="1766"/>
                    <a:pt x="665" y="1766"/>
                    <a:pt x="665" y="1766"/>
                  </a:cubicBezTo>
                  <a:cubicBezTo>
                    <a:pt x="665" y="1811"/>
                    <a:pt x="665" y="1811"/>
                    <a:pt x="665" y="1811"/>
                  </a:cubicBezTo>
                  <a:close/>
                  <a:moveTo>
                    <a:pt x="678" y="1811"/>
                  </a:moveTo>
                  <a:cubicBezTo>
                    <a:pt x="685" y="1811"/>
                    <a:pt x="685" y="1811"/>
                    <a:pt x="685" y="1811"/>
                  </a:cubicBezTo>
                  <a:cubicBezTo>
                    <a:pt x="685" y="1766"/>
                    <a:pt x="685" y="1766"/>
                    <a:pt x="685" y="1766"/>
                  </a:cubicBezTo>
                  <a:cubicBezTo>
                    <a:pt x="678" y="1766"/>
                    <a:pt x="678" y="1766"/>
                    <a:pt x="678" y="1766"/>
                  </a:cubicBezTo>
                  <a:cubicBezTo>
                    <a:pt x="678" y="1811"/>
                    <a:pt x="678" y="1811"/>
                    <a:pt x="678" y="1811"/>
                  </a:cubicBezTo>
                  <a:close/>
                  <a:moveTo>
                    <a:pt x="691" y="1811"/>
                  </a:moveTo>
                  <a:cubicBezTo>
                    <a:pt x="698" y="1811"/>
                    <a:pt x="698" y="1811"/>
                    <a:pt x="698" y="1811"/>
                  </a:cubicBezTo>
                  <a:cubicBezTo>
                    <a:pt x="698" y="1766"/>
                    <a:pt x="698" y="1766"/>
                    <a:pt x="698" y="1766"/>
                  </a:cubicBezTo>
                  <a:cubicBezTo>
                    <a:pt x="691" y="1766"/>
                    <a:pt x="691" y="1766"/>
                    <a:pt x="691" y="1766"/>
                  </a:cubicBezTo>
                  <a:cubicBezTo>
                    <a:pt x="691" y="1811"/>
                    <a:pt x="691" y="1811"/>
                    <a:pt x="691" y="1811"/>
                  </a:cubicBezTo>
                  <a:close/>
                  <a:moveTo>
                    <a:pt x="704" y="1811"/>
                  </a:moveTo>
                  <a:cubicBezTo>
                    <a:pt x="711" y="1811"/>
                    <a:pt x="711" y="1811"/>
                    <a:pt x="711" y="1811"/>
                  </a:cubicBezTo>
                  <a:cubicBezTo>
                    <a:pt x="711" y="1766"/>
                    <a:pt x="711" y="1766"/>
                    <a:pt x="711" y="1766"/>
                  </a:cubicBezTo>
                  <a:cubicBezTo>
                    <a:pt x="704" y="1766"/>
                    <a:pt x="704" y="1766"/>
                    <a:pt x="704" y="1766"/>
                  </a:cubicBezTo>
                  <a:cubicBezTo>
                    <a:pt x="704" y="1811"/>
                    <a:pt x="704" y="1811"/>
                    <a:pt x="704" y="1811"/>
                  </a:cubicBezTo>
                  <a:close/>
                  <a:moveTo>
                    <a:pt x="717" y="1811"/>
                  </a:moveTo>
                  <a:cubicBezTo>
                    <a:pt x="724" y="1811"/>
                    <a:pt x="724" y="1811"/>
                    <a:pt x="724" y="1811"/>
                  </a:cubicBezTo>
                  <a:cubicBezTo>
                    <a:pt x="724" y="1766"/>
                    <a:pt x="724" y="1766"/>
                    <a:pt x="724" y="1766"/>
                  </a:cubicBezTo>
                  <a:cubicBezTo>
                    <a:pt x="717" y="1766"/>
                    <a:pt x="717" y="1766"/>
                    <a:pt x="717" y="1766"/>
                  </a:cubicBezTo>
                  <a:cubicBezTo>
                    <a:pt x="717" y="1811"/>
                    <a:pt x="717" y="1811"/>
                    <a:pt x="717" y="1811"/>
                  </a:cubicBezTo>
                  <a:close/>
                  <a:moveTo>
                    <a:pt x="730" y="1811"/>
                  </a:moveTo>
                  <a:cubicBezTo>
                    <a:pt x="737" y="1811"/>
                    <a:pt x="737" y="1811"/>
                    <a:pt x="737" y="1811"/>
                  </a:cubicBezTo>
                  <a:cubicBezTo>
                    <a:pt x="737" y="1766"/>
                    <a:pt x="737" y="1766"/>
                    <a:pt x="737" y="1766"/>
                  </a:cubicBezTo>
                  <a:cubicBezTo>
                    <a:pt x="730" y="1766"/>
                    <a:pt x="730" y="1766"/>
                    <a:pt x="730" y="1766"/>
                  </a:cubicBezTo>
                  <a:cubicBezTo>
                    <a:pt x="730" y="1811"/>
                    <a:pt x="730" y="1811"/>
                    <a:pt x="730" y="1811"/>
                  </a:cubicBezTo>
                  <a:close/>
                  <a:moveTo>
                    <a:pt x="742" y="1811"/>
                  </a:moveTo>
                  <a:cubicBezTo>
                    <a:pt x="750" y="1811"/>
                    <a:pt x="750" y="1811"/>
                    <a:pt x="750" y="1811"/>
                  </a:cubicBezTo>
                  <a:cubicBezTo>
                    <a:pt x="750" y="1766"/>
                    <a:pt x="750" y="1766"/>
                    <a:pt x="750" y="1766"/>
                  </a:cubicBezTo>
                  <a:cubicBezTo>
                    <a:pt x="742" y="1766"/>
                    <a:pt x="742" y="1766"/>
                    <a:pt x="742" y="1766"/>
                  </a:cubicBezTo>
                  <a:cubicBezTo>
                    <a:pt x="742" y="1811"/>
                    <a:pt x="742" y="1811"/>
                    <a:pt x="742" y="1811"/>
                  </a:cubicBezTo>
                  <a:close/>
                  <a:moveTo>
                    <a:pt x="755" y="1811"/>
                  </a:moveTo>
                  <a:cubicBezTo>
                    <a:pt x="763" y="1811"/>
                    <a:pt x="763" y="1811"/>
                    <a:pt x="763" y="1811"/>
                  </a:cubicBezTo>
                  <a:cubicBezTo>
                    <a:pt x="763" y="1766"/>
                    <a:pt x="763" y="1766"/>
                    <a:pt x="763" y="1766"/>
                  </a:cubicBezTo>
                  <a:cubicBezTo>
                    <a:pt x="755" y="1766"/>
                    <a:pt x="755" y="1766"/>
                    <a:pt x="755" y="1766"/>
                  </a:cubicBezTo>
                  <a:cubicBezTo>
                    <a:pt x="755" y="1811"/>
                    <a:pt x="755" y="1811"/>
                    <a:pt x="755" y="1811"/>
                  </a:cubicBezTo>
                  <a:close/>
                  <a:moveTo>
                    <a:pt x="768" y="1811"/>
                  </a:moveTo>
                  <a:cubicBezTo>
                    <a:pt x="776" y="1811"/>
                    <a:pt x="776" y="1811"/>
                    <a:pt x="776" y="1811"/>
                  </a:cubicBezTo>
                  <a:cubicBezTo>
                    <a:pt x="776" y="1766"/>
                    <a:pt x="776" y="1766"/>
                    <a:pt x="776" y="1766"/>
                  </a:cubicBezTo>
                  <a:cubicBezTo>
                    <a:pt x="768" y="1766"/>
                    <a:pt x="768" y="1766"/>
                    <a:pt x="768" y="1766"/>
                  </a:cubicBezTo>
                  <a:cubicBezTo>
                    <a:pt x="768" y="1811"/>
                    <a:pt x="768" y="1811"/>
                    <a:pt x="768" y="1811"/>
                  </a:cubicBezTo>
                  <a:close/>
                  <a:moveTo>
                    <a:pt x="781" y="1811"/>
                  </a:moveTo>
                  <a:cubicBezTo>
                    <a:pt x="789" y="1811"/>
                    <a:pt x="789" y="1811"/>
                    <a:pt x="789" y="1811"/>
                  </a:cubicBezTo>
                  <a:cubicBezTo>
                    <a:pt x="789" y="1766"/>
                    <a:pt x="789" y="1766"/>
                    <a:pt x="789" y="1766"/>
                  </a:cubicBezTo>
                  <a:cubicBezTo>
                    <a:pt x="781" y="1766"/>
                    <a:pt x="781" y="1766"/>
                    <a:pt x="781" y="1766"/>
                  </a:cubicBezTo>
                  <a:cubicBezTo>
                    <a:pt x="781" y="1811"/>
                    <a:pt x="781" y="1811"/>
                    <a:pt x="781" y="1811"/>
                  </a:cubicBezTo>
                  <a:close/>
                  <a:moveTo>
                    <a:pt x="794" y="1811"/>
                  </a:moveTo>
                  <a:cubicBezTo>
                    <a:pt x="801" y="1811"/>
                    <a:pt x="801" y="1811"/>
                    <a:pt x="801" y="1811"/>
                  </a:cubicBezTo>
                  <a:cubicBezTo>
                    <a:pt x="801" y="1766"/>
                    <a:pt x="801" y="1766"/>
                    <a:pt x="801" y="1766"/>
                  </a:cubicBezTo>
                  <a:cubicBezTo>
                    <a:pt x="794" y="1766"/>
                    <a:pt x="794" y="1766"/>
                    <a:pt x="794" y="1766"/>
                  </a:cubicBezTo>
                  <a:cubicBezTo>
                    <a:pt x="794" y="1811"/>
                    <a:pt x="794" y="1811"/>
                    <a:pt x="794" y="1811"/>
                  </a:cubicBezTo>
                  <a:close/>
                  <a:moveTo>
                    <a:pt x="807" y="1811"/>
                  </a:moveTo>
                  <a:cubicBezTo>
                    <a:pt x="814" y="1811"/>
                    <a:pt x="814" y="1811"/>
                    <a:pt x="814" y="1811"/>
                  </a:cubicBezTo>
                  <a:cubicBezTo>
                    <a:pt x="814" y="1766"/>
                    <a:pt x="814" y="1766"/>
                    <a:pt x="814" y="1766"/>
                  </a:cubicBezTo>
                  <a:cubicBezTo>
                    <a:pt x="807" y="1766"/>
                    <a:pt x="807" y="1766"/>
                    <a:pt x="807" y="1766"/>
                  </a:cubicBezTo>
                  <a:cubicBezTo>
                    <a:pt x="807" y="1811"/>
                    <a:pt x="807" y="1811"/>
                    <a:pt x="807" y="1811"/>
                  </a:cubicBezTo>
                  <a:close/>
                  <a:moveTo>
                    <a:pt x="820" y="1811"/>
                  </a:moveTo>
                  <a:cubicBezTo>
                    <a:pt x="827" y="1811"/>
                    <a:pt x="827" y="1811"/>
                    <a:pt x="827" y="1811"/>
                  </a:cubicBezTo>
                  <a:cubicBezTo>
                    <a:pt x="827" y="1766"/>
                    <a:pt x="827" y="1766"/>
                    <a:pt x="827" y="1766"/>
                  </a:cubicBezTo>
                  <a:cubicBezTo>
                    <a:pt x="820" y="1766"/>
                    <a:pt x="820" y="1766"/>
                    <a:pt x="820" y="1766"/>
                  </a:cubicBezTo>
                  <a:cubicBezTo>
                    <a:pt x="820" y="1811"/>
                    <a:pt x="820" y="1811"/>
                    <a:pt x="820" y="1811"/>
                  </a:cubicBezTo>
                  <a:close/>
                  <a:moveTo>
                    <a:pt x="1527" y="1756"/>
                  </a:moveTo>
                  <a:cubicBezTo>
                    <a:pt x="1527" y="1632"/>
                    <a:pt x="1527" y="1632"/>
                    <a:pt x="1527" y="1632"/>
                  </a:cubicBezTo>
                  <a:cubicBezTo>
                    <a:pt x="1836" y="1632"/>
                    <a:pt x="1836" y="1632"/>
                    <a:pt x="1836" y="1632"/>
                  </a:cubicBezTo>
                  <a:cubicBezTo>
                    <a:pt x="1870" y="1630"/>
                    <a:pt x="1899" y="1616"/>
                    <a:pt x="1912" y="1583"/>
                  </a:cubicBezTo>
                  <a:cubicBezTo>
                    <a:pt x="1916" y="1577"/>
                    <a:pt x="1916" y="1577"/>
                    <a:pt x="1916" y="1577"/>
                  </a:cubicBezTo>
                  <a:cubicBezTo>
                    <a:pt x="1973" y="1464"/>
                    <a:pt x="2005" y="1337"/>
                    <a:pt x="2005" y="1203"/>
                  </a:cubicBezTo>
                  <a:cubicBezTo>
                    <a:pt x="2005" y="748"/>
                    <a:pt x="1634" y="377"/>
                    <a:pt x="1179" y="377"/>
                  </a:cubicBezTo>
                  <a:cubicBezTo>
                    <a:pt x="724" y="377"/>
                    <a:pt x="352" y="748"/>
                    <a:pt x="352" y="1203"/>
                  </a:cubicBezTo>
                  <a:cubicBezTo>
                    <a:pt x="352" y="1349"/>
                    <a:pt x="390" y="1485"/>
                    <a:pt x="456" y="1604"/>
                  </a:cubicBezTo>
                  <a:cubicBezTo>
                    <a:pt x="474" y="1619"/>
                    <a:pt x="506" y="1631"/>
                    <a:pt x="527" y="1632"/>
                  </a:cubicBezTo>
                  <a:cubicBezTo>
                    <a:pt x="834" y="1632"/>
                    <a:pt x="834" y="1632"/>
                    <a:pt x="834" y="1632"/>
                  </a:cubicBezTo>
                  <a:cubicBezTo>
                    <a:pt x="834" y="1756"/>
                    <a:pt x="834" y="1756"/>
                    <a:pt x="834" y="1756"/>
                  </a:cubicBezTo>
                  <a:cubicBezTo>
                    <a:pt x="777" y="1756"/>
                    <a:pt x="777" y="1756"/>
                    <a:pt x="777" y="1756"/>
                  </a:cubicBezTo>
                  <a:cubicBezTo>
                    <a:pt x="777" y="1658"/>
                    <a:pt x="777" y="1658"/>
                    <a:pt x="777" y="1658"/>
                  </a:cubicBezTo>
                  <a:cubicBezTo>
                    <a:pt x="753" y="1657"/>
                    <a:pt x="732" y="1659"/>
                    <a:pt x="708" y="1658"/>
                  </a:cubicBezTo>
                  <a:cubicBezTo>
                    <a:pt x="708" y="1756"/>
                    <a:pt x="708" y="1756"/>
                    <a:pt x="708" y="1756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49" y="1658"/>
                    <a:pt x="649" y="1658"/>
                    <a:pt x="649" y="1658"/>
                  </a:cubicBezTo>
                  <a:cubicBezTo>
                    <a:pt x="600" y="1658"/>
                    <a:pt x="600" y="1658"/>
                    <a:pt x="600" y="1658"/>
                  </a:cubicBezTo>
                  <a:cubicBezTo>
                    <a:pt x="579" y="1658"/>
                    <a:pt x="579" y="1658"/>
                    <a:pt x="579" y="1658"/>
                  </a:cubicBezTo>
                  <a:cubicBezTo>
                    <a:pt x="579" y="1756"/>
                    <a:pt x="579" y="1756"/>
                    <a:pt x="579" y="1756"/>
                  </a:cubicBezTo>
                  <a:cubicBezTo>
                    <a:pt x="522" y="1756"/>
                    <a:pt x="522" y="1756"/>
                    <a:pt x="522" y="1756"/>
                  </a:cubicBezTo>
                  <a:cubicBezTo>
                    <a:pt x="522" y="1637"/>
                    <a:pt x="522" y="1637"/>
                    <a:pt x="522" y="1637"/>
                  </a:cubicBezTo>
                  <a:cubicBezTo>
                    <a:pt x="518" y="1637"/>
                    <a:pt x="518" y="1637"/>
                    <a:pt x="518" y="1637"/>
                  </a:cubicBezTo>
                  <a:cubicBezTo>
                    <a:pt x="518" y="1655"/>
                    <a:pt x="518" y="1655"/>
                    <a:pt x="518" y="1655"/>
                  </a:cubicBezTo>
                  <a:cubicBezTo>
                    <a:pt x="371" y="1655"/>
                    <a:pt x="371" y="1655"/>
                    <a:pt x="371" y="1655"/>
                  </a:cubicBezTo>
                  <a:cubicBezTo>
                    <a:pt x="371" y="1613"/>
                    <a:pt x="371" y="1613"/>
                    <a:pt x="371" y="1613"/>
                  </a:cubicBezTo>
                  <a:cubicBezTo>
                    <a:pt x="357" y="1615"/>
                    <a:pt x="357" y="1615"/>
                    <a:pt x="357" y="1615"/>
                  </a:cubicBezTo>
                  <a:cubicBezTo>
                    <a:pt x="357" y="1581"/>
                    <a:pt x="357" y="1581"/>
                    <a:pt x="357" y="1581"/>
                  </a:cubicBezTo>
                  <a:cubicBezTo>
                    <a:pt x="380" y="1581"/>
                    <a:pt x="380" y="1581"/>
                    <a:pt x="380" y="1581"/>
                  </a:cubicBezTo>
                  <a:cubicBezTo>
                    <a:pt x="394" y="1581"/>
                    <a:pt x="401" y="1564"/>
                    <a:pt x="408" y="1554"/>
                  </a:cubicBezTo>
                  <a:cubicBezTo>
                    <a:pt x="394" y="1560"/>
                    <a:pt x="380" y="1562"/>
                    <a:pt x="366" y="1560"/>
                  </a:cubicBezTo>
                  <a:cubicBezTo>
                    <a:pt x="365" y="1559"/>
                    <a:pt x="331" y="1540"/>
                    <a:pt x="316" y="1522"/>
                  </a:cubicBezTo>
                  <a:cubicBezTo>
                    <a:pt x="311" y="1515"/>
                    <a:pt x="312" y="1509"/>
                    <a:pt x="311" y="1503"/>
                  </a:cubicBezTo>
                  <a:cubicBezTo>
                    <a:pt x="297" y="1503"/>
                    <a:pt x="297" y="1503"/>
                    <a:pt x="297" y="1503"/>
                  </a:cubicBezTo>
                  <a:cubicBezTo>
                    <a:pt x="297" y="1538"/>
                    <a:pt x="264" y="1547"/>
                    <a:pt x="241" y="1559"/>
                  </a:cubicBezTo>
                  <a:cubicBezTo>
                    <a:pt x="201" y="1553"/>
                    <a:pt x="201" y="1553"/>
                    <a:pt x="201" y="1553"/>
                  </a:cubicBezTo>
                  <a:cubicBezTo>
                    <a:pt x="220" y="1587"/>
                    <a:pt x="234" y="1580"/>
                    <a:pt x="265" y="1581"/>
                  </a:cubicBezTo>
                  <a:cubicBezTo>
                    <a:pt x="265" y="1615"/>
                    <a:pt x="265" y="1615"/>
                    <a:pt x="265" y="1615"/>
                  </a:cubicBezTo>
                  <a:cubicBezTo>
                    <a:pt x="249" y="1615"/>
                    <a:pt x="249" y="1615"/>
                    <a:pt x="249" y="1615"/>
                  </a:cubicBezTo>
                  <a:cubicBezTo>
                    <a:pt x="249" y="1730"/>
                    <a:pt x="249" y="1730"/>
                    <a:pt x="249" y="1730"/>
                  </a:cubicBezTo>
                  <a:cubicBezTo>
                    <a:pt x="225" y="1757"/>
                    <a:pt x="225" y="1757"/>
                    <a:pt x="225" y="1757"/>
                  </a:cubicBezTo>
                  <a:cubicBezTo>
                    <a:pt x="124" y="1589"/>
                    <a:pt x="66" y="1392"/>
                    <a:pt x="66" y="1182"/>
                  </a:cubicBezTo>
                  <a:cubicBezTo>
                    <a:pt x="66" y="568"/>
                    <a:pt x="564" y="67"/>
                    <a:pt x="1174" y="67"/>
                  </a:cubicBezTo>
                  <a:cubicBezTo>
                    <a:pt x="1784" y="67"/>
                    <a:pt x="2281" y="568"/>
                    <a:pt x="2281" y="1182"/>
                  </a:cubicBezTo>
                  <a:cubicBezTo>
                    <a:pt x="2281" y="1388"/>
                    <a:pt x="2225" y="1582"/>
                    <a:pt x="2128" y="1748"/>
                  </a:cubicBezTo>
                  <a:cubicBezTo>
                    <a:pt x="2112" y="1730"/>
                    <a:pt x="2112" y="1730"/>
                    <a:pt x="2112" y="1730"/>
                  </a:cubicBezTo>
                  <a:cubicBezTo>
                    <a:pt x="2112" y="1615"/>
                    <a:pt x="2112" y="1615"/>
                    <a:pt x="2112" y="1615"/>
                  </a:cubicBezTo>
                  <a:cubicBezTo>
                    <a:pt x="2095" y="1615"/>
                    <a:pt x="2095" y="1615"/>
                    <a:pt x="2095" y="1615"/>
                  </a:cubicBezTo>
                  <a:cubicBezTo>
                    <a:pt x="2095" y="1581"/>
                    <a:pt x="2095" y="1581"/>
                    <a:pt x="2095" y="1581"/>
                  </a:cubicBezTo>
                  <a:cubicBezTo>
                    <a:pt x="2126" y="1580"/>
                    <a:pt x="2141" y="1587"/>
                    <a:pt x="2159" y="1553"/>
                  </a:cubicBezTo>
                  <a:cubicBezTo>
                    <a:pt x="2119" y="1559"/>
                    <a:pt x="2119" y="1559"/>
                    <a:pt x="2119" y="1559"/>
                  </a:cubicBezTo>
                  <a:cubicBezTo>
                    <a:pt x="2096" y="1547"/>
                    <a:pt x="2064" y="1538"/>
                    <a:pt x="2063" y="1503"/>
                  </a:cubicBezTo>
                  <a:cubicBezTo>
                    <a:pt x="2049" y="1503"/>
                    <a:pt x="2049" y="1503"/>
                    <a:pt x="2049" y="1503"/>
                  </a:cubicBezTo>
                  <a:cubicBezTo>
                    <a:pt x="2049" y="1509"/>
                    <a:pt x="2050" y="1515"/>
                    <a:pt x="2045" y="1522"/>
                  </a:cubicBezTo>
                  <a:cubicBezTo>
                    <a:pt x="2029" y="1540"/>
                    <a:pt x="1995" y="1559"/>
                    <a:pt x="1994" y="1560"/>
                  </a:cubicBezTo>
                  <a:cubicBezTo>
                    <a:pt x="1980" y="1562"/>
                    <a:pt x="1967" y="1560"/>
                    <a:pt x="1953" y="1554"/>
                  </a:cubicBezTo>
                  <a:cubicBezTo>
                    <a:pt x="1960" y="1564"/>
                    <a:pt x="1966" y="1581"/>
                    <a:pt x="1980" y="1581"/>
                  </a:cubicBezTo>
                  <a:cubicBezTo>
                    <a:pt x="2003" y="1581"/>
                    <a:pt x="2003" y="1581"/>
                    <a:pt x="2003" y="1581"/>
                  </a:cubicBezTo>
                  <a:cubicBezTo>
                    <a:pt x="2003" y="1615"/>
                    <a:pt x="2003" y="1615"/>
                    <a:pt x="2003" y="1615"/>
                  </a:cubicBezTo>
                  <a:cubicBezTo>
                    <a:pt x="1990" y="1613"/>
                    <a:pt x="1990" y="1613"/>
                    <a:pt x="1990" y="1613"/>
                  </a:cubicBezTo>
                  <a:cubicBezTo>
                    <a:pt x="1989" y="1655"/>
                    <a:pt x="1989" y="1655"/>
                    <a:pt x="1989" y="1655"/>
                  </a:cubicBezTo>
                  <a:cubicBezTo>
                    <a:pt x="1843" y="1655"/>
                    <a:pt x="1843" y="1655"/>
                    <a:pt x="1843" y="1655"/>
                  </a:cubicBezTo>
                  <a:cubicBezTo>
                    <a:pt x="1843" y="1637"/>
                    <a:pt x="1843" y="1637"/>
                    <a:pt x="1843" y="1637"/>
                  </a:cubicBezTo>
                  <a:cubicBezTo>
                    <a:pt x="1838" y="1637"/>
                    <a:pt x="1838" y="1637"/>
                    <a:pt x="1838" y="1637"/>
                  </a:cubicBezTo>
                  <a:cubicBezTo>
                    <a:pt x="1838" y="1756"/>
                    <a:pt x="1838" y="1756"/>
                    <a:pt x="1838" y="1756"/>
                  </a:cubicBezTo>
                  <a:cubicBezTo>
                    <a:pt x="1781" y="1756"/>
                    <a:pt x="1781" y="1756"/>
                    <a:pt x="1781" y="1756"/>
                  </a:cubicBezTo>
                  <a:cubicBezTo>
                    <a:pt x="1781" y="1658"/>
                    <a:pt x="1781" y="1658"/>
                    <a:pt x="1781" y="1658"/>
                  </a:cubicBezTo>
                  <a:cubicBezTo>
                    <a:pt x="1761" y="1658"/>
                    <a:pt x="1761" y="1658"/>
                    <a:pt x="1761" y="1658"/>
                  </a:cubicBezTo>
                  <a:cubicBezTo>
                    <a:pt x="1711" y="1658"/>
                    <a:pt x="1711" y="1658"/>
                    <a:pt x="1711" y="1658"/>
                  </a:cubicBezTo>
                  <a:cubicBezTo>
                    <a:pt x="1711" y="1756"/>
                    <a:pt x="1711" y="1756"/>
                    <a:pt x="1711" y="1756"/>
                  </a:cubicBezTo>
                  <a:cubicBezTo>
                    <a:pt x="1653" y="1756"/>
                    <a:pt x="1653" y="1756"/>
                    <a:pt x="1653" y="1756"/>
                  </a:cubicBezTo>
                  <a:cubicBezTo>
                    <a:pt x="1653" y="1658"/>
                    <a:pt x="1653" y="1658"/>
                    <a:pt x="1653" y="1658"/>
                  </a:cubicBezTo>
                  <a:cubicBezTo>
                    <a:pt x="1628" y="1659"/>
                    <a:pt x="1608" y="1657"/>
                    <a:pt x="1583" y="1658"/>
                  </a:cubicBezTo>
                  <a:cubicBezTo>
                    <a:pt x="1583" y="1756"/>
                    <a:pt x="1583" y="1756"/>
                    <a:pt x="1583" y="1756"/>
                  </a:cubicBezTo>
                  <a:cubicBezTo>
                    <a:pt x="1527" y="1756"/>
                    <a:pt x="1527" y="1756"/>
                    <a:pt x="1527" y="1756"/>
                  </a:cubicBezTo>
                  <a:close/>
                  <a:moveTo>
                    <a:pt x="1533" y="1811"/>
                  </a:moveTo>
                  <a:cubicBezTo>
                    <a:pt x="1541" y="1811"/>
                    <a:pt x="1541" y="1811"/>
                    <a:pt x="1541" y="1811"/>
                  </a:cubicBezTo>
                  <a:cubicBezTo>
                    <a:pt x="1541" y="1766"/>
                    <a:pt x="1541" y="1766"/>
                    <a:pt x="1541" y="1766"/>
                  </a:cubicBezTo>
                  <a:cubicBezTo>
                    <a:pt x="1533" y="1766"/>
                    <a:pt x="1533" y="1766"/>
                    <a:pt x="1533" y="1766"/>
                  </a:cubicBezTo>
                  <a:cubicBezTo>
                    <a:pt x="1533" y="1811"/>
                    <a:pt x="1533" y="1811"/>
                    <a:pt x="1533" y="1811"/>
                  </a:cubicBezTo>
                  <a:close/>
                  <a:moveTo>
                    <a:pt x="1546" y="1811"/>
                  </a:moveTo>
                  <a:cubicBezTo>
                    <a:pt x="1554" y="1811"/>
                    <a:pt x="1554" y="1811"/>
                    <a:pt x="1554" y="1811"/>
                  </a:cubicBezTo>
                  <a:cubicBezTo>
                    <a:pt x="1554" y="1766"/>
                    <a:pt x="1554" y="1766"/>
                    <a:pt x="1554" y="1766"/>
                  </a:cubicBezTo>
                  <a:cubicBezTo>
                    <a:pt x="1546" y="1766"/>
                    <a:pt x="1546" y="1766"/>
                    <a:pt x="1546" y="1766"/>
                  </a:cubicBezTo>
                  <a:cubicBezTo>
                    <a:pt x="1546" y="1811"/>
                    <a:pt x="1546" y="1811"/>
                    <a:pt x="1546" y="1811"/>
                  </a:cubicBezTo>
                  <a:close/>
                  <a:moveTo>
                    <a:pt x="1559" y="1811"/>
                  </a:moveTo>
                  <a:cubicBezTo>
                    <a:pt x="1567" y="1811"/>
                    <a:pt x="1567" y="1811"/>
                    <a:pt x="1567" y="1811"/>
                  </a:cubicBezTo>
                  <a:cubicBezTo>
                    <a:pt x="1567" y="1766"/>
                    <a:pt x="1567" y="1766"/>
                    <a:pt x="1567" y="1766"/>
                  </a:cubicBezTo>
                  <a:cubicBezTo>
                    <a:pt x="1559" y="1766"/>
                    <a:pt x="1559" y="1766"/>
                    <a:pt x="1559" y="1766"/>
                  </a:cubicBezTo>
                  <a:cubicBezTo>
                    <a:pt x="1559" y="1811"/>
                    <a:pt x="1559" y="1811"/>
                    <a:pt x="1559" y="1811"/>
                  </a:cubicBezTo>
                  <a:close/>
                  <a:moveTo>
                    <a:pt x="1572" y="1811"/>
                  </a:moveTo>
                  <a:cubicBezTo>
                    <a:pt x="1579" y="1811"/>
                    <a:pt x="1579" y="1811"/>
                    <a:pt x="1579" y="1811"/>
                  </a:cubicBezTo>
                  <a:cubicBezTo>
                    <a:pt x="1579" y="1766"/>
                    <a:pt x="1579" y="1766"/>
                    <a:pt x="1579" y="1766"/>
                  </a:cubicBezTo>
                  <a:cubicBezTo>
                    <a:pt x="1572" y="1766"/>
                    <a:pt x="1572" y="1766"/>
                    <a:pt x="1572" y="1766"/>
                  </a:cubicBezTo>
                  <a:cubicBezTo>
                    <a:pt x="1572" y="1811"/>
                    <a:pt x="1572" y="1811"/>
                    <a:pt x="1572" y="1811"/>
                  </a:cubicBezTo>
                  <a:close/>
                  <a:moveTo>
                    <a:pt x="1585" y="1811"/>
                  </a:moveTo>
                  <a:cubicBezTo>
                    <a:pt x="1592" y="1811"/>
                    <a:pt x="1592" y="1811"/>
                    <a:pt x="1592" y="1811"/>
                  </a:cubicBezTo>
                  <a:cubicBezTo>
                    <a:pt x="1592" y="1766"/>
                    <a:pt x="1592" y="1766"/>
                    <a:pt x="1592" y="1766"/>
                  </a:cubicBezTo>
                  <a:cubicBezTo>
                    <a:pt x="1585" y="1766"/>
                    <a:pt x="1585" y="1766"/>
                    <a:pt x="1585" y="1766"/>
                  </a:cubicBezTo>
                  <a:cubicBezTo>
                    <a:pt x="1585" y="1811"/>
                    <a:pt x="1585" y="1811"/>
                    <a:pt x="1585" y="1811"/>
                  </a:cubicBezTo>
                  <a:close/>
                  <a:moveTo>
                    <a:pt x="1598" y="1811"/>
                  </a:moveTo>
                  <a:cubicBezTo>
                    <a:pt x="1605" y="1811"/>
                    <a:pt x="1605" y="1811"/>
                    <a:pt x="1605" y="1811"/>
                  </a:cubicBezTo>
                  <a:cubicBezTo>
                    <a:pt x="1605" y="1766"/>
                    <a:pt x="1605" y="1766"/>
                    <a:pt x="1605" y="1766"/>
                  </a:cubicBezTo>
                  <a:cubicBezTo>
                    <a:pt x="1598" y="1766"/>
                    <a:pt x="1598" y="1766"/>
                    <a:pt x="1598" y="1766"/>
                  </a:cubicBezTo>
                  <a:cubicBezTo>
                    <a:pt x="1598" y="1811"/>
                    <a:pt x="1598" y="1811"/>
                    <a:pt x="1598" y="1811"/>
                  </a:cubicBezTo>
                  <a:close/>
                  <a:moveTo>
                    <a:pt x="1611" y="1811"/>
                  </a:moveTo>
                  <a:cubicBezTo>
                    <a:pt x="1618" y="1811"/>
                    <a:pt x="1618" y="1811"/>
                    <a:pt x="1618" y="1811"/>
                  </a:cubicBezTo>
                  <a:cubicBezTo>
                    <a:pt x="1618" y="1766"/>
                    <a:pt x="1618" y="1766"/>
                    <a:pt x="1618" y="1766"/>
                  </a:cubicBezTo>
                  <a:cubicBezTo>
                    <a:pt x="1611" y="1766"/>
                    <a:pt x="1611" y="1766"/>
                    <a:pt x="1611" y="1766"/>
                  </a:cubicBezTo>
                  <a:cubicBezTo>
                    <a:pt x="1611" y="1811"/>
                    <a:pt x="1611" y="1811"/>
                    <a:pt x="1611" y="1811"/>
                  </a:cubicBezTo>
                  <a:close/>
                  <a:moveTo>
                    <a:pt x="1623" y="1811"/>
                  </a:moveTo>
                  <a:cubicBezTo>
                    <a:pt x="1631" y="1811"/>
                    <a:pt x="1631" y="1811"/>
                    <a:pt x="1631" y="1811"/>
                  </a:cubicBezTo>
                  <a:cubicBezTo>
                    <a:pt x="1631" y="1766"/>
                    <a:pt x="1631" y="1766"/>
                    <a:pt x="1631" y="1766"/>
                  </a:cubicBezTo>
                  <a:cubicBezTo>
                    <a:pt x="1623" y="1766"/>
                    <a:pt x="1623" y="1766"/>
                    <a:pt x="1623" y="1766"/>
                  </a:cubicBezTo>
                  <a:cubicBezTo>
                    <a:pt x="1623" y="1811"/>
                    <a:pt x="1623" y="1811"/>
                    <a:pt x="1623" y="1811"/>
                  </a:cubicBezTo>
                  <a:close/>
                  <a:moveTo>
                    <a:pt x="1636" y="1811"/>
                  </a:moveTo>
                  <a:cubicBezTo>
                    <a:pt x="1644" y="1811"/>
                    <a:pt x="1644" y="1811"/>
                    <a:pt x="1644" y="1811"/>
                  </a:cubicBezTo>
                  <a:cubicBezTo>
                    <a:pt x="1644" y="1766"/>
                    <a:pt x="1644" y="1766"/>
                    <a:pt x="1644" y="1766"/>
                  </a:cubicBezTo>
                  <a:cubicBezTo>
                    <a:pt x="1636" y="1766"/>
                    <a:pt x="1636" y="1766"/>
                    <a:pt x="1636" y="1766"/>
                  </a:cubicBezTo>
                  <a:cubicBezTo>
                    <a:pt x="1636" y="1811"/>
                    <a:pt x="1636" y="1811"/>
                    <a:pt x="1636" y="1811"/>
                  </a:cubicBezTo>
                  <a:close/>
                  <a:moveTo>
                    <a:pt x="1649" y="1811"/>
                  </a:moveTo>
                  <a:cubicBezTo>
                    <a:pt x="1657" y="1811"/>
                    <a:pt x="1657" y="1811"/>
                    <a:pt x="1657" y="1811"/>
                  </a:cubicBezTo>
                  <a:cubicBezTo>
                    <a:pt x="1657" y="1766"/>
                    <a:pt x="1657" y="1766"/>
                    <a:pt x="1657" y="1766"/>
                  </a:cubicBezTo>
                  <a:cubicBezTo>
                    <a:pt x="1649" y="1766"/>
                    <a:pt x="1649" y="1766"/>
                    <a:pt x="1649" y="1766"/>
                  </a:cubicBezTo>
                  <a:cubicBezTo>
                    <a:pt x="1649" y="1811"/>
                    <a:pt x="1649" y="1811"/>
                    <a:pt x="1649" y="1811"/>
                  </a:cubicBezTo>
                  <a:close/>
                  <a:moveTo>
                    <a:pt x="1662" y="1811"/>
                  </a:moveTo>
                  <a:cubicBezTo>
                    <a:pt x="1670" y="1811"/>
                    <a:pt x="1670" y="1811"/>
                    <a:pt x="1670" y="1811"/>
                  </a:cubicBezTo>
                  <a:cubicBezTo>
                    <a:pt x="1670" y="1766"/>
                    <a:pt x="1670" y="1766"/>
                    <a:pt x="1670" y="1766"/>
                  </a:cubicBezTo>
                  <a:cubicBezTo>
                    <a:pt x="1662" y="1766"/>
                    <a:pt x="1662" y="1766"/>
                    <a:pt x="1662" y="1766"/>
                  </a:cubicBezTo>
                  <a:cubicBezTo>
                    <a:pt x="1662" y="1811"/>
                    <a:pt x="1662" y="1811"/>
                    <a:pt x="1662" y="1811"/>
                  </a:cubicBezTo>
                  <a:close/>
                  <a:moveTo>
                    <a:pt x="1675" y="1811"/>
                  </a:moveTo>
                  <a:cubicBezTo>
                    <a:pt x="1683" y="1811"/>
                    <a:pt x="1683" y="1811"/>
                    <a:pt x="1683" y="1811"/>
                  </a:cubicBezTo>
                  <a:cubicBezTo>
                    <a:pt x="1683" y="1766"/>
                    <a:pt x="1683" y="1766"/>
                    <a:pt x="1683" y="1766"/>
                  </a:cubicBezTo>
                  <a:cubicBezTo>
                    <a:pt x="1675" y="1766"/>
                    <a:pt x="1675" y="1766"/>
                    <a:pt x="1675" y="1766"/>
                  </a:cubicBezTo>
                  <a:cubicBezTo>
                    <a:pt x="1675" y="1811"/>
                    <a:pt x="1675" y="1811"/>
                    <a:pt x="1675" y="1811"/>
                  </a:cubicBezTo>
                  <a:close/>
                  <a:moveTo>
                    <a:pt x="1688" y="1811"/>
                  </a:moveTo>
                  <a:cubicBezTo>
                    <a:pt x="1695" y="1811"/>
                    <a:pt x="1695" y="1811"/>
                    <a:pt x="1695" y="1811"/>
                  </a:cubicBezTo>
                  <a:cubicBezTo>
                    <a:pt x="1695" y="1766"/>
                    <a:pt x="1695" y="1766"/>
                    <a:pt x="1695" y="1766"/>
                  </a:cubicBezTo>
                  <a:cubicBezTo>
                    <a:pt x="1688" y="1766"/>
                    <a:pt x="1688" y="1766"/>
                    <a:pt x="1688" y="1766"/>
                  </a:cubicBezTo>
                  <a:cubicBezTo>
                    <a:pt x="1688" y="1811"/>
                    <a:pt x="1688" y="1811"/>
                    <a:pt x="1688" y="1811"/>
                  </a:cubicBezTo>
                  <a:close/>
                  <a:moveTo>
                    <a:pt x="1701" y="1811"/>
                  </a:moveTo>
                  <a:cubicBezTo>
                    <a:pt x="1708" y="1811"/>
                    <a:pt x="1708" y="1811"/>
                    <a:pt x="1708" y="1811"/>
                  </a:cubicBezTo>
                  <a:cubicBezTo>
                    <a:pt x="1708" y="1766"/>
                    <a:pt x="1708" y="1766"/>
                    <a:pt x="1708" y="1766"/>
                  </a:cubicBezTo>
                  <a:cubicBezTo>
                    <a:pt x="1701" y="1766"/>
                    <a:pt x="1701" y="1766"/>
                    <a:pt x="1701" y="1766"/>
                  </a:cubicBezTo>
                  <a:cubicBezTo>
                    <a:pt x="1701" y="1811"/>
                    <a:pt x="1701" y="1811"/>
                    <a:pt x="1701" y="1811"/>
                  </a:cubicBezTo>
                  <a:close/>
                  <a:moveTo>
                    <a:pt x="1714" y="1811"/>
                  </a:moveTo>
                  <a:cubicBezTo>
                    <a:pt x="1721" y="1811"/>
                    <a:pt x="1721" y="1811"/>
                    <a:pt x="1721" y="1811"/>
                  </a:cubicBezTo>
                  <a:cubicBezTo>
                    <a:pt x="1721" y="1766"/>
                    <a:pt x="1721" y="1766"/>
                    <a:pt x="1721" y="1766"/>
                  </a:cubicBezTo>
                  <a:cubicBezTo>
                    <a:pt x="1714" y="1766"/>
                    <a:pt x="1714" y="1766"/>
                    <a:pt x="1714" y="1766"/>
                  </a:cubicBezTo>
                  <a:cubicBezTo>
                    <a:pt x="1714" y="1811"/>
                    <a:pt x="1714" y="1811"/>
                    <a:pt x="1714" y="1811"/>
                  </a:cubicBezTo>
                  <a:close/>
                  <a:moveTo>
                    <a:pt x="1727" y="1811"/>
                  </a:moveTo>
                  <a:cubicBezTo>
                    <a:pt x="1734" y="1811"/>
                    <a:pt x="1734" y="1811"/>
                    <a:pt x="1734" y="1811"/>
                  </a:cubicBezTo>
                  <a:cubicBezTo>
                    <a:pt x="1734" y="1766"/>
                    <a:pt x="1734" y="1766"/>
                    <a:pt x="1734" y="1766"/>
                  </a:cubicBezTo>
                  <a:cubicBezTo>
                    <a:pt x="1727" y="1766"/>
                    <a:pt x="1727" y="1766"/>
                    <a:pt x="1727" y="1766"/>
                  </a:cubicBezTo>
                  <a:cubicBezTo>
                    <a:pt x="1727" y="1811"/>
                    <a:pt x="1727" y="1811"/>
                    <a:pt x="1727" y="1811"/>
                  </a:cubicBezTo>
                  <a:close/>
                  <a:moveTo>
                    <a:pt x="1739" y="1811"/>
                  </a:moveTo>
                  <a:cubicBezTo>
                    <a:pt x="1747" y="1811"/>
                    <a:pt x="1747" y="1811"/>
                    <a:pt x="1747" y="1811"/>
                  </a:cubicBezTo>
                  <a:cubicBezTo>
                    <a:pt x="1747" y="1766"/>
                    <a:pt x="1747" y="1766"/>
                    <a:pt x="1747" y="1766"/>
                  </a:cubicBezTo>
                  <a:cubicBezTo>
                    <a:pt x="1739" y="1766"/>
                    <a:pt x="1739" y="1766"/>
                    <a:pt x="1739" y="1766"/>
                  </a:cubicBezTo>
                  <a:cubicBezTo>
                    <a:pt x="1739" y="1811"/>
                    <a:pt x="1739" y="1811"/>
                    <a:pt x="1739" y="1811"/>
                  </a:cubicBezTo>
                  <a:close/>
                  <a:moveTo>
                    <a:pt x="1752" y="1811"/>
                  </a:moveTo>
                  <a:cubicBezTo>
                    <a:pt x="1760" y="1811"/>
                    <a:pt x="1760" y="1811"/>
                    <a:pt x="1760" y="1811"/>
                  </a:cubicBezTo>
                  <a:cubicBezTo>
                    <a:pt x="1760" y="1766"/>
                    <a:pt x="1760" y="1766"/>
                    <a:pt x="1760" y="1766"/>
                  </a:cubicBezTo>
                  <a:cubicBezTo>
                    <a:pt x="1752" y="1766"/>
                    <a:pt x="1752" y="1766"/>
                    <a:pt x="1752" y="1766"/>
                  </a:cubicBezTo>
                  <a:cubicBezTo>
                    <a:pt x="1752" y="1811"/>
                    <a:pt x="1752" y="1811"/>
                    <a:pt x="1752" y="1811"/>
                  </a:cubicBezTo>
                  <a:close/>
                  <a:moveTo>
                    <a:pt x="1765" y="1811"/>
                  </a:moveTo>
                  <a:cubicBezTo>
                    <a:pt x="1773" y="1811"/>
                    <a:pt x="1773" y="1811"/>
                    <a:pt x="1773" y="1811"/>
                  </a:cubicBezTo>
                  <a:cubicBezTo>
                    <a:pt x="1773" y="1766"/>
                    <a:pt x="1773" y="1766"/>
                    <a:pt x="1773" y="1766"/>
                  </a:cubicBezTo>
                  <a:cubicBezTo>
                    <a:pt x="1765" y="1766"/>
                    <a:pt x="1765" y="1766"/>
                    <a:pt x="1765" y="1766"/>
                  </a:cubicBezTo>
                  <a:cubicBezTo>
                    <a:pt x="1765" y="1811"/>
                    <a:pt x="1765" y="1811"/>
                    <a:pt x="1765" y="1811"/>
                  </a:cubicBezTo>
                  <a:close/>
                  <a:moveTo>
                    <a:pt x="1778" y="1811"/>
                  </a:moveTo>
                  <a:cubicBezTo>
                    <a:pt x="1786" y="1811"/>
                    <a:pt x="1786" y="1811"/>
                    <a:pt x="1786" y="1811"/>
                  </a:cubicBezTo>
                  <a:cubicBezTo>
                    <a:pt x="1786" y="1766"/>
                    <a:pt x="1786" y="1766"/>
                    <a:pt x="1786" y="1766"/>
                  </a:cubicBezTo>
                  <a:cubicBezTo>
                    <a:pt x="1778" y="1766"/>
                    <a:pt x="1778" y="1766"/>
                    <a:pt x="1778" y="1766"/>
                  </a:cubicBezTo>
                  <a:cubicBezTo>
                    <a:pt x="1778" y="1811"/>
                    <a:pt x="1778" y="1811"/>
                    <a:pt x="1778" y="1811"/>
                  </a:cubicBezTo>
                  <a:close/>
                  <a:moveTo>
                    <a:pt x="1791" y="1811"/>
                  </a:moveTo>
                  <a:cubicBezTo>
                    <a:pt x="1798" y="1811"/>
                    <a:pt x="1798" y="1811"/>
                    <a:pt x="1798" y="1811"/>
                  </a:cubicBezTo>
                  <a:cubicBezTo>
                    <a:pt x="1798" y="1766"/>
                    <a:pt x="1798" y="1766"/>
                    <a:pt x="1798" y="1766"/>
                  </a:cubicBezTo>
                  <a:cubicBezTo>
                    <a:pt x="1791" y="1766"/>
                    <a:pt x="1791" y="1766"/>
                    <a:pt x="1791" y="1766"/>
                  </a:cubicBezTo>
                  <a:cubicBezTo>
                    <a:pt x="1791" y="1811"/>
                    <a:pt x="1791" y="1811"/>
                    <a:pt x="1791" y="1811"/>
                  </a:cubicBezTo>
                  <a:close/>
                  <a:moveTo>
                    <a:pt x="1804" y="1811"/>
                  </a:moveTo>
                  <a:cubicBezTo>
                    <a:pt x="1811" y="1811"/>
                    <a:pt x="1811" y="1811"/>
                    <a:pt x="1811" y="1811"/>
                  </a:cubicBezTo>
                  <a:cubicBezTo>
                    <a:pt x="1811" y="1766"/>
                    <a:pt x="1811" y="1766"/>
                    <a:pt x="1811" y="1766"/>
                  </a:cubicBezTo>
                  <a:cubicBezTo>
                    <a:pt x="1804" y="1766"/>
                    <a:pt x="1804" y="1766"/>
                    <a:pt x="1804" y="1766"/>
                  </a:cubicBezTo>
                  <a:cubicBezTo>
                    <a:pt x="1804" y="1811"/>
                    <a:pt x="1804" y="1811"/>
                    <a:pt x="1804" y="1811"/>
                  </a:cubicBezTo>
                  <a:close/>
                  <a:moveTo>
                    <a:pt x="1817" y="1811"/>
                  </a:moveTo>
                  <a:cubicBezTo>
                    <a:pt x="1824" y="1811"/>
                    <a:pt x="1824" y="1811"/>
                    <a:pt x="1824" y="1811"/>
                  </a:cubicBezTo>
                  <a:cubicBezTo>
                    <a:pt x="1824" y="1766"/>
                    <a:pt x="1824" y="1766"/>
                    <a:pt x="1824" y="1766"/>
                  </a:cubicBezTo>
                  <a:cubicBezTo>
                    <a:pt x="1817" y="1766"/>
                    <a:pt x="1817" y="1766"/>
                    <a:pt x="1817" y="1766"/>
                  </a:cubicBezTo>
                  <a:cubicBezTo>
                    <a:pt x="1817" y="1811"/>
                    <a:pt x="1817" y="1811"/>
                    <a:pt x="1817" y="1811"/>
                  </a:cubicBezTo>
                  <a:close/>
                  <a:moveTo>
                    <a:pt x="1830" y="1811"/>
                  </a:moveTo>
                  <a:cubicBezTo>
                    <a:pt x="1837" y="1811"/>
                    <a:pt x="1837" y="1811"/>
                    <a:pt x="1837" y="1811"/>
                  </a:cubicBezTo>
                  <a:cubicBezTo>
                    <a:pt x="1837" y="1766"/>
                    <a:pt x="1837" y="1766"/>
                    <a:pt x="1837" y="1766"/>
                  </a:cubicBezTo>
                  <a:cubicBezTo>
                    <a:pt x="1830" y="1766"/>
                    <a:pt x="1830" y="1766"/>
                    <a:pt x="1830" y="1766"/>
                  </a:cubicBezTo>
                  <a:cubicBezTo>
                    <a:pt x="1830" y="1811"/>
                    <a:pt x="1830" y="1811"/>
                    <a:pt x="1830" y="1811"/>
                  </a:cubicBezTo>
                  <a:close/>
                  <a:moveTo>
                    <a:pt x="1842" y="1811"/>
                  </a:moveTo>
                  <a:cubicBezTo>
                    <a:pt x="1850" y="1811"/>
                    <a:pt x="1850" y="1811"/>
                    <a:pt x="1850" y="1811"/>
                  </a:cubicBezTo>
                  <a:cubicBezTo>
                    <a:pt x="1850" y="1687"/>
                    <a:pt x="1850" y="1687"/>
                    <a:pt x="1850" y="1687"/>
                  </a:cubicBezTo>
                  <a:cubicBezTo>
                    <a:pt x="1842" y="1687"/>
                    <a:pt x="1842" y="1687"/>
                    <a:pt x="1842" y="1687"/>
                  </a:cubicBezTo>
                  <a:cubicBezTo>
                    <a:pt x="1842" y="1811"/>
                    <a:pt x="1842" y="1811"/>
                    <a:pt x="1842" y="1811"/>
                  </a:cubicBezTo>
                  <a:close/>
                  <a:moveTo>
                    <a:pt x="1855" y="1811"/>
                  </a:moveTo>
                  <a:cubicBezTo>
                    <a:pt x="1863" y="1811"/>
                    <a:pt x="1863" y="1811"/>
                    <a:pt x="1863" y="1811"/>
                  </a:cubicBezTo>
                  <a:cubicBezTo>
                    <a:pt x="1863" y="1687"/>
                    <a:pt x="1863" y="1687"/>
                    <a:pt x="1863" y="1687"/>
                  </a:cubicBezTo>
                  <a:cubicBezTo>
                    <a:pt x="1855" y="1687"/>
                    <a:pt x="1855" y="1687"/>
                    <a:pt x="1855" y="1687"/>
                  </a:cubicBezTo>
                  <a:cubicBezTo>
                    <a:pt x="1855" y="1811"/>
                    <a:pt x="1855" y="1811"/>
                    <a:pt x="1855" y="1811"/>
                  </a:cubicBezTo>
                  <a:close/>
                  <a:moveTo>
                    <a:pt x="1868" y="1811"/>
                  </a:moveTo>
                  <a:cubicBezTo>
                    <a:pt x="1876" y="1811"/>
                    <a:pt x="1876" y="1811"/>
                    <a:pt x="1876" y="1811"/>
                  </a:cubicBezTo>
                  <a:cubicBezTo>
                    <a:pt x="1876" y="1687"/>
                    <a:pt x="1876" y="1687"/>
                    <a:pt x="1876" y="1687"/>
                  </a:cubicBezTo>
                  <a:cubicBezTo>
                    <a:pt x="1868" y="1687"/>
                    <a:pt x="1868" y="1687"/>
                    <a:pt x="1868" y="1687"/>
                  </a:cubicBezTo>
                  <a:cubicBezTo>
                    <a:pt x="1868" y="1811"/>
                    <a:pt x="1868" y="1811"/>
                    <a:pt x="1868" y="1811"/>
                  </a:cubicBezTo>
                  <a:close/>
                  <a:moveTo>
                    <a:pt x="1881" y="1811"/>
                  </a:moveTo>
                  <a:cubicBezTo>
                    <a:pt x="1889" y="1811"/>
                    <a:pt x="1889" y="1811"/>
                    <a:pt x="1889" y="1811"/>
                  </a:cubicBezTo>
                  <a:cubicBezTo>
                    <a:pt x="1889" y="1687"/>
                    <a:pt x="1889" y="1687"/>
                    <a:pt x="1889" y="1687"/>
                  </a:cubicBezTo>
                  <a:cubicBezTo>
                    <a:pt x="1881" y="1687"/>
                    <a:pt x="1881" y="1687"/>
                    <a:pt x="1881" y="1687"/>
                  </a:cubicBezTo>
                  <a:cubicBezTo>
                    <a:pt x="1881" y="1811"/>
                    <a:pt x="1881" y="1811"/>
                    <a:pt x="1881" y="1811"/>
                  </a:cubicBezTo>
                  <a:close/>
                  <a:moveTo>
                    <a:pt x="1894" y="1811"/>
                  </a:moveTo>
                  <a:cubicBezTo>
                    <a:pt x="1902" y="1811"/>
                    <a:pt x="1902" y="1811"/>
                    <a:pt x="1902" y="1811"/>
                  </a:cubicBezTo>
                  <a:cubicBezTo>
                    <a:pt x="1902" y="1687"/>
                    <a:pt x="1902" y="1687"/>
                    <a:pt x="1902" y="1687"/>
                  </a:cubicBezTo>
                  <a:cubicBezTo>
                    <a:pt x="1894" y="1687"/>
                    <a:pt x="1894" y="1687"/>
                    <a:pt x="1894" y="1687"/>
                  </a:cubicBezTo>
                  <a:cubicBezTo>
                    <a:pt x="1894" y="1811"/>
                    <a:pt x="1894" y="1811"/>
                    <a:pt x="1894" y="1811"/>
                  </a:cubicBezTo>
                  <a:close/>
                  <a:moveTo>
                    <a:pt x="1907" y="1811"/>
                  </a:moveTo>
                  <a:cubicBezTo>
                    <a:pt x="1914" y="1811"/>
                    <a:pt x="1914" y="1811"/>
                    <a:pt x="1914" y="1811"/>
                  </a:cubicBezTo>
                  <a:cubicBezTo>
                    <a:pt x="1914" y="1687"/>
                    <a:pt x="1914" y="1687"/>
                    <a:pt x="1914" y="1687"/>
                  </a:cubicBezTo>
                  <a:cubicBezTo>
                    <a:pt x="1907" y="1687"/>
                    <a:pt x="1907" y="1687"/>
                    <a:pt x="1907" y="1687"/>
                  </a:cubicBezTo>
                  <a:cubicBezTo>
                    <a:pt x="1907" y="1811"/>
                    <a:pt x="1907" y="1811"/>
                    <a:pt x="1907" y="1811"/>
                  </a:cubicBezTo>
                  <a:close/>
                  <a:moveTo>
                    <a:pt x="1920" y="1811"/>
                  </a:moveTo>
                  <a:cubicBezTo>
                    <a:pt x="1927" y="1811"/>
                    <a:pt x="1927" y="1811"/>
                    <a:pt x="1927" y="1811"/>
                  </a:cubicBezTo>
                  <a:cubicBezTo>
                    <a:pt x="1927" y="1687"/>
                    <a:pt x="1927" y="1687"/>
                    <a:pt x="1927" y="1687"/>
                  </a:cubicBezTo>
                  <a:cubicBezTo>
                    <a:pt x="1920" y="1687"/>
                    <a:pt x="1920" y="1687"/>
                    <a:pt x="1920" y="1687"/>
                  </a:cubicBezTo>
                  <a:cubicBezTo>
                    <a:pt x="1920" y="1811"/>
                    <a:pt x="1920" y="1811"/>
                    <a:pt x="1920" y="1811"/>
                  </a:cubicBezTo>
                  <a:close/>
                  <a:moveTo>
                    <a:pt x="1933" y="1811"/>
                  </a:moveTo>
                  <a:cubicBezTo>
                    <a:pt x="1940" y="1811"/>
                    <a:pt x="1940" y="1811"/>
                    <a:pt x="1940" y="1811"/>
                  </a:cubicBezTo>
                  <a:cubicBezTo>
                    <a:pt x="1940" y="1687"/>
                    <a:pt x="1940" y="1687"/>
                    <a:pt x="1940" y="1687"/>
                  </a:cubicBezTo>
                  <a:cubicBezTo>
                    <a:pt x="1933" y="1687"/>
                    <a:pt x="1933" y="1687"/>
                    <a:pt x="1933" y="1687"/>
                  </a:cubicBezTo>
                  <a:cubicBezTo>
                    <a:pt x="1933" y="1811"/>
                    <a:pt x="1933" y="1811"/>
                    <a:pt x="1933" y="1811"/>
                  </a:cubicBezTo>
                  <a:close/>
                  <a:moveTo>
                    <a:pt x="1946" y="1811"/>
                  </a:moveTo>
                  <a:cubicBezTo>
                    <a:pt x="1953" y="1811"/>
                    <a:pt x="1953" y="1811"/>
                    <a:pt x="1953" y="1811"/>
                  </a:cubicBezTo>
                  <a:cubicBezTo>
                    <a:pt x="1953" y="1687"/>
                    <a:pt x="1953" y="1687"/>
                    <a:pt x="1953" y="1687"/>
                  </a:cubicBezTo>
                  <a:cubicBezTo>
                    <a:pt x="1946" y="1687"/>
                    <a:pt x="1946" y="1687"/>
                    <a:pt x="1946" y="1687"/>
                  </a:cubicBezTo>
                  <a:cubicBezTo>
                    <a:pt x="1946" y="1811"/>
                    <a:pt x="1946" y="1811"/>
                    <a:pt x="1946" y="1811"/>
                  </a:cubicBezTo>
                  <a:close/>
                  <a:moveTo>
                    <a:pt x="1958" y="1811"/>
                  </a:moveTo>
                  <a:cubicBezTo>
                    <a:pt x="1966" y="1811"/>
                    <a:pt x="1966" y="1811"/>
                    <a:pt x="1966" y="1811"/>
                  </a:cubicBezTo>
                  <a:cubicBezTo>
                    <a:pt x="1966" y="1687"/>
                    <a:pt x="1966" y="1687"/>
                    <a:pt x="1966" y="1687"/>
                  </a:cubicBezTo>
                  <a:cubicBezTo>
                    <a:pt x="1958" y="1687"/>
                    <a:pt x="1958" y="1687"/>
                    <a:pt x="1958" y="1687"/>
                  </a:cubicBezTo>
                  <a:cubicBezTo>
                    <a:pt x="1958" y="1811"/>
                    <a:pt x="1958" y="1811"/>
                    <a:pt x="1958" y="1811"/>
                  </a:cubicBezTo>
                  <a:close/>
                  <a:moveTo>
                    <a:pt x="1970" y="1811"/>
                  </a:moveTo>
                  <a:cubicBezTo>
                    <a:pt x="2087" y="1811"/>
                    <a:pt x="2087" y="1811"/>
                    <a:pt x="2087" y="1811"/>
                  </a:cubicBezTo>
                  <a:cubicBezTo>
                    <a:pt x="2097" y="1797"/>
                    <a:pt x="2107" y="1782"/>
                    <a:pt x="2116" y="1767"/>
                  </a:cubicBezTo>
                  <a:cubicBezTo>
                    <a:pt x="1970" y="1767"/>
                    <a:pt x="1970" y="1767"/>
                    <a:pt x="1970" y="1767"/>
                  </a:cubicBezTo>
                  <a:cubicBezTo>
                    <a:pt x="1970" y="1811"/>
                    <a:pt x="1970" y="1811"/>
                    <a:pt x="1970" y="1811"/>
                  </a:cubicBezTo>
                  <a:close/>
                  <a:moveTo>
                    <a:pt x="1116" y="1931"/>
                  </a:moveTo>
                  <a:cubicBezTo>
                    <a:pt x="1116" y="1953"/>
                    <a:pt x="1116" y="1953"/>
                    <a:pt x="1116" y="1953"/>
                  </a:cubicBezTo>
                  <a:cubicBezTo>
                    <a:pt x="1166" y="1953"/>
                    <a:pt x="1166" y="1953"/>
                    <a:pt x="1166" y="1953"/>
                  </a:cubicBezTo>
                  <a:cubicBezTo>
                    <a:pt x="1166" y="1931"/>
                    <a:pt x="1166" y="1931"/>
                    <a:pt x="1166" y="1931"/>
                  </a:cubicBezTo>
                  <a:cubicBezTo>
                    <a:pt x="1116" y="1931"/>
                    <a:pt x="1116" y="1931"/>
                    <a:pt x="1116" y="1931"/>
                  </a:cubicBezTo>
                  <a:close/>
                  <a:moveTo>
                    <a:pt x="1121" y="1937"/>
                  </a:moveTo>
                  <a:cubicBezTo>
                    <a:pt x="1121" y="1945"/>
                    <a:pt x="1121" y="1945"/>
                    <a:pt x="1121" y="1945"/>
                  </a:cubicBezTo>
                  <a:cubicBezTo>
                    <a:pt x="1160" y="1945"/>
                    <a:pt x="1160" y="1945"/>
                    <a:pt x="1160" y="1945"/>
                  </a:cubicBezTo>
                  <a:cubicBezTo>
                    <a:pt x="1160" y="1937"/>
                    <a:pt x="1160" y="1937"/>
                    <a:pt x="1160" y="1937"/>
                  </a:cubicBezTo>
                  <a:cubicBezTo>
                    <a:pt x="1121" y="1937"/>
                    <a:pt x="1121" y="1937"/>
                    <a:pt x="1121" y="1937"/>
                  </a:cubicBezTo>
                  <a:close/>
                  <a:moveTo>
                    <a:pt x="1116" y="1904"/>
                  </a:moveTo>
                  <a:cubicBezTo>
                    <a:pt x="1116" y="1925"/>
                    <a:pt x="1116" y="1925"/>
                    <a:pt x="1116" y="1925"/>
                  </a:cubicBezTo>
                  <a:cubicBezTo>
                    <a:pt x="1166" y="1925"/>
                    <a:pt x="1166" y="1925"/>
                    <a:pt x="1166" y="1925"/>
                  </a:cubicBezTo>
                  <a:cubicBezTo>
                    <a:pt x="1166" y="1904"/>
                    <a:pt x="1166" y="1904"/>
                    <a:pt x="1166" y="1904"/>
                  </a:cubicBezTo>
                  <a:cubicBezTo>
                    <a:pt x="1116" y="1904"/>
                    <a:pt x="1116" y="1904"/>
                    <a:pt x="1116" y="1904"/>
                  </a:cubicBezTo>
                  <a:close/>
                  <a:moveTo>
                    <a:pt x="1121" y="1909"/>
                  </a:moveTo>
                  <a:cubicBezTo>
                    <a:pt x="1121" y="1918"/>
                    <a:pt x="1121" y="1918"/>
                    <a:pt x="1121" y="1918"/>
                  </a:cubicBezTo>
                  <a:cubicBezTo>
                    <a:pt x="1160" y="1918"/>
                    <a:pt x="1160" y="1918"/>
                    <a:pt x="1160" y="1918"/>
                  </a:cubicBezTo>
                  <a:cubicBezTo>
                    <a:pt x="1160" y="1909"/>
                    <a:pt x="1160" y="1909"/>
                    <a:pt x="1160" y="1909"/>
                  </a:cubicBezTo>
                  <a:cubicBezTo>
                    <a:pt x="1121" y="1909"/>
                    <a:pt x="1121" y="1909"/>
                    <a:pt x="1121" y="1909"/>
                  </a:cubicBezTo>
                  <a:close/>
                  <a:moveTo>
                    <a:pt x="976" y="1937"/>
                  </a:moveTo>
                  <a:cubicBezTo>
                    <a:pt x="976" y="1945"/>
                    <a:pt x="976" y="1945"/>
                    <a:pt x="976" y="1945"/>
                  </a:cubicBezTo>
                  <a:cubicBezTo>
                    <a:pt x="1090" y="1945"/>
                    <a:pt x="1090" y="1945"/>
                    <a:pt x="1090" y="1945"/>
                  </a:cubicBezTo>
                  <a:cubicBezTo>
                    <a:pt x="1090" y="1937"/>
                    <a:pt x="1090" y="1937"/>
                    <a:pt x="1090" y="1937"/>
                  </a:cubicBezTo>
                  <a:cubicBezTo>
                    <a:pt x="976" y="1937"/>
                    <a:pt x="976" y="1937"/>
                    <a:pt x="976" y="1937"/>
                  </a:cubicBezTo>
                  <a:close/>
                  <a:moveTo>
                    <a:pt x="976" y="1911"/>
                  </a:moveTo>
                  <a:cubicBezTo>
                    <a:pt x="976" y="1918"/>
                    <a:pt x="976" y="1918"/>
                    <a:pt x="976" y="1918"/>
                  </a:cubicBezTo>
                  <a:cubicBezTo>
                    <a:pt x="1091" y="1918"/>
                    <a:pt x="1091" y="1918"/>
                    <a:pt x="1091" y="1918"/>
                  </a:cubicBezTo>
                  <a:cubicBezTo>
                    <a:pt x="1091" y="1911"/>
                    <a:pt x="1091" y="1911"/>
                    <a:pt x="1091" y="1911"/>
                  </a:cubicBezTo>
                  <a:cubicBezTo>
                    <a:pt x="976" y="1911"/>
                    <a:pt x="976" y="1911"/>
                    <a:pt x="976" y="1911"/>
                  </a:cubicBezTo>
                  <a:close/>
                  <a:moveTo>
                    <a:pt x="953" y="1878"/>
                  </a:moveTo>
                  <a:cubicBezTo>
                    <a:pt x="953" y="1887"/>
                    <a:pt x="953" y="1887"/>
                    <a:pt x="953" y="1887"/>
                  </a:cubicBezTo>
                  <a:cubicBezTo>
                    <a:pt x="1090" y="1887"/>
                    <a:pt x="1090" y="1887"/>
                    <a:pt x="1090" y="1887"/>
                  </a:cubicBezTo>
                  <a:cubicBezTo>
                    <a:pt x="1090" y="1878"/>
                    <a:pt x="1090" y="1878"/>
                    <a:pt x="1090" y="1878"/>
                  </a:cubicBezTo>
                  <a:cubicBezTo>
                    <a:pt x="953" y="1878"/>
                    <a:pt x="953" y="1878"/>
                    <a:pt x="953" y="1878"/>
                  </a:cubicBezTo>
                  <a:close/>
                  <a:moveTo>
                    <a:pt x="952" y="1852"/>
                  </a:moveTo>
                  <a:cubicBezTo>
                    <a:pt x="952" y="1860"/>
                    <a:pt x="952" y="1860"/>
                    <a:pt x="952" y="1860"/>
                  </a:cubicBezTo>
                  <a:cubicBezTo>
                    <a:pt x="1090" y="1860"/>
                    <a:pt x="1090" y="1860"/>
                    <a:pt x="1090" y="1860"/>
                  </a:cubicBezTo>
                  <a:cubicBezTo>
                    <a:pt x="1090" y="1852"/>
                    <a:pt x="1090" y="1852"/>
                    <a:pt x="1090" y="1852"/>
                  </a:cubicBezTo>
                  <a:cubicBezTo>
                    <a:pt x="952" y="1852"/>
                    <a:pt x="952" y="1852"/>
                    <a:pt x="952" y="1852"/>
                  </a:cubicBezTo>
                  <a:close/>
                  <a:moveTo>
                    <a:pt x="951" y="1824"/>
                  </a:moveTo>
                  <a:cubicBezTo>
                    <a:pt x="951" y="1832"/>
                    <a:pt x="951" y="1832"/>
                    <a:pt x="951" y="1832"/>
                  </a:cubicBezTo>
                  <a:cubicBezTo>
                    <a:pt x="1090" y="1832"/>
                    <a:pt x="1090" y="1832"/>
                    <a:pt x="1090" y="1832"/>
                  </a:cubicBezTo>
                  <a:cubicBezTo>
                    <a:pt x="1090" y="1824"/>
                    <a:pt x="1090" y="1824"/>
                    <a:pt x="1090" y="1824"/>
                  </a:cubicBezTo>
                  <a:cubicBezTo>
                    <a:pt x="951" y="1824"/>
                    <a:pt x="951" y="1824"/>
                    <a:pt x="951" y="1824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772" y="1835"/>
                  </a:moveTo>
                  <a:cubicBezTo>
                    <a:pt x="772" y="1887"/>
                    <a:pt x="772" y="1887"/>
                    <a:pt x="772" y="1887"/>
                  </a:cubicBezTo>
                  <a:cubicBezTo>
                    <a:pt x="945" y="1887"/>
                    <a:pt x="945" y="1887"/>
                    <a:pt x="945" y="1887"/>
                  </a:cubicBezTo>
                  <a:cubicBezTo>
                    <a:pt x="945" y="1835"/>
                    <a:pt x="945" y="1835"/>
                    <a:pt x="945" y="1835"/>
                  </a:cubicBezTo>
                  <a:cubicBezTo>
                    <a:pt x="772" y="1835"/>
                    <a:pt x="772" y="1835"/>
                    <a:pt x="772" y="1835"/>
                  </a:cubicBezTo>
                  <a:close/>
                  <a:moveTo>
                    <a:pt x="782" y="1893"/>
                  </a:moveTo>
                  <a:cubicBezTo>
                    <a:pt x="766" y="1894"/>
                    <a:pt x="757" y="1900"/>
                    <a:pt x="757" y="1913"/>
                  </a:cubicBezTo>
                  <a:cubicBezTo>
                    <a:pt x="757" y="1944"/>
                    <a:pt x="757" y="1944"/>
                    <a:pt x="757" y="1944"/>
                  </a:cubicBezTo>
                  <a:cubicBezTo>
                    <a:pt x="969" y="1944"/>
                    <a:pt x="969" y="1944"/>
                    <a:pt x="969" y="1944"/>
                  </a:cubicBezTo>
                  <a:cubicBezTo>
                    <a:pt x="969" y="1917"/>
                    <a:pt x="969" y="1917"/>
                    <a:pt x="969" y="1917"/>
                  </a:cubicBezTo>
                  <a:cubicBezTo>
                    <a:pt x="963" y="1907"/>
                    <a:pt x="957" y="1898"/>
                    <a:pt x="942" y="1893"/>
                  </a:cubicBezTo>
                  <a:cubicBezTo>
                    <a:pt x="782" y="1893"/>
                    <a:pt x="782" y="1893"/>
                    <a:pt x="782" y="1893"/>
                  </a:cubicBezTo>
                  <a:close/>
                  <a:moveTo>
                    <a:pt x="1116" y="1850"/>
                  </a:moveTo>
                  <a:cubicBezTo>
                    <a:pt x="1116" y="1871"/>
                    <a:pt x="1116" y="1871"/>
                    <a:pt x="1116" y="1871"/>
                  </a:cubicBezTo>
                  <a:cubicBezTo>
                    <a:pt x="1166" y="1871"/>
                    <a:pt x="1166" y="1871"/>
                    <a:pt x="1166" y="1871"/>
                  </a:cubicBezTo>
                  <a:cubicBezTo>
                    <a:pt x="1166" y="1850"/>
                    <a:pt x="1166" y="1850"/>
                    <a:pt x="1166" y="1850"/>
                  </a:cubicBezTo>
                  <a:cubicBezTo>
                    <a:pt x="1116" y="1850"/>
                    <a:pt x="1116" y="1850"/>
                    <a:pt x="1116" y="1850"/>
                  </a:cubicBezTo>
                  <a:close/>
                  <a:moveTo>
                    <a:pt x="1121" y="1856"/>
                  </a:moveTo>
                  <a:cubicBezTo>
                    <a:pt x="1121" y="1864"/>
                    <a:pt x="1121" y="1864"/>
                    <a:pt x="1121" y="1864"/>
                  </a:cubicBezTo>
                  <a:cubicBezTo>
                    <a:pt x="1160" y="1864"/>
                    <a:pt x="1160" y="1864"/>
                    <a:pt x="1160" y="1864"/>
                  </a:cubicBezTo>
                  <a:cubicBezTo>
                    <a:pt x="1160" y="1856"/>
                    <a:pt x="1160" y="1856"/>
                    <a:pt x="1160" y="1856"/>
                  </a:cubicBezTo>
                  <a:cubicBezTo>
                    <a:pt x="1121" y="1856"/>
                    <a:pt x="1121" y="1856"/>
                    <a:pt x="1121" y="1856"/>
                  </a:cubicBezTo>
                  <a:close/>
                  <a:moveTo>
                    <a:pt x="1116" y="1876"/>
                  </a:moveTo>
                  <a:cubicBezTo>
                    <a:pt x="1116" y="1897"/>
                    <a:pt x="1116" y="1897"/>
                    <a:pt x="1116" y="1897"/>
                  </a:cubicBezTo>
                  <a:cubicBezTo>
                    <a:pt x="1166" y="1897"/>
                    <a:pt x="1166" y="1897"/>
                    <a:pt x="1166" y="1897"/>
                  </a:cubicBezTo>
                  <a:cubicBezTo>
                    <a:pt x="1166" y="1876"/>
                    <a:pt x="1166" y="1876"/>
                    <a:pt x="1166" y="1876"/>
                  </a:cubicBezTo>
                  <a:cubicBezTo>
                    <a:pt x="1116" y="1876"/>
                    <a:pt x="1116" y="1876"/>
                    <a:pt x="1116" y="1876"/>
                  </a:cubicBezTo>
                  <a:close/>
                  <a:moveTo>
                    <a:pt x="1121" y="1881"/>
                  </a:moveTo>
                  <a:cubicBezTo>
                    <a:pt x="1121" y="1890"/>
                    <a:pt x="1121" y="1890"/>
                    <a:pt x="1121" y="1890"/>
                  </a:cubicBezTo>
                  <a:cubicBezTo>
                    <a:pt x="1160" y="1890"/>
                    <a:pt x="1160" y="1890"/>
                    <a:pt x="1160" y="1890"/>
                  </a:cubicBezTo>
                  <a:cubicBezTo>
                    <a:pt x="1160" y="1881"/>
                    <a:pt x="1160" y="1881"/>
                    <a:pt x="1160" y="1881"/>
                  </a:cubicBezTo>
                  <a:cubicBezTo>
                    <a:pt x="1121" y="1881"/>
                    <a:pt x="1121" y="1881"/>
                    <a:pt x="1121" y="1881"/>
                  </a:cubicBezTo>
                  <a:close/>
                  <a:moveTo>
                    <a:pt x="1116" y="1823"/>
                  </a:moveTo>
                  <a:cubicBezTo>
                    <a:pt x="1116" y="1844"/>
                    <a:pt x="1116" y="1844"/>
                    <a:pt x="1116" y="1844"/>
                  </a:cubicBezTo>
                  <a:cubicBezTo>
                    <a:pt x="1166" y="1844"/>
                    <a:pt x="1166" y="1844"/>
                    <a:pt x="1166" y="1844"/>
                  </a:cubicBezTo>
                  <a:cubicBezTo>
                    <a:pt x="1166" y="1823"/>
                    <a:pt x="1166" y="1823"/>
                    <a:pt x="1166" y="1823"/>
                  </a:cubicBezTo>
                  <a:cubicBezTo>
                    <a:pt x="1116" y="1823"/>
                    <a:pt x="1116" y="1823"/>
                    <a:pt x="1116" y="1823"/>
                  </a:cubicBezTo>
                  <a:close/>
                  <a:moveTo>
                    <a:pt x="1121" y="1828"/>
                  </a:moveTo>
                  <a:cubicBezTo>
                    <a:pt x="1121" y="1837"/>
                    <a:pt x="1121" y="1837"/>
                    <a:pt x="1121" y="1837"/>
                  </a:cubicBezTo>
                  <a:cubicBezTo>
                    <a:pt x="1160" y="1837"/>
                    <a:pt x="1160" y="1837"/>
                    <a:pt x="1160" y="1837"/>
                  </a:cubicBezTo>
                  <a:cubicBezTo>
                    <a:pt x="1160" y="1828"/>
                    <a:pt x="1160" y="1828"/>
                    <a:pt x="1160" y="1828"/>
                  </a:cubicBezTo>
                  <a:cubicBezTo>
                    <a:pt x="1121" y="1828"/>
                    <a:pt x="1121" y="1828"/>
                    <a:pt x="1121" y="1828"/>
                  </a:cubicBezTo>
                  <a:close/>
                  <a:moveTo>
                    <a:pt x="1160" y="1803"/>
                  </a:moveTo>
                  <a:cubicBezTo>
                    <a:pt x="1121" y="1803"/>
                    <a:pt x="1121" y="1803"/>
                    <a:pt x="1121" y="1803"/>
                  </a:cubicBezTo>
                  <a:cubicBezTo>
                    <a:pt x="1121" y="1810"/>
                    <a:pt x="1121" y="1810"/>
                    <a:pt x="1121" y="1810"/>
                  </a:cubicBezTo>
                  <a:cubicBezTo>
                    <a:pt x="1160" y="1810"/>
                    <a:pt x="1160" y="1810"/>
                    <a:pt x="1160" y="1810"/>
                  </a:cubicBezTo>
                  <a:cubicBezTo>
                    <a:pt x="1160" y="1803"/>
                    <a:pt x="1160" y="1803"/>
                    <a:pt x="1160" y="1803"/>
                  </a:cubicBezTo>
                  <a:close/>
                  <a:moveTo>
                    <a:pt x="1992" y="1687"/>
                  </a:moveTo>
                  <a:cubicBezTo>
                    <a:pt x="1984" y="1687"/>
                    <a:pt x="1984" y="1687"/>
                    <a:pt x="1984" y="1687"/>
                  </a:cubicBezTo>
                  <a:cubicBezTo>
                    <a:pt x="1984" y="1744"/>
                    <a:pt x="1984" y="1744"/>
                    <a:pt x="1984" y="1744"/>
                  </a:cubicBezTo>
                  <a:cubicBezTo>
                    <a:pt x="1992" y="1736"/>
                    <a:pt x="1992" y="1736"/>
                    <a:pt x="1992" y="1736"/>
                  </a:cubicBezTo>
                  <a:cubicBezTo>
                    <a:pt x="1992" y="1687"/>
                    <a:pt x="1992" y="1687"/>
                    <a:pt x="1992" y="1687"/>
                  </a:cubicBezTo>
                  <a:close/>
                  <a:moveTo>
                    <a:pt x="1979" y="1687"/>
                  </a:moveTo>
                  <a:cubicBezTo>
                    <a:pt x="1971" y="1687"/>
                    <a:pt x="1971" y="1687"/>
                    <a:pt x="1971" y="1687"/>
                  </a:cubicBezTo>
                  <a:cubicBezTo>
                    <a:pt x="1971" y="1760"/>
                    <a:pt x="1971" y="1760"/>
                    <a:pt x="1971" y="1760"/>
                  </a:cubicBezTo>
                  <a:cubicBezTo>
                    <a:pt x="1979" y="1760"/>
                    <a:pt x="1979" y="1760"/>
                    <a:pt x="1979" y="1760"/>
                  </a:cubicBezTo>
                  <a:cubicBezTo>
                    <a:pt x="1979" y="1687"/>
                    <a:pt x="1979" y="1687"/>
                    <a:pt x="1979" y="1687"/>
                  </a:cubicBezTo>
                  <a:close/>
                  <a:moveTo>
                    <a:pt x="2103" y="1731"/>
                  </a:moveTo>
                  <a:cubicBezTo>
                    <a:pt x="2003" y="1731"/>
                    <a:pt x="2003" y="1731"/>
                    <a:pt x="2003" y="1731"/>
                  </a:cubicBezTo>
                  <a:cubicBezTo>
                    <a:pt x="1983" y="1760"/>
                    <a:pt x="1983" y="1760"/>
                    <a:pt x="1983" y="1760"/>
                  </a:cubicBezTo>
                  <a:cubicBezTo>
                    <a:pt x="2121" y="1760"/>
                    <a:pt x="2121" y="1760"/>
                    <a:pt x="2121" y="1760"/>
                  </a:cubicBezTo>
                  <a:cubicBezTo>
                    <a:pt x="2122" y="1758"/>
                    <a:pt x="2123" y="1757"/>
                    <a:pt x="2124" y="1755"/>
                  </a:cubicBezTo>
                  <a:cubicBezTo>
                    <a:pt x="2103" y="1731"/>
                    <a:pt x="2103" y="1731"/>
                    <a:pt x="2103" y="1731"/>
                  </a:cubicBezTo>
                  <a:close/>
                  <a:moveTo>
                    <a:pt x="2020" y="1622"/>
                  </a:moveTo>
                  <a:cubicBezTo>
                    <a:pt x="1999" y="1622"/>
                    <a:pt x="1999" y="1622"/>
                    <a:pt x="1999" y="1622"/>
                  </a:cubicBezTo>
                  <a:cubicBezTo>
                    <a:pt x="1999" y="1724"/>
                    <a:pt x="1999" y="1724"/>
                    <a:pt x="1999" y="1724"/>
                  </a:cubicBezTo>
                  <a:cubicBezTo>
                    <a:pt x="2020" y="1724"/>
                    <a:pt x="2020" y="1724"/>
                    <a:pt x="2020" y="1724"/>
                  </a:cubicBezTo>
                  <a:cubicBezTo>
                    <a:pt x="2020" y="1622"/>
                    <a:pt x="2020" y="1622"/>
                    <a:pt x="2020" y="1622"/>
                  </a:cubicBezTo>
                  <a:close/>
                  <a:moveTo>
                    <a:pt x="2104" y="1622"/>
                  </a:moveTo>
                  <a:cubicBezTo>
                    <a:pt x="2082" y="1622"/>
                    <a:pt x="2082" y="1622"/>
                    <a:pt x="2082" y="1622"/>
                  </a:cubicBezTo>
                  <a:cubicBezTo>
                    <a:pt x="2082" y="1724"/>
                    <a:pt x="2082" y="1724"/>
                    <a:pt x="2082" y="1724"/>
                  </a:cubicBezTo>
                  <a:cubicBezTo>
                    <a:pt x="2104" y="1724"/>
                    <a:pt x="2104" y="1724"/>
                    <a:pt x="2104" y="1724"/>
                  </a:cubicBezTo>
                  <a:cubicBezTo>
                    <a:pt x="2104" y="1622"/>
                    <a:pt x="2104" y="1622"/>
                    <a:pt x="2104" y="1622"/>
                  </a:cubicBezTo>
                  <a:close/>
                  <a:moveTo>
                    <a:pt x="2088" y="1581"/>
                  </a:moveTo>
                  <a:cubicBezTo>
                    <a:pt x="2010" y="1581"/>
                    <a:pt x="2010" y="1581"/>
                    <a:pt x="2010" y="1581"/>
                  </a:cubicBezTo>
                  <a:cubicBezTo>
                    <a:pt x="2010" y="1615"/>
                    <a:pt x="2010" y="1615"/>
                    <a:pt x="2010" y="1615"/>
                  </a:cubicBezTo>
                  <a:cubicBezTo>
                    <a:pt x="2026" y="1615"/>
                    <a:pt x="2026" y="1615"/>
                    <a:pt x="2026" y="1615"/>
                  </a:cubicBezTo>
                  <a:cubicBezTo>
                    <a:pt x="2026" y="1638"/>
                    <a:pt x="2026" y="1638"/>
                    <a:pt x="2026" y="1638"/>
                  </a:cubicBezTo>
                  <a:cubicBezTo>
                    <a:pt x="2072" y="1638"/>
                    <a:pt x="2072" y="1638"/>
                    <a:pt x="2072" y="1638"/>
                  </a:cubicBezTo>
                  <a:cubicBezTo>
                    <a:pt x="2072" y="1615"/>
                    <a:pt x="2072" y="1615"/>
                    <a:pt x="2072" y="1615"/>
                  </a:cubicBezTo>
                  <a:cubicBezTo>
                    <a:pt x="2088" y="1615"/>
                    <a:pt x="2088" y="1615"/>
                    <a:pt x="2088" y="1615"/>
                  </a:cubicBezTo>
                  <a:cubicBezTo>
                    <a:pt x="2088" y="1581"/>
                    <a:pt x="2088" y="1581"/>
                    <a:pt x="2088" y="1581"/>
                  </a:cubicBezTo>
                  <a:close/>
                  <a:moveTo>
                    <a:pt x="369" y="1687"/>
                  </a:moveTo>
                  <a:cubicBezTo>
                    <a:pt x="369" y="1736"/>
                    <a:pt x="369" y="1736"/>
                    <a:pt x="369" y="1736"/>
                  </a:cubicBezTo>
                  <a:cubicBezTo>
                    <a:pt x="376" y="1744"/>
                    <a:pt x="376" y="1744"/>
                    <a:pt x="376" y="1744"/>
                  </a:cubicBezTo>
                  <a:cubicBezTo>
                    <a:pt x="376" y="1687"/>
                    <a:pt x="376" y="1687"/>
                    <a:pt x="376" y="1687"/>
                  </a:cubicBezTo>
                  <a:cubicBezTo>
                    <a:pt x="369" y="1687"/>
                    <a:pt x="369" y="1687"/>
                    <a:pt x="369" y="1687"/>
                  </a:cubicBezTo>
                  <a:close/>
                  <a:moveTo>
                    <a:pt x="382" y="1687"/>
                  </a:moveTo>
                  <a:cubicBezTo>
                    <a:pt x="382" y="1760"/>
                    <a:pt x="382" y="1760"/>
                    <a:pt x="382" y="1760"/>
                  </a:cubicBezTo>
                  <a:cubicBezTo>
                    <a:pt x="389" y="1760"/>
                    <a:pt x="389" y="1760"/>
                    <a:pt x="389" y="1760"/>
                  </a:cubicBezTo>
                  <a:cubicBezTo>
                    <a:pt x="389" y="1687"/>
                    <a:pt x="389" y="1687"/>
                    <a:pt x="389" y="1687"/>
                  </a:cubicBezTo>
                  <a:cubicBezTo>
                    <a:pt x="382" y="1687"/>
                    <a:pt x="382" y="1687"/>
                    <a:pt x="382" y="1687"/>
                  </a:cubicBezTo>
                  <a:close/>
                  <a:moveTo>
                    <a:pt x="257" y="1731"/>
                  </a:moveTo>
                  <a:cubicBezTo>
                    <a:pt x="233" y="1760"/>
                    <a:pt x="233" y="1760"/>
                    <a:pt x="233" y="1760"/>
                  </a:cubicBezTo>
                  <a:cubicBezTo>
                    <a:pt x="377" y="1760"/>
                    <a:pt x="377" y="1760"/>
                    <a:pt x="377" y="1760"/>
                  </a:cubicBezTo>
                  <a:cubicBezTo>
                    <a:pt x="358" y="1731"/>
                    <a:pt x="358" y="1731"/>
                    <a:pt x="358" y="1731"/>
                  </a:cubicBezTo>
                  <a:cubicBezTo>
                    <a:pt x="257" y="1731"/>
                    <a:pt x="257" y="1731"/>
                    <a:pt x="257" y="1731"/>
                  </a:cubicBezTo>
                  <a:close/>
                  <a:moveTo>
                    <a:pt x="340" y="1622"/>
                  </a:moveTo>
                  <a:cubicBezTo>
                    <a:pt x="340" y="1724"/>
                    <a:pt x="340" y="1724"/>
                    <a:pt x="340" y="1724"/>
                  </a:cubicBezTo>
                  <a:cubicBezTo>
                    <a:pt x="362" y="1724"/>
                    <a:pt x="362" y="1724"/>
                    <a:pt x="362" y="1724"/>
                  </a:cubicBezTo>
                  <a:cubicBezTo>
                    <a:pt x="362" y="1622"/>
                    <a:pt x="362" y="1622"/>
                    <a:pt x="362" y="1622"/>
                  </a:cubicBezTo>
                  <a:cubicBezTo>
                    <a:pt x="340" y="1622"/>
                    <a:pt x="340" y="1622"/>
                    <a:pt x="340" y="1622"/>
                  </a:cubicBezTo>
                  <a:close/>
                  <a:moveTo>
                    <a:pt x="257" y="1622"/>
                  </a:moveTo>
                  <a:cubicBezTo>
                    <a:pt x="257" y="1724"/>
                    <a:pt x="257" y="1724"/>
                    <a:pt x="257" y="1724"/>
                  </a:cubicBezTo>
                  <a:cubicBezTo>
                    <a:pt x="279" y="1724"/>
                    <a:pt x="279" y="1724"/>
                    <a:pt x="279" y="1724"/>
                  </a:cubicBezTo>
                  <a:cubicBezTo>
                    <a:pt x="279" y="1622"/>
                    <a:pt x="279" y="1622"/>
                    <a:pt x="279" y="1622"/>
                  </a:cubicBezTo>
                  <a:cubicBezTo>
                    <a:pt x="257" y="1622"/>
                    <a:pt x="257" y="1622"/>
                    <a:pt x="257" y="1622"/>
                  </a:cubicBezTo>
                  <a:close/>
                  <a:moveTo>
                    <a:pt x="273" y="1581"/>
                  </a:moveTo>
                  <a:cubicBezTo>
                    <a:pt x="273" y="1615"/>
                    <a:pt x="273" y="1615"/>
                    <a:pt x="273" y="1615"/>
                  </a:cubicBezTo>
                  <a:cubicBezTo>
                    <a:pt x="289" y="1615"/>
                    <a:pt x="289" y="1615"/>
                    <a:pt x="289" y="1615"/>
                  </a:cubicBezTo>
                  <a:cubicBezTo>
                    <a:pt x="289" y="1638"/>
                    <a:pt x="289" y="1638"/>
                    <a:pt x="289" y="1638"/>
                  </a:cubicBezTo>
                  <a:cubicBezTo>
                    <a:pt x="334" y="1638"/>
                    <a:pt x="334" y="1638"/>
                    <a:pt x="334" y="1638"/>
                  </a:cubicBezTo>
                  <a:cubicBezTo>
                    <a:pt x="334" y="1615"/>
                    <a:pt x="334" y="1615"/>
                    <a:pt x="334" y="1615"/>
                  </a:cubicBezTo>
                  <a:cubicBezTo>
                    <a:pt x="350" y="1615"/>
                    <a:pt x="350" y="1615"/>
                    <a:pt x="350" y="1615"/>
                  </a:cubicBezTo>
                  <a:cubicBezTo>
                    <a:pt x="350" y="1581"/>
                    <a:pt x="350" y="1581"/>
                    <a:pt x="350" y="1581"/>
                  </a:cubicBezTo>
                  <a:cubicBezTo>
                    <a:pt x="273" y="1581"/>
                    <a:pt x="273" y="1581"/>
                    <a:pt x="273" y="1581"/>
                  </a:cubicBezTo>
                  <a:close/>
                  <a:moveTo>
                    <a:pt x="844" y="1797"/>
                  </a:moveTo>
                  <a:cubicBezTo>
                    <a:pt x="844" y="1762"/>
                    <a:pt x="844" y="1762"/>
                    <a:pt x="844" y="1762"/>
                  </a:cubicBezTo>
                  <a:cubicBezTo>
                    <a:pt x="891" y="1762"/>
                    <a:pt x="891" y="1762"/>
                    <a:pt x="891" y="1762"/>
                  </a:cubicBezTo>
                  <a:cubicBezTo>
                    <a:pt x="891" y="1797"/>
                    <a:pt x="891" y="1797"/>
                    <a:pt x="891" y="1797"/>
                  </a:cubicBezTo>
                  <a:cubicBezTo>
                    <a:pt x="844" y="1797"/>
                    <a:pt x="844" y="1797"/>
                    <a:pt x="844" y="1797"/>
                  </a:cubicBezTo>
                  <a:close/>
                  <a:moveTo>
                    <a:pt x="917" y="1797"/>
                  </a:moveTo>
                  <a:cubicBezTo>
                    <a:pt x="917" y="1762"/>
                    <a:pt x="917" y="1762"/>
                    <a:pt x="917" y="1762"/>
                  </a:cubicBezTo>
                  <a:cubicBezTo>
                    <a:pt x="970" y="1762"/>
                    <a:pt x="970" y="1762"/>
                    <a:pt x="970" y="1762"/>
                  </a:cubicBezTo>
                  <a:cubicBezTo>
                    <a:pt x="970" y="1797"/>
                    <a:pt x="970" y="1797"/>
                    <a:pt x="970" y="1797"/>
                  </a:cubicBezTo>
                  <a:cubicBezTo>
                    <a:pt x="917" y="1797"/>
                    <a:pt x="917" y="1797"/>
                    <a:pt x="917" y="1797"/>
                  </a:cubicBezTo>
                  <a:close/>
                  <a:moveTo>
                    <a:pt x="996" y="1797"/>
                  </a:moveTo>
                  <a:cubicBezTo>
                    <a:pt x="996" y="1759"/>
                    <a:pt x="996" y="1759"/>
                    <a:pt x="996" y="1759"/>
                  </a:cubicBezTo>
                  <a:cubicBezTo>
                    <a:pt x="1047" y="1759"/>
                    <a:pt x="1047" y="1759"/>
                    <a:pt x="1047" y="1759"/>
                  </a:cubicBezTo>
                  <a:cubicBezTo>
                    <a:pt x="1047" y="1797"/>
                    <a:pt x="1047" y="1797"/>
                    <a:pt x="1047" y="1797"/>
                  </a:cubicBezTo>
                  <a:cubicBezTo>
                    <a:pt x="996" y="1797"/>
                    <a:pt x="996" y="1797"/>
                    <a:pt x="996" y="1797"/>
                  </a:cubicBezTo>
                  <a:close/>
                  <a:moveTo>
                    <a:pt x="1315" y="1797"/>
                  </a:moveTo>
                  <a:cubicBezTo>
                    <a:pt x="1315" y="1759"/>
                    <a:pt x="1315" y="1759"/>
                    <a:pt x="1315" y="1759"/>
                  </a:cubicBezTo>
                  <a:cubicBezTo>
                    <a:pt x="1365" y="1759"/>
                    <a:pt x="1365" y="1759"/>
                    <a:pt x="1365" y="1759"/>
                  </a:cubicBezTo>
                  <a:cubicBezTo>
                    <a:pt x="1365" y="1797"/>
                    <a:pt x="1365" y="1797"/>
                    <a:pt x="1365" y="1797"/>
                  </a:cubicBezTo>
                  <a:cubicBezTo>
                    <a:pt x="1315" y="1797"/>
                    <a:pt x="1315" y="1797"/>
                    <a:pt x="1315" y="1797"/>
                  </a:cubicBezTo>
                  <a:close/>
                  <a:moveTo>
                    <a:pt x="1392" y="1797"/>
                  </a:moveTo>
                  <a:cubicBezTo>
                    <a:pt x="1392" y="1762"/>
                    <a:pt x="1392" y="1762"/>
                    <a:pt x="1392" y="1762"/>
                  </a:cubicBezTo>
                  <a:cubicBezTo>
                    <a:pt x="1444" y="1762"/>
                    <a:pt x="1444" y="1762"/>
                    <a:pt x="1444" y="1762"/>
                  </a:cubicBezTo>
                  <a:cubicBezTo>
                    <a:pt x="1444" y="1797"/>
                    <a:pt x="1444" y="1797"/>
                    <a:pt x="1444" y="1797"/>
                  </a:cubicBezTo>
                  <a:cubicBezTo>
                    <a:pt x="1392" y="1797"/>
                    <a:pt x="1392" y="1797"/>
                    <a:pt x="1392" y="1797"/>
                  </a:cubicBezTo>
                  <a:close/>
                  <a:moveTo>
                    <a:pt x="1471" y="1797"/>
                  </a:moveTo>
                  <a:cubicBezTo>
                    <a:pt x="1471" y="1762"/>
                    <a:pt x="1471" y="1762"/>
                    <a:pt x="1471" y="1762"/>
                  </a:cubicBezTo>
                  <a:cubicBezTo>
                    <a:pt x="1517" y="1762"/>
                    <a:pt x="1517" y="1762"/>
                    <a:pt x="1517" y="1762"/>
                  </a:cubicBezTo>
                  <a:cubicBezTo>
                    <a:pt x="1517" y="1797"/>
                    <a:pt x="1517" y="1797"/>
                    <a:pt x="1517" y="1797"/>
                  </a:cubicBezTo>
                  <a:cubicBezTo>
                    <a:pt x="1471" y="1797"/>
                    <a:pt x="1471" y="1797"/>
                    <a:pt x="1471" y="1797"/>
                  </a:cubicBezTo>
                  <a:close/>
                  <a:moveTo>
                    <a:pt x="1453" y="1280"/>
                  </a:moveTo>
                  <a:cubicBezTo>
                    <a:pt x="1452" y="1273"/>
                    <a:pt x="1452" y="1266"/>
                    <a:pt x="1452" y="1259"/>
                  </a:cubicBezTo>
                  <a:cubicBezTo>
                    <a:pt x="1478" y="1240"/>
                    <a:pt x="1502" y="1221"/>
                    <a:pt x="1522" y="1192"/>
                  </a:cubicBezTo>
                  <a:cubicBezTo>
                    <a:pt x="1540" y="1166"/>
                    <a:pt x="1558" y="1163"/>
                    <a:pt x="1576" y="1187"/>
                  </a:cubicBezTo>
                  <a:cubicBezTo>
                    <a:pt x="1591" y="1210"/>
                    <a:pt x="1605" y="1233"/>
                    <a:pt x="1620" y="1256"/>
                  </a:cubicBezTo>
                  <a:cubicBezTo>
                    <a:pt x="1636" y="1272"/>
                    <a:pt x="1662" y="1281"/>
                    <a:pt x="1688" y="1234"/>
                  </a:cubicBezTo>
                  <a:cubicBezTo>
                    <a:pt x="1699" y="1214"/>
                    <a:pt x="1707" y="1195"/>
                    <a:pt x="1718" y="1173"/>
                  </a:cubicBezTo>
                  <a:cubicBezTo>
                    <a:pt x="1735" y="1143"/>
                    <a:pt x="1751" y="1169"/>
                    <a:pt x="1763" y="1204"/>
                  </a:cubicBezTo>
                  <a:cubicBezTo>
                    <a:pt x="1766" y="1217"/>
                    <a:pt x="1782" y="1230"/>
                    <a:pt x="1827" y="1239"/>
                  </a:cubicBezTo>
                  <a:cubicBezTo>
                    <a:pt x="1846" y="1255"/>
                    <a:pt x="1863" y="1275"/>
                    <a:pt x="1875" y="1302"/>
                  </a:cubicBezTo>
                  <a:cubicBezTo>
                    <a:pt x="1884" y="1335"/>
                    <a:pt x="1893" y="1368"/>
                    <a:pt x="1902" y="1402"/>
                  </a:cubicBezTo>
                  <a:cubicBezTo>
                    <a:pt x="1908" y="1429"/>
                    <a:pt x="1910" y="1484"/>
                    <a:pt x="1912" y="1521"/>
                  </a:cubicBezTo>
                  <a:cubicBezTo>
                    <a:pt x="1902" y="1544"/>
                    <a:pt x="1891" y="1566"/>
                    <a:pt x="1879" y="1588"/>
                  </a:cubicBezTo>
                  <a:cubicBezTo>
                    <a:pt x="1843" y="1562"/>
                    <a:pt x="1843" y="1562"/>
                    <a:pt x="1843" y="1562"/>
                  </a:cubicBezTo>
                  <a:cubicBezTo>
                    <a:pt x="1843" y="1536"/>
                    <a:pt x="1843" y="1536"/>
                    <a:pt x="1843" y="1536"/>
                  </a:cubicBezTo>
                  <a:cubicBezTo>
                    <a:pt x="1824" y="1537"/>
                    <a:pt x="1824" y="1537"/>
                    <a:pt x="1824" y="1537"/>
                  </a:cubicBezTo>
                  <a:cubicBezTo>
                    <a:pt x="1824" y="1546"/>
                    <a:pt x="1824" y="1546"/>
                    <a:pt x="1824" y="1546"/>
                  </a:cubicBezTo>
                  <a:cubicBezTo>
                    <a:pt x="1809" y="1546"/>
                    <a:pt x="1809" y="1546"/>
                    <a:pt x="1809" y="1546"/>
                  </a:cubicBezTo>
                  <a:cubicBezTo>
                    <a:pt x="1809" y="1562"/>
                    <a:pt x="1809" y="1562"/>
                    <a:pt x="1809" y="1562"/>
                  </a:cubicBezTo>
                  <a:cubicBezTo>
                    <a:pt x="1527" y="1562"/>
                    <a:pt x="1527" y="1562"/>
                    <a:pt x="1527" y="1562"/>
                  </a:cubicBezTo>
                  <a:cubicBezTo>
                    <a:pt x="1527" y="1484"/>
                    <a:pt x="1527" y="1484"/>
                    <a:pt x="1527" y="1484"/>
                  </a:cubicBezTo>
                  <a:cubicBezTo>
                    <a:pt x="1556" y="1463"/>
                    <a:pt x="1573" y="1433"/>
                    <a:pt x="1587" y="1400"/>
                  </a:cubicBezTo>
                  <a:cubicBezTo>
                    <a:pt x="1567" y="1416"/>
                    <a:pt x="1547" y="1427"/>
                    <a:pt x="1524" y="1433"/>
                  </a:cubicBezTo>
                  <a:cubicBezTo>
                    <a:pt x="1520" y="1363"/>
                    <a:pt x="1493" y="1322"/>
                    <a:pt x="1468" y="1304"/>
                  </a:cubicBezTo>
                  <a:cubicBezTo>
                    <a:pt x="1474" y="1293"/>
                    <a:pt x="1480" y="1281"/>
                    <a:pt x="1486" y="1269"/>
                  </a:cubicBezTo>
                  <a:cubicBezTo>
                    <a:pt x="1475" y="1274"/>
                    <a:pt x="1464" y="1278"/>
                    <a:pt x="1453" y="1280"/>
                  </a:cubicBezTo>
                  <a:close/>
                  <a:moveTo>
                    <a:pt x="1927" y="1483"/>
                  </a:moveTo>
                  <a:cubicBezTo>
                    <a:pt x="1926" y="1441"/>
                    <a:pt x="1917" y="1397"/>
                    <a:pt x="1911" y="1358"/>
                  </a:cubicBezTo>
                  <a:cubicBezTo>
                    <a:pt x="1897" y="1323"/>
                    <a:pt x="1889" y="1291"/>
                    <a:pt x="1861" y="1250"/>
                  </a:cubicBezTo>
                  <a:cubicBezTo>
                    <a:pt x="1839" y="1216"/>
                    <a:pt x="1815" y="1216"/>
                    <a:pt x="1791" y="1215"/>
                  </a:cubicBezTo>
                  <a:cubicBezTo>
                    <a:pt x="1772" y="1197"/>
                    <a:pt x="1771" y="1182"/>
                    <a:pt x="1766" y="1167"/>
                  </a:cubicBezTo>
                  <a:cubicBezTo>
                    <a:pt x="1746" y="1132"/>
                    <a:pt x="1713" y="1119"/>
                    <a:pt x="1678" y="1227"/>
                  </a:cubicBezTo>
                  <a:cubicBezTo>
                    <a:pt x="1665" y="1243"/>
                    <a:pt x="1652" y="1256"/>
                    <a:pt x="1638" y="1249"/>
                  </a:cubicBezTo>
                  <a:cubicBezTo>
                    <a:pt x="1613" y="1224"/>
                    <a:pt x="1604" y="1202"/>
                    <a:pt x="1592" y="1180"/>
                  </a:cubicBezTo>
                  <a:cubicBezTo>
                    <a:pt x="1560" y="1144"/>
                    <a:pt x="1535" y="1148"/>
                    <a:pt x="1514" y="1178"/>
                  </a:cubicBezTo>
                  <a:cubicBezTo>
                    <a:pt x="1490" y="1203"/>
                    <a:pt x="1467" y="1228"/>
                    <a:pt x="1450" y="1238"/>
                  </a:cubicBezTo>
                  <a:cubicBezTo>
                    <a:pt x="1450" y="1222"/>
                    <a:pt x="1449" y="1204"/>
                    <a:pt x="1448" y="1189"/>
                  </a:cubicBezTo>
                  <a:cubicBezTo>
                    <a:pt x="1488" y="1154"/>
                    <a:pt x="1521" y="1118"/>
                    <a:pt x="1551" y="1086"/>
                  </a:cubicBezTo>
                  <a:cubicBezTo>
                    <a:pt x="1566" y="1069"/>
                    <a:pt x="1587" y="1068"/>
                    <a:pt x="1611" y="1086"/>
                  </a:cubicBezTo>
                  <a:cubicBezTo>
                    <a:pt x="1625" y="1095"/>
                    <a:pt x="1644" y="1085"/>
                    <a:pt x="1653" y="1060"/>
                  </a:cubicBezTo>
                  <a:cubicBezTo>
                    <a:pt x="1661" y="1036"/>
                    <a:pt x="1659" y="1014"/>
                    <a:pt x="1671" y="989"/>
                  </a:cubicBezTo>
                  <a:cubicBezTo>
                    <a:pt x="1674" y="987"/>
                    <a:pt x="1676" y="986"/>
                    <a:pt x="1679" y="984"/>
                  </a:cubicBezTo>
                  <a:cubicBezTo>
                    <a:pt x="1688" y="995"/>
                    <a:pt x="1698" y="1004"/>
                    <a:pt x="1714" y="1005"/>
                  </a:cubicBezTo>
                  <a:cubicBezTo>
                    <a:pt x="1721" y="1026"/>
                    <a:pt x="1729" y="1045"/>
                    <a:pt x="1740" y="1063"/>
                  </a:cubicBezTo>
                  <a:cubicBezTo>
                    <a:pt x="1767" y="1046"/>
                    <a:pt x="1789" y="1040"/>
                    <a:pt x="1798" y="1059"/>
                  </a:cubicBezTo>
                  <a:cubicBezTo>
                    <a:pt x="1812" y="1077"/>
                    <a:pt x="1814" y="1101"/>
                    <a:pt x="1813" y="1126"/>
                  </a:cubicBezTo>
                  <a:cubicBezTo>
                    <a:pt x="1818" y="1144"/>
                    <a:pt x="1826" y="1156"/>
                    <a:pt x="1851" y="1130"/>
                  </a:cubicBezTo>
                  <a:cubicBezTo>
                    <a:pt x="1868" y="1113"/>
                    <a:pt x="1878" y="1114"/>
                    <a:pt x="1889" y="1132"/>
                  </a:cubicBezTo>
                  <a:cubicBezTo>
                    <a:pt x="1901" y="1152"/>
                    <a:pt x="1915" y="1171"/>
                    <a:pt x="1929" y="1191"/>
                  </a:cubicBezTo>
                  <a:cubicBezTo>
                    <a:pt x="1942" y="1202"/>
                    <a:pt x="1959" y="1209"/>
                    <a:pt x="1978" y="1214"/>
                  </a:cubicBezTo>
                  <a:cubicBezTo>
                    <a:pt x="1977" y="1309"/>
                    <a:pt x="1959" y="1399"/>
                    <a:pt x="1927" y="1483"/>
                  </a:cubicBezTo>
                  <a:close/>
                  <a:moveTo>
                    <a:pt x="1978" y="1197"/>
                  </a:moveTo>
                  <a:cubicBezTo>
                    <a:pt x="1937" y="1191"/>
                    <a:pt x="1920" y="1153"/>
                    <a:pt x="1901" y="1118"/>
                  </a:cubicBezTo>
                  <a:cubicBezTo>
                    <a:pt x="1880" y="1087"/>
                    <a:pt x="1855" y="1103"/>
                    <a:pt x="1830" y="1126"/>
                  </a:cubicBezTo>
                  <a:cubicBezTo>
                    <a:pt x="1830" y="1095"/>
                    <a:pt x="1824" y="1071"/>
                    <a:pt x="1815" y="1053"/>
                  </a:cubicBezTo>
                  <a:cubicBezTo>
                    <a:pt x="1798" y="1021"/>
                    <a:pt x="1774" y="1020"/>
                    <a:pt x="1745" y="1040"/>
                  </a:cubicBezTo>
                  <a:cubicBezTo>
                    <a:pt x="1735" y="1024"/>
                    <a:pt x="1728" y="1009"/>
                    <a:pt x="1729" y="993"/>
                  </a:cubicBezTo>
                  <a:cubicBezTo>
                    <a:pt x="1726" y="991"/>
                    <a:pt x="1722" y="990"/>
                    <a:pt x="1719" y="989"/>
                  </a:cubicBezTo>
                  <a:cubicBezTo>
                    <a:pt x="1705" y="988"/>
                    <a:pt x="1697" y="981"/>
                    <a:pt x="1690" y="973"/>
                  </a:cubicBezTo>
                  <a:cubicBezTo>
                    <a:pt x="1683" y="964"/>
                    <a:pt x="1669" y="957"/>
                    <a:pt x="1659" y="974"/>
                  </a:cubicBezTo>
                  <a:cubicBezTo>
                    <a:pt x="1645" y="997"/>
                    <a:pt x="1644" y="1023"/>
                    <a:pt x="1640" y="1048"/>
                  </a:cubicBezTo>
                  <a:cubicBezTo>
                    <a:pt x="1633" y="1066"/>
                    <a:pt x="1626" y="1078"/>
                    <a:pt x="1605" y="1063"/>
                  </a:cubicBezTo>
                  <a:cubicBezTo>
                    <a:pt x="1580" y="1045"/>
                    <a:pt x="1554" y="1055"/>
                    <a:pt x="1531" y="1086"/>
                  </a:cubicBezTo>
                  <a:cubicBezTo>
                    <a:pt x="1506" y="1113"/>
                    <a:pt x="1479" y="1140"/>
                    <a:pt x="1449" y="1167"/>
                  </a:cubicBezTo>
                  <a:cubicBezTo>
                    <a:pt x="1441" y="1093"/>
                    <a:pt x="1431" y="1018"/>
                    <a:pt x="1424" y="944"/>
                  </a:cubicBezTo>
                  <a:cubicBezTo>
                    <a:pt x="1421" y="908"/>
                    <a:pt x="1407" y="877"/>
                    <a:pt x="1378" y="850"/>
                  </a:cubicBezTo>
                  <a:cubicBezTo>
                    <a:pt x="1380" y="849"/>
                    <a:pt x="1381" y="848"/>
                    <a:pt x="1383" y="847"/>
                  </a:cubicBezTo>
                  <a:cubicBezTo>
                    <a:pt x="1381" y="767"/>
                    <a:pt x="1370" y="738"/>
                    <a:pt x="1335" y="691"/>
                  </a:cubicBezTo>
                  <a:cubicBezTo>
                    <a:pt x="1325" y="651"/>
                    <a:pt x="1311" y="610"/>
                    <a:pt x="1272" y="572"/>
                  </a:cubicBezTo>
                  <a:cubicBezTo>
                    <a:pt x="1268" y="556"/>
                    <a:pt x="1259" y="527"/>
                    <a:pt x="1223" y="531"/>
                  </a:cubicBezTo>
                  <a:cubicBezTo>
                    <a:pt x="1215" y="532"/>
                    <a:pt x="1207" y="533"/>
                    <a:pt x="1199" y="535"/>
                  </a:cubicBezTo>
                  <a:cubicBezTo>
                    <a:pt x="1199" y="495"/>
                    <a:pt x="1199" y="495"/>
                    <a:pt x="1199" y="495"/>
                  </a:cubicBezTo>
                  <a:cubicBezTo>
                    <a:pt x="1184" y="495"/>
                    <a:pt x="1184" y="495"/>
                    <a:pt x="1184" y="495"/>
                  </a:cubicBezTo>
                  <a:cubicBezTo>
                    <a:pt x="1184" y="482"/>
                    <a:pt x="1184" y="482"/>
                    <a:pt x="1184" y="482"/>
                  </a:cubicBezTo>
                  <a:cubicBezTo>
                    <a:pt x="1195" y="481"/>
                    <a:pt x="1205" y="468"/>
                    <a:pt x="1205" y="459"/>
                  </a:cubicBezTo>
                  <a:cubicBezTo>
                    <a:pt x="1200" y="462"/>
                    <a:pt x="1190" y="465"/>
                    <a:pt x="1187" y="460"/>
                  </a:cubicBezTo>
                  <a:cubicBezTo>
                    <a:pt x="1183" y="453"/>
                    <a:pt x="1177" y="449"/>
                    <a:pt x="1170" y="439"/>
                  </a:cubicBezTo>
                  <a:cubicBezTo>
                    <a:pt x="1170" y="426"/>
                    <a:pt x="1170" y="426"/>
                    <a:pt x="1170" y="426"/>
                  </a:cubicBezTo>
                  <a:cubicBezTo>
                    <a:pt x="1162" y="426"/>
                    <a:pt x="1162" y="426"/>
                    <a:pt x="1162" y="426"/>
                  </a:cubicBezTo>
                  <a:cubicBezTo>
                    <a:pt x="1162" y="439"/>
                    <a:pt x="1162" y="439"/>
                    <a:pt x="1162" y="439"/>
                  </a:cubicBezTo>
                  <a:cubicBezTo>
                    <a:pt x="1142" y="465"/>
                    <a:pt x="1142" y="465"/>
                    <a:pt x="1142" y="465"/>
                  </a:cubicBezTo>
                  <a:cubicBezTo>
                    <a:pt x="1126" y="459"/>
                    <a:pt x="1126" y="459"/>
                    <a:pt x="1126" y="459"/>
                  </a:cubicBezTo>
                  <a:cubicBezTo>
                    <a:pt x="1130" y="469"/>
                    <a:pt x="1136" y="477"/>
                    <a:pt x="1146" y="484"/>
                  </a:cubicBezTo>
                  <a:cubicBezTo>
                    <a:pt x="1146" y="495"/>
                    <a:pt x="1146" y="495"/>
                    <a:pt x="1146" y="495"/>
                  </a:cubicBezTo>
                  <a:cubicBezTo>
                    <a:pt x="1133" y="495"/>
                    <a:pt x="1133" y="495"/>
                    <a:pt x="1133" y="495"/>
                  </a:cubicBezTo>
                  <a:cubicBezTo>
                    <a:pt x="1133" y="556"/>
                    <a:pt x="1133" y="556"/>
                    <a:pt x="1133" y="556"/>
                  </a:cubicBezTo>
                  <a:cubicBezTo>
                    <a:pt x="1122" y="561"/>
                    <a:pt x="1111" y="566"/>
                    <a:pt x="1100" y="571"/>
                  </a:cubicBezTo>
                  <a:cubicBezTo>
                    <a:pt x="1100" y="569"/>
                    <a:pt x="1100" y="567"/>
                    <a:pt x="1100" y="565"/>
                  </a:cubicBezTo>
                  <a:cubicBezTo>
                    <a:pt x="1113" y="560"/>
                    <a:pt x="1118" y="554"/>
                    <a:pt x="1120" y="547"/>
                  </a:cubicBezTo>
                  <a:cubicBezTo>
                    <a:pt x="1112" y="548"/>
                    <a:pt x="1103" y="549"/>
                    <a:pt x="1095" y="551"/>
                  </a:cubicBezTo>
                  <a:cubicBezTo>
                    <a:pt x="1088" y="545"/>
                    <a:pt x="1083" y="538"/>
                    <a:pt x="1081" y="532"/>
                  </a:cubicBezTo>
                  <a:cubicBezTo>
                    <a:pt x="1079" y="531"/>
                    <a:pt x="1076" y="532"/>
                    <a:pt x="1074" y="532"/>
                  </a:cubicBezTo>
                  <a:cubicBezTo>
                    <a:pt x="1073" y="539"/>
                    <a:pt x="1067" y="545"/>
                    <a:pt x="1060" y="551"/>
                  </a:cubicBezTo>
                  <a:cubicBezTo>
                    <a:pt x="1052" y="551"/>
                    <a:pt x="1044" y="551"/>
                    <a:pt x="1036" y="551"/>
                  </a:cubicBezTo>
                  <a:cubicBezTo>
                    <a:pt x="1038" y="558"/>
                    <a:pt x="1044" y="563"/>
                    <a:pt x="1057" y="566"/>
                  </a:cubicBezTo>
                  <a:cubicBezTo>
                    <a:pt x="1057" y="590"/>
                    <a:pt x="1057" y="590"/>
                    <a:pt x="1057" y="590"/>
                  </a:cubicBezTo>
                  <a:cubicBezTo>
                    <a:pt x="1018" y="607"/>
                    <a:pt x="988" y="634"/>
                    <a:pt x="979" y="690"/>
                  </a:cubicBezTo>
                  <a:cubicBezTo>
                    <a:pt x="952" y="709"/>
                    <a:pt x="927" y="728"/>
                    <a:pt x="924" y="749"/>
                  </a:cubicBezTo>
                  <a:cubicBezTo>
                    <a:pt x="919" y="775"/>
                    <a:pt x="915" y="800"/>
                    <a:pt x="911" y="825"/>
                  </a:cubicBezTo>
                  <a:cubicBezTo>
                    <a:pt x="910" y="825"/>
                    <a:pt x="910" y="825"/>
                    <a:pt x="910" y="825"/>
                  </a:cubicBezTo>
                  <a:cubicBezTo>
                    <a:pt x="874" y="856"/>
                    <a:pt x="854" y="891"/>
                    <a:pt x="850" y="931"/>
                  </a:cubicBezTo>
                  <a:cubicBezTo>
                    <a:pt x="832" y="949"/>
                    <a:pt x="808" y="957"/>
                    <a:pt x="800" y="972"/>
                  </a:cubicBezTo>
                  <a:cubicBezTo>
                    <a:pt x="784" y="1002"/>
                    <a:pt x="772" y="1074"/>
                    <a:pt x="762" y="1130"/>
                  </a:cubicBezTo>
                  <a:cubicBezTo>
                    <a:pt x="754" y="1195"/>
                    <a:pt x="754" y="1195"/>
                    <a:pt x="754" y="1195"/>
                  </a:cubicBezTo>
                  <a:cubicBezTo>
                    <a:pt x="748" y="1188"/>
                    <a:pt x="741" y="1180"/>
                    <a:pt x="734" y="1174"/>
                  </a:cubicBezTo>
                  <a:cubicBezTo>
                    <a:pt x="716" y="1160"/>
                    <a:pt x="697" y="1147"/>
                    <a:pt x="677" y="1183"/>
                  </a:cubicBezTo>
                  <a:cubicBezTo>
                    <a:pt x="656" y="1221"/>
                    <a:pt x="644" y="1210"/>
                    <a:pt x="636" y="1191"/>
                  </a:cubicBezTo>
                  <a:cubicBezTo>
                    <a:pt x="627" y="1168"/>
                    <a:pt x="614" y="1147"/>
                    <a:pt x="600" y="1126"/>
                  </a:cubicBezTo>
                  <a:cubicBezTo>
                    <a:pt x="580" y="1099"/>
                    <a:pt x="544" y="1097"/>
                    <a:pt x="536" y="1128"/>
                  </a:cubicBezTo>
                  <a:cubicBezTo>
                    <a:pt x="523" y="1181"/>
                    <a:pt x="537" y="1198"/>
                    <a:pt x="507" y="1170"/>
                  </a:cubicBezTo>
                  <a:cubicBezTo>
                    <a:pt x="488" y="1152"/>
                    <a:pt x="468" y="1158"/>
                    <a:pt x="451" y="1190"/>
                  </a:cubicBezTo>
                  <a:cubicBezTo>
                    <a:pt x="432" y="1223"/>
                    <a:pt x="405" y="1264"/>
                    <a:pt x="383" y="1279"/>
                  </a:cubicBezTo>
                  <a:cubicBezTo>
                    <a:pt x="381" y="1254"/>
                    <a:pt x="380" y="1229"/>
                    <a:pt x="380" y="1203"/>
                  </a:cubicBezTo>
                  <a:cubicBezTo>
                    <a:pt x="380" y="763"/>
                    <a:pt x="739" y="404"/>
                    <a:pt x="1179" y="404"/>
                  </a:cubicBezTo>
                  <a:cubicBezTo>
                    <a:pt x="1617" y="404"/>
                    <a:pt x="1974" y="760"/>
                    <a:pt x="1978" y="1197"/>
                  </a:cubicBezTo>
                  <a:close/>
                  <a:moveTo>
                    <a:pt x="1067" y="586"/>
                  </a:moveTo>
                  <a:cubicBezTo>
                    <a:pt x="1067" y="579"/>
                    <a:pt x="1067" y="571"/>
                    <a:pt x="1067" y="564"/>
                  </a:cubicBezTo>
                  <a:cubicBezTo>
                    <a:pt x="1069" y="564"/>
                    <a:pt x="1073" y="564"/>
                    <a:pt x="1075" y="564"/>
                  </a:cubicBezTo>
                  <a:cubicBezTo>
                    <a:pt x="1075" y="582"/>
                    <a:pt x="1075" y="582"/>
                    <a:pt x="1075" y="582"/>
                  </a:cubicBezTo>
                  <a:cubicBezTo>
                    <a:pt x="1072" y="584"/>
                    <a:pt x="1070" y="585"/>
                    <a:pt x="1067" y="586"/>
                  </a:cubicBezTo>
                  <a:close/>
                  <a:moveTo>
                    <a:pt x="1084" y="578"/>
                  </a:moveTo>
                  <a:cubicBezTo>
                    <a:pt x="1084" y="573"/>
                    <a:pt x="1084" y="569"/>
                    <a:pt x="1084" y="564"/>
                  </a:cubicBezTo>
                  <a:cubicBezTo>
                    <a:pt x="1086" y="564"/>
                    <a:pt x="1090" y="564"/>
                    <a:pt x="1091" y="564"/>
                  </a:cubicBezTo>
                  <a:cubicBezTo>
                    <a:pt x="1091" y="575"/>
                    <a:pt x="1091" y="575"/>
                    <a:pt x="1091" y="575"/>
                  </a:cubicBezTo>
                  <a:cubicBezTo>
                    <a:pt x="1089" y="576"/>
                    <a:pt x="1087" y="577"/>
                    <a:pt x="1084" y="578"/>
                  </a:cubicBezTo>
                  <a:close/>
                  <a:moveTo>
                    <a:pt x="1159" y="517"/>
                  </a:moveTo>
                  <a:cubicBezTo>
                    <a:pt x="1155" y="517"/>
                    <a:pt x="1152" y="520"/>
                    <a:pt x="1152" y="524"/>
                  </a:cubicBezTo>
                  <a:cubicBezTo>
                    <a:pt x="1152" y="545"/>
                    <a:pt x="1152" y="545"/>
                    <a:pt x="1152" y="545"/>
                  </a:cubicBezTo>
                  <a:cubicBezTo>
                    <a:pt x="1152" y="546"/>
                    <a:pt x="1152" y="547"/>
                    <a:pt x="1152" y="548"/>
                  </a:cubicBezTo>
                  <a:cubicBezTo>
                    <a:pt x="1148" y="550"/>
                    <a:pt x="1144" y="551"/>
                    <a:pt x="1140" y="553"/>
                  </a:cubicBezTo>
                  <a:cubicBezTo>
                    <a:pt x="1140" y="503"/>
                    <a:pt x="1140" y="503"/>
                    <a:pt x="1140" y="503"/>
                  </a:cubicBezTo>
                  <a:cubicBezTo>
                    <a:pt x="1195" y="503"/>
                    <a:pt x="1195" y="503"/>
                    <a:pt x="1195" y="503"/>
                  </a:cubicBezTo>
                  <a:cubicBezTo>
                    <a:pt x="1195" y="536"/>
                    <a:pt x="1195" y="536"/>
                    <a:pt x="1195" y="536"/>
                  </a:cubicBezTo>
                  <a:cubicBezTo>
                    <a:pt x="1190" y="537"/>
                    <a:pt x="1186" y="538"/>
                    <a:pt x="1182" y="539"/>
                  </a:cubicBezTo>
                  <a:cubicBezTo>
                    <a:pt x="1182" y="524"/>
                    <a:pt x="1182" y="524"/>
                    <a:pt x="1182" y="524"/>
                  </a:cubicBezTo>
                  <a:cubicBezTo>
                    <a:pt x="1182" y="520"/>
                    <a:pt x="1179" y="517"/>
                    <a:pt x="1174" y="517"/>
                  </a:cubicBezTo>
                  <a:cubicBezTo>
                    <a:pt x="1159" y="517"/>
                    <a:pt x="1159" y="517"/>
                    <a:pt x="1159" y="517"/>
                  </a:cubicBezTo>
                  <a:close/>
                  <a:moveTo>
                    <a:pt x="1157" y="480"/>
                  </a:moveTo>
                  <a:cubicBezTo>
                    <a:pt x="1156" y="484"/>
                    <a:pt x="1156" y="484"/>
                    <a:pt x="1156" y="484"/>
                  </a:cubicBezTo>
                  <a:cubicBezTo>
                    <a:pt x="1160" y="484"/>
                    <a:pt x="1160" y="484"/>
                    <a:pt x="1160" y="484"/>
                  </a:cubicBezTo>
                  <a:cubicBezTo>
                    <a:pt x="1160" y="489"/>
                    <a:pt x="1160" y="489"/>
                    <a:pt x="1160" y="489"/>
                  </a:cubicBezTo>
                  <a:cubicBezTo>
                    <a:pt x="1157" y="490"/>
                    <a:pt x="1157" y="490"/>
                    <a:pt x="1157" y="490"/>
                  </a:cubicBezTo>
                  <a:cubicBezTo>
                    <a:pt x="1157" y="492"/>
                    <a:pt x="1157" y="492"/>
                    <a:pt x="1157" y="492"/>
                  </a:cubicBezTo>
                  <a:cubicBezTo>
                    <a:pt x="1163" y="496"/>
                    <a:pt x="1163" y="496"/>
                    <a:pt x="1163" y="496"/>
                  </a:cubicBezTo>
                  <a:cubicBezTo>
                    <a:pt x="1170" y="496"/>
                    <a:pt x="1170" y="496"/>
                    <a:pt x="1170" y="496"/>
                  </a:cubicBezTo>
                  <a:cubicBezTo>
                    <a:pt x="1169" y="489"/>
                    <a:pt x="1169" y="489"/>
                    <a:pt x="1169" y="489"/>
                  </a:cubicBezTo>
                  <a:cubicBezTo>
                    <a:pt x="1173" y="488"/>
                    <a:pt x="1173" y="488"/>
                    <a:pt x="1173" y="488"/>
                  </a:cubicBezTo>
                  <a:cubicBezTo>
                    <a:pt x="1173" y="481"/>
                    <a:pt x="1173" y="481"/>
                    <a:pt x="1173" y="481"/>
                  </a:cubicBezTo>
                  <a:cubicBezTo>
                    <a:pt x="1157" y="480"/>
                    <a:pt x="1157" y="480"/>
                    <a:pt x="1157" y="480"/>
                  </a:cubicBezTo>
                  <a:close/>
                  <a:moveTo>
                    <a:pt x="1339" y="727"/>
                  </a:moveTo>
                  <a:cubicBezTo>
                    <a:pt x="1352" y="740"/>
                    <a:pt x="1363" y="767"/>
                    <a:pt x="1365" y="824"/>
                  </a:cubicBezTo>
                  <a:cubicBezTo>
                    <a:pt x="1364" y="825"/>
                    <a:pt x="1360" y="828"/>
                    <a:pt x="1359" y="824"/>
                  </a:cubicBezTo>
                  <a:cubicBezTo>
                    <a:pt x="1354" y="809"/>
                    <a:pt x="1350" y="756"/>
                    <a:pt x="1339" y="727"/>
                  </a:cubicBezTo>
                  <a:close/>
                  <a:moveTo>
                    <a:pt x="1275" y="605"/>
                  </a:moveTo>
                  <a:cubicBezTo>
                    <a:pt x="1297" y="629"/>
                    <a:pt x="1308" y="656"/>
                    <a:pt x="1315" y="683"/>
                  </a:cubicBezTo>
                  <a:cubicBezTo>
                    <a:pt x="1303" y="671"/>
                    <a:pt x="1290" y="658"/>
                    <a:pt x="1278" y="646"/>
                  </a:cubicBezTo>
                  <a:cubicBezTo>
                    <a:pt x="1277" y="632"/>
                    <a:pt x="1276" y="619"/>
                    <a:pt x="1275" y="605"/>
                  </a:cubicBezTo>
                  <a:close/>
                  <a:moveTo>
                    <a:pt x="386" y="1302"/>
                  </a:moveTo>
                  <a:cubicBezTo>
                    <a:pt x="399" y="1406"/>
                    <a:pt x="432" y="1503"/>
                    <a:pt x="481" y="1591"/>
                  </a:cubicBezTo>
                  <a:cubicBezTo>
                    <a:pt x="521" y="1562"/>
                    <a:pt x="521" y="1562"/>
                    <a:pt x="521" y="1562"/>
                  </a:cubicBezTo>
                  <a:cubicBezTo>
                    <a:pt x="521" y="1536"/>
                    <a:pt x="521" y="1536"/>
                    <a:pt x="521" y="1536"/>
                  </a:cubicBezTo>
                  <a:cubicBezTo>
                    <a:pt x="539" y="1537"/>
                    <a:pt x="539" y="1537"/>
                    <a:pt x="539" y="1537"/>
                  </a:cubicBezTo>
                  <a:cubicBezTo>
                    <a:pt x="539" y="1546"/>
                    <a:pt x="539" y="1546"/>
                    <a:pt x="539" y="1546"/>
                  </a:cubicBezTo>
                  <a:cubicBezTo>
                    <a:pt x="554" y="1546"/>
                    <a:pt x="554" y="1546"/>
                    <a:pt x="554" y="1546"/>
                  </a:cubicBezTo>
                  <a:cubicBezTo>
                    <a:pt x="554" y="1562"/>
                    <a:pt x="554" y="1562"/>
                    <a:pt x="554" y="1562"/>
                  </a:cubicBezTo>
                  <a:cubicBezTo>
                    <a:pt x="707" y="1562"/>
                    <a:pt x="707" y="1562"/>
                    <a:pt x="707" y="1562"/>
                  </a:cubicBezTo>
                  <a:cubicBezTo>
                    <a:pt x="750" y="1222"/>
                    <a:pt x="750" y="1222"/>
                    <a:pt x="750" y="1222"/>
                  </a:cubicBezTo>
                  <a:cubicBezTo>
                    <a:pt x="742" y="1212"/>
                    <a:pt x="734" y="1202"/>
                    <a:pt x="726" y="1192"/>
                  </a:cubicBezTo>
                  <a:cubicBezTo>
                    <a:pt x="711" y="1173"/>
                    <a:pt x="698" y="1167"/>
                    <a:pt x="685" y="1197"/>
                  </a:cubicBezTo>
                  <a:cubicBezTo>
                    <a:pt x="661" y="1258"/>
                    <a:pt x="633" y="1220"/>
                    <a:pt x="626" y="1204"/>
                  </a:cubicBezTo>
                  <a:cubicBezTo>
                    <a:pt x="589" y="1119"/>
                    <a:pt x="557" y="1097"/>
                    <a:pt x="547" y="1151"/>
                  </a:cubicBezTo>
                  <a:cubicBezTo>
                    <a:pt x="547" y="1192"/>
                    <a:pt x="538" y="1213"/>
                    <a:pt x="507" y="1189"/>
                  </a:cubicBezTo>
                  <a:cubicBezTo>
                    <a:pt x="478" y="1163"/>
                    <a:pt x="468" y="1189"/>
                    <a:pt x="457" y="1213"/>
                  </a:cubicBezTo>
                  <a:cubicBezTo>
                    <a:pt x="438" y="1247"/>
                    <a:pt x="412" y="1275"/>
                    <a:pt x="386" y="1302"/>
                  </a:cubicBezTo>
                  <a:close/>
                  <a:moveTo>
                    <a:pt x="723" y="1562"/>
                  </a:moveTo>
                  <a:cubicBezTo>
                    <a:pt x="788" y="1076"/>
                    <a:pt x="788" y="1076"/>
                    <a:pt x="788" y="1076"/>
                  </a:cubicBezTo>
                  <a:cubicBezTo>
                    <a:pt x="794" y="1042"/>
                    <a:pt x="802" y="1009"/>
                    <a:pt x="814" y="978"/>
                  </a:cubicBezTo>
                  <a:cubicBezTo>
                    <a:pt x="848" y="956"/>
                    <a:pt x="848" y="956"/>
                    <a:pt x="848" y="956"/>
                  </a:cubicBezTo>
                  <a:cubicBezTo>
                    <a:pt x="828" y="1431"/>
                    <a:pt x="828" y="1431"/>
                    <a:pt x="828" y="1431"/>
                  </a:cubicBezTo>
                  <a:cubicBezTo>
                    <a:pt x="809" y="1425"/>
                    <a:pt x="791" y="1414"/>
                    <a:pt x="774" y="1400"/>
                  </a:cubicBezTo>
                  <a:cubicBezTo>
                    <a:pt x="787" y="1433"/>
                    <a:pt x="804" y="1463"/>
                    <a:pt x="834" y="1485"/>
                  </a:cubicBezTo>
                  <a:cubicBezTo>
                    <a:pt x="834" y="1562"/>
                    <a:pt x="834" y="1562"/>
                    <a:pt x="834" y="1562"/>
                  </a:cubicBezTo>
                  <a:cubicBezTo>
                    <a:pt x="723" y="1562"/>
                    <a:pt x="723" y="1562"/>
                    <a:pt x="723" y="1562"/>
                  </a:cubicBezTo>
                  <a:close/>
                  <a:moveTo>
                    <a:pt x="525" y="1544"/>
                  </a:moveTo>
                  <a:cubicBezTo>
                    <a:pt x="526" y="1562"/>
                    <a:pt x="526" y="1562"/>
                    <a:pt x="526" y="1562"/>
                  </a:cubicBezTo>
                  <a:cubicBezTo>
                    <a:pt x="548" y="1562"/>
                    <a:pt x="548" y="1562"/>
                    <a:pt x="548" y="1562"/>
                  </a:cubicBezTo>
                  <a:cubicBezTo>
                    <a:pt x="548" y="1556"/>
                    <a:pt x="548" y="1556"/>
                    <a:pt x="548" y="1556"/>
                  </a:cubicBezTo>
                  <a:cubicBezTo>
                    <a:pt x="533" y="1553"/>
                    <a:pt x="533" y="1553"/>
                    <a:pt x="533" y="1553"/>
                  </a:cubicBezTo>
                  <a:cubicBezTo>
                    <a:pt x="533" y="1544"/>
                    <a:pt x="533" y="1544"/>
                    <a:pt x="533" y="1544"/>
                  </a:cubicBezTo>
                  <a:cubicBezTo>
                    <a:pt x="525" y="1544"/>
                    <a:pt x="525" y="1544"/>
                    <a:pt x="525" y="1544"/>
                  </a:cubicBezTo>
                  <a:close/>
                  <a:moveTo>
                    <a:pt x="1838" y="1544"/>
                  </a:moveTo>
                  <a:cubicBezTo>
                    <a:pt x="1830" y="1544"/>
                    <a:pt x="1830" y="1544"/>
                    <a:pt x="1830" y="1544"/>
                  </a:cubicBezTo>
                  <a:cubicBezTo>
                    <a:pt x="1830" y="1553"/>
                    <a:pt x="1830" y="1553"/>
                    <a:pt x="1830" y="1553"/>
                  </a:cubicBezTo>
                  <a:cubicBezTo>
                    <a:pt x="1816" y="1556"/>
                    <a:pt x="1816" y="1556"/>
                    <a:pt x="1816" y="1556"/>
                  </a:cubicBezTo>
                  <a:cubicBezTo>
                    <a:pt x="1816" y="1562"/>
                    <a:pt x="1816" y="1562"/>
                    <a:pt x="1816" y="1562"/>
                  </a:cubicBezTo>
                  <a:cubicBezTo>
                    <a:pt x="1838" y="1562"/>
                    <a:pt x="1838" y="1562"/>
                    <a:pt x="1838" y="1562"/>
                  </a:cubicBezTo>
                  <a:cubicBezTo>
                    <a:pt x="1838" y="1544"/>
                    <a:pt x="1838" y="1544"/>
                    <a:pt x="1838" y="1544"/>
                  </a:cubicBezTo>
                  <a:close/>
                  <a:moveTo>
                    <a:pt x="1444" y="1601"/>
                  </a:moveTo>
                  <a:cubicBezTo>
                    <a:pt x="1444" y="1664"/>
                    <a:pt x="1444" y="1664"/>
                    <a:pt x="1444" y="1664"/>
                  </a:cubicBezTo>
                  <a:cubicBezTo>
                    <a:pt x="1392" y="1664"/>
                    <a:pt x="1392" y="1664"/>
                    <a:pt x="1392" y="1664"/>
                  </a:cubicBezTo>
                  <a:cubicBezTo>
                    <a:pt x="1392" y="1601"/>
                    <a:pt x="1392" y="1601"/>
                    <a:pt x="1392" y="1601"/>
                  </a:cubicBezTo>
                  <a:cubicBezTo>
                    <a:pt x="1444" y="1601"/>
                    <a:pt x="1444" y="1601"/>
                    <a:pt x="1444" y="1601"/>
                  </a:cubicBezTo>
                  <a:close/>
                  <a:moveTo>
                    <a:pt x="1365" y="1515"/>
                  </a:moveTo>
                  <a:cubicBezTo>
                    <a:pt x="1365" y="1520"/>
                    <a:pt x="1365" y="1520"/>
                    <a:pt x="1365" y="1520"/>
                  </a:cubicBezTo>
                  <a:cubicBezTo>
                    <a:pt x="1318" y="1520"/>
                    <a:pt x="1318" y="1520"/>
                    <a:pt x="1318" y="1520"/>
                  </a:cubicBezTo>
                  <a:cubicBezTo>
                    <a:pt x="1318" y="1515"/>
                    <a:pt x="1318" y="1515"/>
                    <a:pt x="1318" y="1515"/>
                  </a:cubicBezTo>
                  <a:cubicBezTo>
                    <a:pt x="1365" y="1515"/>
                    <a:pt x="1365" y="1515"/>
                    <a:pt x="1365" y="1515"/>
                  </a:cubicBezTo>
                  <a:close/>
                  <a:moveTo>
                    <a:pt x="1365" y="1528"/>
                  </a:moveTo>
                  <a:cubicBezTo>
                    <a:pt x="1365" y="1534"/>
                    <a:pt x="1365" y="1534"/>
                    <a:pt x="1365" y="1534"/>
                  </a:cubicBezTo>
                  <a:cubicBezTo>
                    <a:pt x="1318" y="1534"/>
                    <a:pt x="1318" y="1534"/>
                    <a:pt x="1318" y="1534"/>
                  </a:cubicBezTo>
                  <a:cubicBezTo>
                    <a:pt x="1318" y="1528"/>
                    <a:pt x="1318" y="1528"/>
                    <a:pt x="1318" y="1528"/>
                  </a:cubicBezTo>
                  <a:cubicBezTo>
                    <a:pt x="1365" y="1528"/>
                    <a:pt x="1365" y="1528"/>
                    <a:pt x="1365" y="1528"/>
                  </a:cubicBezTo>
                  <a:close/>
                  <a:moveTo>
                    <a:pt x="1365" y="1541"/>
                  </a:moveTo>
                  <a:cubicBezTo>
                    <a:pt x="1365" y="1547"/>
                    <a:pt x="1365" y="1547"/>
                    <a:pt x="1365" y="1547"/>
                  </a:cubicBezTo>
                  <a:cubicBezTo>
                    <a:pt x="1318" y="1547"/>
                    <a:pt x="1318" y="1547"/>
                    <a:pt x="1318" y="1547"/>
                  </a:cubicBezTo>
                  <a:cubicBezTo>
                    <a:pt x="1318" y="1541"/>
                    <a:pt x="1318" y="1541"/>
                    <a:pt x="1318" y="1541"/>
                  </a:cubicBezTo>
                  <a:cubicBezTo>
                    <a:pt x="1365" y="1541"/>
                    <a:pt x="1365" y="1541"/>
                    <a:pt x="1365" y="1541"/>
                  </a:cubicBezTo>
                  <a:close/>
                  <a:moveTo>
                    <a:pt x="1365" y="1552"/>
                  </a:moveTo>
                  <a:cubicBezTo>
                    <a:pt x="1365" y="1558"/>
                    <a:pt x="1365" y="1558"/>
                    <a:pt x="1365" y="1558"/>
                  </a:cubicBezTo>
                  <a:cubicBezTo>
                    <a:pt x="1318" y="1558"/>
                    <a:pt x="1318" y="1558"/>
                    <a:pt x="1318" y="1558"/>
                  </a:cubicBezTo>
                  <a:cubicBezTo>
                    <a:pt x="1318" y="1552"/>
                    <a:pt x="1318" y="1552"/>
                    <a:pt x="1318" y="1552"/>
                  </a:cubicBezTo>
                  <a:cubicBezTo>
                    <a:pt x="1365" y="1552"/>
                    <a:pt x="1365" y="1552"/>
                    <a:pt x="1365" y="1552"/>
                  </a:cubicBezTo>
                  <a:close/>
                  <a:moveTo>
                    <a:pt x="1365" y="1564"/>
                  </a:moveTo>
                  <a:cubicBezTo>
                    <a:pt x="1365" y="1570"/>
                    <a:pt x="1365" y="1570"/>
                    <a:pt x="1365" y="1570"/>
                  </a:cubicBezTo>
                  <a:cubicBezTo>
                    <a:pt x="1318" y="1570"/>
                    <a:pt x="1318" y="1570"/>
                    <a:pt x="1318" y="1570"/>
                  </a:cubicBezTo>
                  <a:cubicBezTo>
                    <a:pt x="1318" y="1564"/>
                    <a:pt x="1318" y="1564"/>
                    <a:pt x="1318" y="1564"/>
                  </a:cubicBezTo>
                  <a:cubicBezTo>
                    <a:pt x="1365" y="1564"/>
                    <a:pt x="1365" y="1564"/>
                    <a:pt x="1365" y="1564"/>
                  </a:cubicBezTo>
                  <a:close/>
                  <a:moveTo>
                    <a:pt x="1365" y="1576"/>
                  </a:moveTo>
                  <a:cubicBezTo>
                    <a:pt x="1365" y="1582"/>
                    <a:pt x="1365" y="1582"/>
                    <a:pt x="1365" y="1582"/>
                  </a:cubicBezTo>
                  <a:cubicBezTo>
                    <a:pt x="1318" y="1582"/>
                    <a:pt x="1318" y="1582"/>
                    <a:pt x="1318" y="1582"/>
                  </a:cubicBezTo>
                  <a:cubicBezTo>
                    <a:pt x="1318" y="1576"/>
                    <a:pt x="1318" y="1576"/>
                    <a:pt x="1318" y="1576"/>
                  </a:cubicBezTo>
                  <a:cubicBezTo>
                    <a:pt x="1365" y="1576"/>
                    <a:pt x="1365" y="1576"/>
                    <a:pt x="1365" y="1576"/>
                  </a:cubicBezTo>
                  <a:close/>
                  <a:moveTo>
                    <a:pt x="1365" y="1588"/>
                  </a:moveTo>
                  <a:cubicBezTo>
                    <a:pt x="1365" y="1594"/>
                    <a:pt x="1365" y="1594"/>
                    <a:pt x="1365" y="1594"/>
                  </a:cubicBezTo>
                  <a:cubicBezTo>
                    <a:pt x="1318" y="1594"/>
                    <a:pt x="1318" y="1594"/>
                    <a:pt x="1318" y="1594"/>
                  </a:cubicBezTo>
                  <a:cubicBezTo>
                    <a:pt x="1318" y="1588"/>
                    <a:pt x="1318" y="1588"/>
                    <a:pt x="1318" y="1588"/>
                  </a:cubicBezTo>
                  <a:cubicBezTo>
                    <a:pt x="1365" y="1588"/>
                    <a:pt x="1365" y="1588"/>
                    <a:pt x="1365" y="1588"/>
                  </a:cubicBezTo>
                  <a:close/>
                  <a:moveTo>
                    <a:pt x="1365" y="1600"/>
                  </a:moveTo>
                  <a:cubicBezTo>
                    <a:pt x="1365" y="1605"/>
                    <a:pt x="1365" y="1605"/>
                    <a:pt x="1365" y="1605"/>
                  </a:cubicBezTo>
                  <a:cubicBezTo>
                    <a:pt x="1318" y="1605"/>
                    <a:pt x="1318" y="1605"/>
                    <a:pt x="1318" y="1605"/>
                  </a:cubicBezTo>
                  <a:cubicBezTo>
                    <a:pt x="1318" y="1600"/>
                    <a:pt x="1318" y="1600"/>
                    <a:pt x="1318" y="1600"/>
                  </a:cubicBezTo>
                  <a:cubicBezTo>
                    <a:pt x="1365" y="1600"/>
                    <a:pt x="1365" y="1600"/>
                    <a:pt x="1365" y="1600"/>
                  </a:cubicBezTo>
                  <a:close/>
                  <a:moveTo>
                    <a:pt x="1365" y="1612"/>
                  </a:moveTo>
                  <a:cubicBezTo>
                    <a:pt x="1365" y="1617"/>
                    <a:pt x="1365" y="1617"/>
                    <a:pt x="1365" y="1617"/>
                  </a:cubicBezTo>
                  <a:cubicBezTo>
                    <a:pt x="1318" y="1617"/>
                    <a:pt x="1318" y="1617"/>
                    <a:pt x="1318" y="1617"/>
                  </a:cubicBezTo>
                  <a:cubicBezTo>
                    <a:pt x="1318" y="1612"/>
                    <a:pt x="1318" y="1612"/>
                    <a:pt x="1318" y="1612"/>
                  </a:cubicBezTo>
                  <a:cubicBezTo>
                    <a:pt x="1365" y="1612"/>
                    <a:pt x="1365" y="1612"/>
                    <a:pt x="1365" y="1612"/>
                  </a:cubicBezTo>
                  <a:close/>
                  <a:moveTo>
                    <a:pt x="1365" y="1626"/>
                  </a:moveTo>
                  <a:cubicBezTo>
                    <a:pt x="1365" y="1631"/>
                    <a:pt x="1365" y="1631"/>
                    <a:pt x="1365" y="1631"/>
                  </a:cubicBezTo>
                  <a:cubicBezTo>
                    <a:pt x="1318" y="1631"/>
                    <a:pt x="1318" y="1631"/>
                    <a:pt x="1318" y="1631"/>
                  </a:cubicBezTo>
                  <a:cubicBezTo>
                    <a:pt x="1318" y="1626"/>
                    <a:pt x="1318" y="1626"/>
                    <a:pt x="1318" y="1626"/>
                  </a:cubicBezTo>
                  <a:cubicBezTo>
                    <a:pt x="1365" y="1626"/>
                    <a:pt x="1365" y="1626"/>
                    <a:pt x="1365" y="1626"/>
                  </a:cubicBezTo>
                  <a:close/>
                  <a:moveTo>
                    <a:pt x="1365" y="1637"/>
                  </a:moveTo>
                  <a:cubicBezTo>
                    <a:pt x="1365" y="1643"/>
                    <a:pt x="1365" y="1643"/>
                    <a:pt x="1365" y="1643"/>
                  </a:cubicBezTo>
                  <a:cubicBezTo>
                    <a:pt x="1318" y="1643"/>
                    <a:pt x="1318" y="1643"/>
                    <a:pt x="1318" y="1643"/>
                  </a:cubicBezTo>
                  <a:cubicBezTo>
                    <a:pt x="1318" y="1637"/>
                    <a:pt x="1318" y="1637"/>
                    <a:pt x="1318" y="1637"/>
                  </a:cubicBezTo>
                  <a:cubicBezTo>
                    <a:pt x="1365" y="1637"/>
                    <a:pt x="1365" y="1637"/>
                    <a:pt x="1365" y="1637"/>
                  </a:cubicBezTo>
                  <a:close/>
                  <a:moveTo>
                    <a:pt x="1365" y="1649"/>
                  </a:moveTo>
                  <a:cubicBezTo>
                    <a:pt x="1365" y="1655"/>
                    <a:pt x="1365" y="1655"/>
                    <a:pt x="1365" y="1655"/>
                  </a:cubicBezTo>
                  <a:cubicBezTo>
                    <a:pt x="1318" y="1655"/>
                    <a:pt x="1318" y="1655"/>
                    <a:pt x="1318" y="1655"/>
                  </a:cubicBezTo>
                  <a:cubicBezTo>
                    <a:pt x="1318" y="1649"/>
                    <a:pt x="1318" y="1649"/>
                    <a:pt x="1318" y="1649"/>
                  </a:cubicBezTo>
                  <a:cubicBezTo>
                    <a:pt x="1365" y="1649"/>
                    <a:pt x="1365" y="1649"/>
                    <a:pt x="1365" y="1649"/>
                  </a:cubicBezTo>
                  <a:close/>
                  <a:moveTo>
                    <a:pt x="1365" y="1661"/>
                  </a:moveTo>
                  <a:cubicBezTo>
                    <a:pt x="1365" y="1667"/>
                    <a:pt x="1365" y="1667"/>
                    <a:pt x="1365" y="1667"/>
                  </a:cubicBezTo>
                  <a:cubicBezTo>
                    <a:pt x="1318" y="1667"/>
                    <a:pt x="1318" y="1667"/>
                    <a:pt x="1318" y="1667"/>
                  </a:cubicBezTo>
                  <a:cubicBezTo>
                    <a:pt x="1318" y="1661"/>
                    <a:pt x="1318" y="1661"/>
                    <a:pt x="1318" y="1661"/>
                  </a:cubicBezTo>
                  <a:cubicBezTo>
                    <a:pt x="1365" y="1661"/>
                    <a:pt x="1365" y="1661"/>
                    <a:pt x="1365" y="1661"/>
                  </a:cubicBezTo>
                  <a:close/>
                  <a:moveTo>
                    <a:pt x="1365" y="1673"/>
                  </a:moveTo>
                  <a:cubicBezTo>
                    <a:pt x="1365" y="1679"/>
                    <a:pt x="1365" y="1679"/>
                    <a:pt x="1365" y="1679"/>
                  </a:cubicBezTo>
                  <a:cubicBezTo>
                    <a:pt x="1318" y="1679"/>
                    <a:pt x="1318" y="1679"/>
                    <a:pt x="1318" y="1679"/>
                  </a:cubicBezTo>
                  <a:cubicBezTo>
                    <a:pt x="1318" y="1673"/>
                    <a:pt x="1318" y="1673"/>
                    <a:pt x="1318" y="1673"/>
                  </a:cubicBezTo>
                  <a:cubicBezTo>
                    <a:pt x="1365" y="1673"/>
                    <a:pt x="1365" y="1673"/>
                    <a:pt x="1365" y="1673"/>
                  </a:cubicBezTo>
                  <a:close/>
                  <a:moveTo>
                    <a:pt x="1365" y="1685"/>
                  </a:moveTo>
                  <a:cubicBezTo>
                    <a:pt x="1365" y="1690"/>
                    <a:pt x="1365" y="1690"/>
                    <a:pt x="1365" y="1690"/>
                  </a:cubicBezTo>
                  <a:cubicBezTo>
                    <a:pt x="1318" y="1690"/>
                    <a:pt x="1318" y="1690"/>
                    <a:pt x="1318" y="1690"/>
                  </a:cubicBezTo>
                  <a:cubicBezTo>
                    <a:pt x="1318" y="1685"/>
                    <a:pt x="1318" y="1685"/>
                    <a:pt x="1318" y="1685"/>
                  </a:cubicBezTo>
                  <a:cubicBezTo>
                    <a:pt x="1365" y="1685"/>
                    <a:pt x="1365" y="1685"/>
                    <a:pt x="1365" y="1685"/>
                  </a:cubicBezTo>
                  <a:close/>
                  <a:moveTo>
                    <a:pt x="1365" y="1697"/>
                  </a:moveTo>
                  <a:cubicBezTo>
                    <a:pt x="1365" y="1702"/>
                    <a:pt x="1365" y="1702"/>
                    <a:pt x="1365" y="1702"/>
                  </a:cubicBezTo>
                  <a:cubicBezTo>
                    <a:pt x="1318" y="1702"/>
                    <a:pt x="1318" y="1702"/>
                    <a:pt x="1318" y="1702"/>
                  </a:cubicBezTo>
                  <a:cubicBezTo>
                    <a:pt x="1318" y="1697"/>
                    <a:pt x="1318" y="1697"/>
                    <a:pt x="1318" y="1697"/>
                  </a:cubicBezTo>
                  <a:cubicBezTo>
                    <a:pt x="1365" y="1697"/>
                    <a:pt x="1365" y="1697"/>
                    <a:pt x="1365" y="1697"/>
                  </a:cubicBezTo>
                  <a:close/>
                  <a:moveTo>
                    <a:pt x="1365" y="1709"/>
                  </a:moveTo>
                  <a:cubicBezTo>
                    <a:pt x="1365" y="1714"/>
                    <a:pt x="1365" y="1714"/>
                    <a:pt x="1365" y="1714"/>
                  </a:cubicBezTo>
                  <a:cubicBezTo>
                    <a:pt x="1318" y="1714"/>
                    <a:pt x="1318" y="1714"/>
                    <a:pt x="1318" y="1714"/>
                  </a:cubicBezTo>
                  <a:cubicBezTo>
                    <a:pt x="1318" y="1709"/>
                    <a:pt x="1318" y="1709"/>
                    <a:pt x="1318" y="1709"/>
                  </a:cubicBezTo>
                  <a:cubicBezTo>
                    <a:pt x="1365" y="1709"/>
                    <a:pt x="1365" y="1709"/>
                    <a:pt x="1365" y="1709"/>
                  </a:cubicBezTo>
                  <a:close/>
                  <a:moveTo>
                    <a:pt x="1365" y="1721"/>
                  </a:moveTo>
                  <a:cubicBezTo>
                    <a:pt x="1365" y="1726"/>
                    <a:pt x="1365" y="1726"/>
                    <a:pt x="1365" y="1726"/>
                  </a:cubicBezTo>
                  <a:cubicBezTo>
                    <a:pt x="1318" y="1726"/>
                    <a:pt x="1318" y="1726"/>
                    <a:pt x="1318" y="1726"/>
                  </a:cubicBezTo>
                  <a:cubicBezTo>
                    <a:pt x="1318" y="1721"/>
                    <a:pt x="1318" y="1721"/>
                    <a:pt x="1318" y="1721"/>
                  </a:cubicBezTo>
                  <a:cubicBezTo>
                    <a:pt x="1365" y="1721"/>
                    <a:pt x="1365" y="1721"/>
                    <a:pt x="1365" y="1721"/>
                  </a:cubicBezTo>
                  <a:close/>
                  <a:moveTo>
                    <a:pt x="1365" y="1733"/>
                  </a:moveTo>
                  <a:cubicBezTo>
                    <a:pt x="1365" y="1738"/>
                    <a:pt x="1365" y="1738"/>
                    <a:pt x="1365" y="1738"/>
                  </a:cubicBezTo>
                  <a:cubicBezTo>
                    <a:pt x="1318" y="1738"/>
                    <a:pt x="1318" y="1738"/>
                    <a:pt x="1318" y="1738"/>
                  </a:cubicBezTo>
                  <a:cubicBezTo>
                    <a:pt x="1318" y="1733"/>
                    <a:pt x="1318" y="1733"/>
                    <a:pt x="1318" y="1733"/>
                  </a:cubicBezTo>
                  <a:cubicBezTo>
                    <a:pt x="1365" y="1733"/>
                    <a:pt x="1365" y="1733"/>
                    <a:pt x="1365" y="1733"/>
                  </a:cubicBezTo>
                  <a:close/>
                  <a:moveTo>
                    <a:pt x="1365" y="1745"/>
                  </a:moveTo>
                  <a:cubicBezTo>
                    <a:pt x="1365" y="1750"/>
                    <a:pt x="1365" y="1750"/>
                    <a:pt x="1365" y="1750"/>
                  </a:cubicBezTo>
                  <a:cubicBezTo>
                    <a:pt x="1318" y="1750"/>
                    <a:pt x="1318" y="1750"/>
                    <a:pt x="1318" y="1750"/>
                  </a:cubicBezTo>
                  <a:cubicBezTo>
                    <a:pt x="1318" y="1745"/>
                    <a:pt x="1318" y="1745"/>
                    <a:pt x="1318" y="1745"/>
                  </a:cubicBezTo>
                  <a:cubicBezTo>
                    <a:pt x="1365" y="1745"/>
                    <a:pt x="1365" y="1745"/>
                    <a:pt x="1365" y="1745"/>
                  </a:cubicBezTo>
                  <a:close/>
                  <a:moveTo>
                    <a:pt x="1518" y="1515"/>
                  </a:moveTo>
                  <a:cubicBezTo>
                    <a:pt x="1518" y="1520"/>
                    <a:pt x="1518" y="1520"/>
                    <a:pt x="1518" y="1520"/>
                  </a:cubicBezTo>
                  <a:cubicBezTo>
                    <a:pt x="1471" y="1520"/>
                    <a:pt x="1471" y="1520"/>
                    <a:pt x="1471" y="1520"/>
                  </a:cubicBezTo>
                  <a:cubicBezTo>
                    <a:pt x="1471" y="1515"/>
                    <a:pt x="1471" y="1515"/>
                    <a:pt x="1471" y="1515"/>
                  </a:cubicBezTo>
                  <a:cubicBezTo>
                    <a:pt x="1518" y="1515"/>
                    <a:pt x="1518" y="1515"/>
                    <a:pt x="1518" y="1515"/>
                  </a:cubicBezTo>
                  <a:close/>
                  <a:moveTo>
                    <a:pt x="1518" y="1528"/>
                  </a:moveTo>
                  <a:cubicBezTo>
                    <a:pt x="1518" y="1534"/>
                    <a:pt x="1518" y="1534"/>
                    <a:pt x="1518" y="1534"/>
                  </a:cubicBezTo>
                  <a:cubicBezTo>
                    <a:pt x="1471" y="1534"/>
                    <a:pt x="1471" y="1534"/>
                    <a:pt x="1471" y="1534"/>
                  </a:cubicBezTo>
                  <a:cubicBezTo>
                    <a:pt x="1471" y="1528"/>
                    <a:pt x="1471" y="1528"/>
                    <a:pt x="1471" y="1528"/>
                  </a:cubicBezTo>
                  <a:cubicBezTo>
                    <a:pt x="1518" y="1528"/>
                    <a:pt x="1518" y="1528"/>
                    <a:pt x="1518" y="1528"/>
                  </a:cubicBezTo>
                  <a:close/>
                  <a:moveTo>
                    <a:pt x="1518" y="1541"/>
                  </a:moveTo>
                  <a:cubicBezTo>
                    <a:pt x="1518" y="1547"/>
                    <a:pt x="1518" y="1547"/>
                    <a:pt x="1518" y="1547"/>
                  </a:cubicBezTo>
                  <a:cubicBezTo>
                    <a:pt x="1471" y="1547"/>
                    <a:pt x="1471" y="1547"/>
                    <a:pt x="1471" y="1547"/>
                  </a:cubicBezTo>
                  <a:cubicBezTo>
                    <a:pt x="1471" y="1541"/>
                    <a:pt x="1471" y="1541"/>
                    <a:pt x="1471" y="1541"/>
                  </a:cubicBezTo>
                  <a:cubicBezTo>
                    <a:pt x="1518" y="1541"/>
                    <a:pt x="1518" y="1541"/>
                    <a:pt x="1518" y="1541"/>
                  </a:cubicBezTo>
                  <a:close/>
                  <a:moveTo>
                    <a:pt x="1518" y="1552"/>
                  </a:moveTo>
                  <a:cubicBezTo>
                    <a:pt x="1518" y="1558"/>
                    <a:pt x="1518" y="1558"/>
                    <a:pt x="1518" y="1558"/>
                  </a:cubicBezTo>
                  <a:cubicBezTo>
                    <a:pt x="1471" y="1558"/>
                    <a:pt x="1471" y="1558"/>
                    <a:pt x="1471" y="1558"/>
                  </a:cubicBezTo>
                  <a:cubicBezTo>
                    <a:pt x="1471" y="1552"/>
                    <a:pt x="1471" y="1552"/>
                    <a:pt x="1471" y="1552"/>
                  </a:cubicBezTo>
                  <a:cubicBezTo>
                    <a:pt x="1518" y="1552"/>
                    <a:pt x="1518" y="1552"/>
                    <a:pt x="1518" y="1552"/>
                  </a:cubicBezTo>
                  <a:close/>
                  <a:moveTo>
                    <a:pt x="1518" y="1564"/>
                  </a:moveTo>
                  <a:cubicBezTo>
                    <a:pt x="1518" y="1570"/>
                    <a:pt x="1518" y="1570"/>
                    <a:pt x="1518" y="1570"/>
                  </a:cubicBezTo>
                  <a:cubicBezTo>
                    <a:pt x="1471" y="1570"/>
                    <a:pt x="1471" y="1570"/>
                    <a:pt x="1471" y="1570"/>
                  </a:cubicBezTo>
                  <a:cubicBezTo>
                    <a:pt x="1471" y="1564"/>
                    <a:pt x="1471" y="1564"/>
                    <a:pt x="1471" y="1564"/>
                  </a:cubicBezTo>
                  <a:cubicBezTo>
                    <a:pt x="1518" y="1564"/>
                    <a:pt x="1518" y="1564"/>
                    <a:pt x="1518" y="1564"/>
                  </a:cubicBezTo>
                  <a:close/>
                  <a:moveTo>
                    <a:pt x="1518" y="1576"/>
                  </a:moveTo>
                  <a:cubicBezTo>
                    <a:pt x="1518" y="1582"/>
                    <a:pt x="1518" y="1582"/>
                    <a:pt x="1518" y="1582"/>
                  </a:cubicBezTo>
                  <a:cubicBezTo>
                    <a:pt x="1471" y="1582"/>
                    <a:pt x="1471" y="1582"/>
                    <a:pt x="1471" y="1582"/>
                  </a:cubicBezTo>
                  <a:cubicBezTo>
                    <a:pt x="1471" y="1576"/>
                    <a:pt x="1471" y="1576"/>
                    <a:pt x="1471" y="1576"/>
                  </a:cubicBezTo>
                  <a:cubicBezTo>
                    <a:pt x="1518" y="1576"/>
                    <a:pt x="1518" y="1576"/>
                    <a:pt x="1518" y="1576"/>
                  </a:cubicBezTo>
                  <a:close/>
                  <a:moveTo>
                    <a:pt x="1518" y="1588"/>
                  </a:moveTo>
                  <a:cubicBezTo>
                    <a:pt x="1518" y="1594"/>
                    <a:pt x="1518" y="1594"/>
                    <a:pt x="1518" y="1594"/>
                  </a:cubicBezTo>
                  <a:cubicBezTo>
                    <a:pt x="1471" y="1594"/>
                    <a:pt x="1471" y="1594"/>
                    <a:pt x="1471" y="1594"/>
                  </a:cubicBezTo>
                  <a:cubicBezTo>
                    <a:pt x="1471" y="1588"/>
                    <a:pt x="1471" y="1588"/>
                    <a:pt x="1471" y="1588"/>
                  </a:cubicBezTo>
                  <a:cubicBezTo>
                    <a:pt x="1518" y="1588"/>
                    <a:pt x="1518" y="1588"/>
                    <a:pt x="1518" y="1588"/>
                  </a:cubicBezTo>
                  <a:close/>
                  <a:moveTo>
                    <a:pt x="1518" y="1600"/>
                  </a:moveTo>
                  <a:cubicBezTo>
                    <a:pt x="1518" y="1605"/>
                    <a:pt x="1518" y="1605"/>
                    <a:pt x="1518" y="1605"/>
                  </a:cubicBezTo>
                  <a:cubicBezTo>
                    <a:pt x="1471" y="1605"/>
                    <a:pt x="1471" y="1605"/>
                    <a:pt x="1471" y="1605"/>
                  </a:cubicBezTo>
                  <a:cubicBezTo>
                    <a:pt x="1471" y="1600"/>
                    <a:pt x="1471" y="1600"/>
                    <a:pt x="1471" y="1600"/>
                  </a:cubicBezTo>
                  <a:cubicBezTo>
                    <a:pt x="1518" y="1600"/>
                    <a:pt x="1518" y="1600"/>
                    <a:pt x="1518" y="1600"/>
                  </a:cubicBezTo>
                  <a:close/>
                  <a:moveTo>
                    <a:pt x="1518" y="1612"/>
                  </a:moveTo>
                  <a:cubicBezTo>
                    <a:pt x="1518" y="1617"/>
                    <a:pt x="1518" y="1617"/>
                    <a:pt x="1518" y="1617"/>
                  </a:cubicBezTo>
                  <a:cubicBezTo>
                    <a:pt x="1471" y="1617"/>
                    <a:pt x="1471" y="1617"/>
                    <a:pt x="1471" y="1617"/>
                  </a:cubicBezTo>
                  <a:cubicBezTo>
                    <a:pt x="1471" y="1612"/>
                    <a:pt x="1471" y="1612"/>
                    <a:pt x="1471" y="1612"/>
                  </a:cubicBezTo>
                  <a:cubicBezTo>
                    <a:pt x="1518" y="1612"/>
                    <a:pt x="1518" y="1612"/>
                    <a:pt x="1518" y="1612"/>
                  </a:cubicBezTo>
                  <a:close/>
                  <a:moveTo>
                    <a:pt x="1518" y="1626"/>
                  </a:moveTo>
                  <a:cubicBezTo>
                    <a:pt x="1518" y="1631"/>
                    <a:pt x="1518" y="1631"/>
                    <a:pt x="1518" y="1631"/>
                  </a:cubicBezTo>
                  <a:cubicBezTo>
                    <a:pt x="1471" y="1631"/>
                    <a:pt x="1471" y="1631"/>
                    <a:pt x="1471" y="1631"/>
                  </a:cubicBezTo>
                  <a:cubicBezTo>
                    <a:pt x="1471" y="1626"/>
                    <a:pt x="1471" y="1626"/>
                    <a:pt x="1471" y="1626"/>
                  </a:cubicBezTo>
                  <a:cubicBezTo>
                    <a:pt x="1518" y="1626"/>
                    <a:pt x="1518" y="1626"/>
                    <a:pt x="1518" y="1626"/>
                  </a:cubicBezTo>
                  <a:close/>
                  <a:moveTo>
                    <a:pt x="1518" y="1637"/>
                  </a:moveTo>
                  <a:cubicBezTo>
                    <a:pt x="1518" y="1643"/>
                    <a:pt x="1518" y="1643"/>
                    <a:pt x="1518" y="1643"/>
                  </a:cubicBezTo>
                  <a:cubicBezTo>
                    <a:pt x="1471" y="1643"/>
                    <a:pt x="1471" y="1643"/>
                    <a:pt x="1471" y="1643"/>
                  </a:cubicBezTo>
                  <a:cubicBezTo>
                    <a:pt x="1471" y="1637"/>
                    <a:pt x="1471" y="1637"/>
                    <a:pt x="1471" y="1637"/>
                  </a:cubicBezTo>
                  <a:cubicBezTo>
                    <a:pt x="1518" y="1637"/>
                    <a:pt x="1518" y="1637"/>
                    <a:pt x="1518" y="1637"/>
                  </a:cubicBezTo>
                  <a:close/>
                  <a:moveTo>
                    <a:pt x="1518" y="1649"/>
                  </a:moveTo>
                  <a:cubicBezTo>
                    <a:pt x="1518" y="1655"/>
                    <a:pt x="1518" y="1655"/>
                    <a:pt x="1518" y="1655"/>
                  </a:cubicBezTo>
                  <a:cubicBezTo>
                    <a:pt x="1471" y="1655"/>
                    <a:pt x="1471" y="1655"/>
                    <a:pt x="1471" y="1655"/>
                  </a:cubicBezTo>
                  <a:cubicBezTo>
                    <a:pt x="1471" y="1649"/>
                    <a:pt x="1471" y="1649"/>
                    <a:pt x="1471" y="1649"/>
                  </a:cubicBezTo>
                  <a:cubicBezTo>
                    <a:pt x="1518" y="1649"/>
                    <a:pt x="1518" y="1649"/>
                    <a:pt x="1518" y="1649"/>
                  </a:cubicBezTo>
                  <a:close/>
                  <a:moveTo>
                    <a:pt x="1518" y="1661"/>
                  </a:moveTo>
                  <a:cubicBezTo>
                    <a:pt x="1518" y="1667"/>
                    <a:pt x="1518" y="1667"/>
                    <a:pt x="1518" y="1667"/>
                  </a:cubicBezTo>
                  <a:cubicBezTo>
                    <a:pt x="1471" y="1667"/>
                    <a:pt x="1471" y="1667"/>
                    <a:pt x="1471" y="1667"/>
                  </a:cubicBezTo>
                  <a:cubicBezTo>
                    <a:pt x="1471" y="1661"/>
                    <a:pt x="1471" y="1661"/>
                    <a:pt x="1471" y="1661"/>
                  </a:cubicBezTo>
                  <a:cubicBezTo>
                    <a:pt x="1518" y="1661"/>
                    <a:pt x="1518" y="1661"/>
                    <a:pt x="1518" y="1661"/>
                  </a:cubicBezTo>
                  <a:close/>
                  <a:moveTo>
                    <a:pt x="1518" y="1673"/>
                  </a:moveTo>
                  <a:cubicBezTo>
                    <a:pt x="1518" y="1679"/>
                    <a:pt x="1518" y="1679"/>
                    <a:pt x="1518" y="1679"/>
                  </a:cubicBezTo>
                  <a:cubicBezTo>
                    <a:pt x="1471" y="1679"/>
                    <a:pt x="1471" y="1679"/>
                    <a:pt x="1471" y="1679"/>
                  </a:cubicBezTo>
                  <a:cubicBezTo>
                    <a:pt x="1471" y="1673"/>
                    <a:pt x="1471" y="1673"/>
                    <a:pt x="1471" y="1673"/>
                  </a:cubicBezTo>
                  <a:cubicBezTo>
                    <a:pt x="1518" y="1673"/>
                    <a:pt x="1518" y="1673"/>
                    <a:pt x="1518" y="1673"/>
                  </a:cubicBezTo>
                  <a:close/>
                  <a:moveTo>
                    <a:pt x="1518" y="1685"/>
                  </a:moveTo>
                  <a:cubicBezTo>
                    <a:pt x="1518" y="1690"/>
                    <a:pt x="1518" y="1690"/>
                    <a:pt x="1518" y="1690"/>
                  </a:cubicBezTo>
                  <a:cubicBezTo>
                    <a:pt x="1471" y="1690"/>
                    <a:pt x="1471" y="1690"/>
                    <a:pt x="1471" y="1690"/>
                  </a:cubicBezTo>
                  <a:cubicBezTo>
                    <a:pt x="1471" y="1685"/>
                    <a:pt x="1471" y="1685"/>
                    <a:pt x="1471" y="1685"/>
                  </a:cubicBezTo>
                  <a:cubicBezTo>
                    <a:pt x="1518" y="1685"/>
                    <a:pt x="1518" y="1685"/>
                    <a:pt x="1518" y="1685"/>
                  </a:cubicBezTo>
                  <a:close/>
                  <a:moveTo>
                    <a:pt x="1518" y="1697"/>
                  </a:moveTo>
                  <a:cubicBezTo>
                    <a:pt x="1518" y="1702"/>
                    <a:pt x="1518" y="1702"/>
                    <a:pt x="1518" y="1702"/>
                  </a:cubicBezTo>
                  <a:cubicBezTo>
                    <a:pt x="1471" y="1702"/>
                    <a:pt x="1471" y="1702"/>
                    <a:pt x="1471" y="1702"/>
                  </a:cubicBezTo>
                  <a:cubicBezTo>
                    <a:pt x="1471" y="1697"/>
                    <a:pt x="1471" y="1697"/>
                    <a:pt x="1471" y="1697"/>
                  </a:cubicBezTo>
                  <a:cubicBezTo>
                    <a:pt x="1518" y="1697"/>
                    <a:pt x="1518" y="1697"/>
                    <a:pt x="1518" y="1697"/>
                  </a:cubicBezTo>
                  <a:close/>
                  <a:moveTo>
                    <a:pt x="1518" y="1709"/>
                  </a:moveTo>
                  <a:cubicBezTo>
                    <a:pt x="1518" y="1714"/>
                    <a:pt x="1518" y="1714"/>
                    <a:pt x="1518" y="1714"/>
                  </a:cubicBezTo>
                  <a:cubicBezTo>
                    <a:pt x="1471" y="1714"/>
                    <a:pt x="1471" y="1714"/>
                    <a:pt x="1471" y="1714"/>
                  </a:cubicBezTo>
                  <a:cubicBezTo>
                    <a:pt x="1471" y="1709"/>
                    <a:pt x="1471" y="1709"/>
                    <a:pt x="1471" y="1709"/>
                  </a:cubicBezTo>
                  <a:cubicBezTo>
                    <a:pt x="1518" y="1709"/>
                    <a:pt x="1518" y="1709"/>
                    <a:pt x="1518" y="1709"/>
                  </a:cubicBezTo>
                  <a:close/>
                  <a:moveTo>
                    <a:pt x="1518" y="1721"/>
                  </a:moveTo>
                  <a:cubicBezTo>
                    <a:pt x="1518" y="1726"/>
                    <a:pt x="1518" y="1726"/>
                    <a:pt x="1518" y="1726"/>
                  </a:cubicBezTo>
                  <a:cubicBezTo>
                    <a:pt x="1471" y="1726"/>
                    <a:pt x="1471" y="1726"/>
                    <a:pt x="1471" y="1726"/>
                  </a:cubicBezTo>
                  <a:cubicBezTo>
                    <a:pt x="1471" y="1721"/>
                    <a:pt x="1471" y="1721"/>
                    <a:pt x="1471" y="1721"/>
                  </a:cubicBezTo>
                  <a:cubicBezTo>
                    <a:pt x="1518" y="1721"/>
                    <a:pt x="1518" y="1721"/>
                    <a:pt x="1518" y="1721"/>
                  </a:cubicBezTo>
                  <a:close/>
                  <a:moveTo>
                    <a:pt x="1518" y="1733"/>
                  </a:moveTo>
                  <a:cubicBezTo>
                    <a:pt x="1518" y="1738"/>
                    <a:pt x="1518" y="1738"/>
                    <a:pt x="1518" y="1738"/>
                  </a:cubicBezTo>
                  <a:cubicBezTo>
                    <a:pt x="1471" y="1738"/>
                    <a:pt x="1471" y="1738"/>
                    <a:pt x="1471" y="1738"/>
                  </a:cubicBezTo>
                  <a:cubicBezTo>
                    <a:pt x="1471" y="1733"/>
                    <a:pt x="1471" y="1733"/>
                    <a:pt x="1471" y="1733"/>
                  </a:cubicBezTo>
                  <a:cubicBezTo>
                    <a:pt x="1518" y="1733"/>
                    <a:pt x="1518" y="1733"/>
                    <a:pt x="1518" y="1733"/>
                  </a:cubicBezTo>
                  <a:close/>
                  <a:moveTo>
                    <a:pt x="1518" y="1745"/>
                  </a:moveTo>
                  <a:cubicBezTo>
                    <a:pt x="1518" y="1750"/>
                    <a:pt x="1518" y="1750"/>
                    <a:pt x="1518" y="1750"/>
                  </a:cubicBezTo>
                  <a:cubicBezTo>
                    <a:pt x="1471" y="1750"/>
                    <a:pt x="1471" y="1750"/>
                    <a:pt x="1471" y="1750"/>
                  </a:cubicBezTo>
                  <a:cubicBezTo>
                    <a:pt x="1471" y="1745"/>
                    <a:pt x="1471" y="1745"/>
                    <a:pt x="1471" y="1745"/>
                  </a:cubicBezTo>
                  <a:cubicBezTo>
                    <a:pt x="1518" y="1745"/>
                    <a:pt x="1518" y="1745"/>
                    <a:pt x="1518" y="1745"/>
                  </a:cubicBezTo>
                  <a:close/>
                  <a:moveTo>
                    <a:pt x="917" y="1601"/>
                  </a:moveTo>
                  <a:cubicBezTo>
                    <a:pt x="970" y="1601"/>
                    <a:pt x="970" y="1601"/>
                    <a:pt x="970" y="1601"/>
                  </a:cubicBezTo>
                  <a:cubicBezTo>
                    <a:pt x="970" y="1664"/>
                    <a:pt x="970" y="1664"/>
                    <a:pt x="970" y="1664"/>
                  </a:cubicBezTo>
                  <a:cubicBezTo>
                    <a:pt x="917" y="1664"/>
                    <a:pt x="917" y="1664"/>
                    <a:pt x="917" y="1664"/>
                  </a:cubicBezTo>
                  <a:cubicBezTo>
                    <a:pt x="917" y="1601"/>
                    <a:pt x="917" y="1601"/>
                    <a:pt x="917" y="1601"/>
                  </a:cubicBezTo>
                  <a:close/>
                  <a:moveTo>
                    <a:pt x="997" y="1515"/>
                  </a:moveTo>
                  <a:cubicBezTo>
                    <a:pt x="1043" y="1515"/>
                    <a:pt x="1043" y="1515"/>
                    <a:pt x="1043" y="1515"/>
                  </a:cubicBezTo>
                  <a:cubicBezTo>
                    <a:pt x="1043" y="1520"/>
                    <a:pt x="1043" y="1520"/>
                    <a:pt x="1043" y="1520"/>
                  </a:cubicBezTo>
                  <a:cubicBezTo>
                    <a:pt x="997" y="1520"/>
                    <a:pt x="997" y="1520"/>
                    <a:pt x="997" y="1520"/>
                  </a:cubicBezTo>
                  <a:cubicBezTo>
                    <a:pt x="997" y="1515"/>
                    <a:pt x="997" y="1515"/>
                    <a:pt x="997" y="1515"/>
                  </a:cubicBezTo>
                  <a:close/>
                  <a:moveTo>
                    <a:pt x="997" y="1528"/>
                  </a:moveTo>
                  <a:cubicBezTo>
                    <a:pt x="1043" y="1528"/>
                    <a:pt x="1043" y="1528"/>
                    <a:pt x="1043" y="1528"/>
                  </a:cubicBezTo>
                  <a:cubicBezTo>
                    <a:pt x="1043" y="1534"/>
                    <a:pt x="1043" y="1534"/>
                    <a:pt x="1043" y="1534"/>
                  </a:cubicBezTo>
                  <a:cubicBezTo>
                    <a:pt x="997" y="1534"/>
                    <a:pt x="997" y="1534"/>
                    <a:pt x="997" y="1534"/>
                  </a:cubicBezTo>
                  <a:cubicBezTo>
                    <a:pt x="997" y="1528"/>
                    <a:pt x="997" y="1528"/>
                    <a:pt x="997" y="1528"/>
                  </a:cubicBezTo>
                  <a:close/>
                  <a:moveTo>
                    <a:pt x="997" y="1541"/>
                  </a:moveTo>
                  <a:cubicBezTo>
                    <a:pt x="1043" y="1541"/>
                    <a:pt x="1043" y="1541"/>
                    <a:pt x="1043" y="1541"/>
                  </a:cubicBezTo>
                  <a:cubicBezTo>
                    <a:pt x="1043" y="1547"/>
                    <a:pt x="1043" y="1547"/>
                    <a:pt x="1043" y="1547"/>
                  </a:cubicBezTo>
                  <a:cubicBezTo>
                    <a:pt x="997" y="1547"/>
                    <a:pt x="997" y="1547"/>
                    <a:pt x="997" y="1547"/>
                  </a:cubicBezTo>
                  <a:cubicBezTo>
                    <a:pt x="997" y="1541"/>
                    <a:pt x="997" y="1541"/>
                    <a:pt x="997" y="1541"/>
                  </a:cubicBezTo>
                  <a:close/>
                  <a:moveTo>
                    <a:pt x="997" y="1552"/>
                  </a:moveTo>
                  <a:cubicBezTo>
                    <a:pt x="1043" y="1552"/>
                    <a:pt x="1043" y="1552"/>
                    <a:pt x="1043" y="1552"/>
                  </a:cubicBezTo>
                  <a:cubicBezTo>
                    <a:pt x="1043" y="1558"/>
                    <a:pt x="1043" y="1558"/>
                    <a:pt x="1043" y="1558"/>
                  </a:cubicBezTo>
                  <a:cubicBezTo>
                    <a:pt x="997" y="1558"/>
                    <a:pt x="997" y="1558"/>
                    <a:pt x="997" y="1558"/>
                  </a:cubicBezTo>
                  <a:cubicBezTo>
                    <a:pt x="997" y="1552"/>
                    <a:pt x="997" y="1552"/>
                    <a:pt x="997" y="1552"/>
                  </a:cubicBezTo>
                  <a:close/>
                  <a:moveTo>
                    <a:pt x="997" y="1564"/>
                  </a:moveTo>
                  <a:cubicBezTo>
                    <a:pt x="1043" y="1564"/>
                    <a:pt x="1043" y="1564"/>
                    <a:pt x="1043" y="1564"/>
                  </a:cubicBezTo>
                  <a:cubicBezTo>
                    <a:pt x="1043" y="1570"/>
                    <a:pt x="1043" y="1570"/>
                    <a:pt x="1043" y="1570"/>
                  </a:cubicBezTo>
                  <a:cubicBezTo>
                    <a:pt x="997" y="1570"/>
                    <a:pt x="997" y="1570"/>
                    <a:pt x="997" y="1570"/>
                  </a:cubicBezTo>
                  <a:cubicBezTo>
                    <a:pt x="997" y="1564"/>
                    <a:pt x="997" y="1564"/>
                    <a:pt x="997" y="1564"/>
                  </a:cubicBezTo>
                  <a:close/>
                  <a:moveTo>
                    <a:pt x="997" y="1576"/>
                  </a:moveTo>
                  <a:cubicBezTo>
                    <a:pt x="1043" y="1576"/>
                    <a:pt x="1043" y="1576"/>
                    <a:pt x="1043" y="1576"/>
                  </a:cubicBezTo>
                  <a:cubicBezTo>
                    <a:pt x="1043" y="1582"/>
                    <a:pt x="1043" y="1582"/>
                    <a:pt x="1043" y="1582"/>
                  </a:cubicBezTo>
                  <a:cubicBezTo>
                    <a:pt x="997" y="1582"/>
                    <a:pt x="997" y="1582"/>
                    <a:pt x="997" y="1582"/>
                  </a:cubicBezTo>
                  <a:cubicBezTo>
                    <a:pt x="997" y="1576"/>
                    <a:pt x="997" y="1576"/>
                    <a:pt x="997" y="1576"/>
                  </a:cubicBezTo>
                  <a:close/>
                  <a:moveTo>
                    <a:pt x="997" y="1588"/>
                  </a:moveTo>
                  <a:cubicBezTo>
                    <a:pt x="1043" y="1588"/>
                    <a:pt x="1043" y="1588"/>
                    <a:pt x="1043" y="1588"/>
                  </a:cubicBezTo>
                  <a:cubicBezTo>
                    <a:pt x="1043" y="1594"/>
                    <a:pt x="1043" y="1594"/>
                    <a:pt x="1043" y="1594"/>
                  </a:cubicBezTo>
                  <a:cubicBezTo>
                    <a:pt x="997" y="1594"/>
                    <a:pt x="997" y="1594"/>
                    <a:pt x="997" y="1594"/>
                  </a:cubicBezTo>
                  <a:cubicBezTo>
                    <a:pt x="997" y="1588"/>
                    <a:pt x="997" y="1588"/>
                    <a:pt x="997" y="1588"/>
                  </a:cubicBezTo>
                  <a:close/>
                  <a:moveTo>
                    <a:pt x="997" y="1600"/>
                  </a:moveTo>
                  <a:cubicBezTo>
                    <a:pt x="1043" y="1600"/>
                    <a:pt x="1043" y="1600"/>
                    <a:pt x="1043" y="1600"/>
                  </a:cubicBezTo>
                  <a:cubicBezTo>
                    <a:pt x="1043" y="1605"/>
                    <a:pt x="1043" y="1605"/>
                    <a:pt x="1043" y="1605"/>
                  </a:cubicBezTo>
                  <a:cubicBezTo>
                    <a:pt x="997" y="1605"/>
                    <a:pt x="997" y="1605"/>
                    <a:pt x="997" y="1605"/>
                  </a:cubicBezTo>
                  <a:cubicBezTo>
                    <a:pt x="997" y="1600"/>
                    <a:pt x="997" y="1600"/>
                    <a:pt x="997" y="1600"/>
                  </a:cubicBezTo>
                  <a:close/>
                  <a:moveTo>
                    <a:pt x="997" y="1612"/>
                  </a:moveTo>
                  <a:cubicBezTo>
                    <a:pt x="1043" y="1612"/>
                    <a:pt x="1043" y="1612"/>
                    <a:pt x="1043" y="1612"/>
                  </a:cubicBezTo>
                  <a:cubicBezTo>
                    <a:pt x="1043" y="1617"/>
                    <a:pt x="1043" y="1617"/>
                    <a:pt x="1043" y="1617"/>
                  </a:cubicBezTo>
                  <a:cubicBezTo>
                    <a:pt x="997" y="1617"/>
                    <a:pt x="997" y="1617"/>
                    <a:pt x="997" y="1617"/>
                  </a:cubicBezTo>
                  <a:cubicBezTo>
                    <a:pt x="997" y="1612"/>
                    <a:pt x="997" y="1612"/>
                    <a:pt x="997" y="1612"/>
                  </a:cubicBezTo>
                  <a:close/>
                  <a:moveTo>
                    <a:pt x="997" y="1626"/>
                  </a:moveTo>
                  <a:cubicBezTo>
                    <a:pt x="1043" y="1626"/>
                    <a:pt x="1043" y="1626"/>
                    <a:pt x="1043" y="1626"/>
                  </a:cubicBezTo>
                  <a:cubicBezTo>
                    <a:pt x="1043" y="1631"/>
                    <a:pt x="1043" y="1631"/>
                    <a:pt x="1043" y="1631"/>
                  </a:cubicBezTo>
                  <a:cubicBezTo>
                    <a:pt x="997" y="1631"/>
                    <a:pt x="997" y="1631"/>
                    <a:pt x="997" y="1631"/>
                  </a:cubicBezTo>
                  <a:cubicBezTo>
                    <a:pt x="997" y="1626"/>
                    <a:pt x="997" y="1626"/>
                    <a:pt x="997" y="1626"/>
                  </a:cubicBezTo>
                  <a:close/>
                  <a:moveTo>
                    <a:pt x="997" y="1637"/>
                  </a:moveTo>
                  <a:cubicBezTo>
                    <a:pt x="1043" y="1637"/>
                    <a:pt x="1043" y="1637"/>
                    <a:pt x="1043" y="1637"/>
                  </a:cubicBezTo>
                  <a:cubicBezTo>
                    <a:pt x="1043" y="1643"/>
                    <a:pt x="1043" y="1643"/>
                    <a:pt x="1043" y="1643"/>
                  </a:cubicBezTo>
                  <a:cubicBezTo>
                    <a:pt x="997" y="1643"/>
                    <a:pt x="997" y="1643"/>
                    <a:pt x="997" y="1643"/>
                  </a:cubicBezTo>
                  <a:cubicBezTo>
                    <a:pt x="997" y="1637"/>
                    <a:pt x="997" y="1637"/>
                    <a:pt x="997" y="1637"/>
                  </a:cubicBezTo>
                  <a:close/>
                  <a:moveTo>
                    <a:pt x="997" y="1649"/>
                  </a:moveTo>
                  <a:cubicBezTo>
                    <a:pt x="1043" y="1649"/>
                    <a:pt x="1043" y="1649"/>
                    <a:pt x="1043" y="1649"/>
                  </a:cubicBezTo>
                  <a:cubicBezTo>
                    <a:pt x="1043" y="1655"/>
                    <a:pt x="1043" y="1655"/>
                    <a:pt x="1043" y="1655"/>
                  </a:cubicBezTo>
                  <a:cubicBezTo>
                    <a:pt x="997" y="1655"/>
                    <a:pt x="997" y="1655"/>
                    <a:pt x="997" y="1655"/>
                  </a:cubicBezTo>
                  <a:cubicBezTo>
                    <a:pt x="997" y="1649"/>
                    <a:pt x="997" y="1649"/>
                    <a:pt x="997" y="1649"/>
                  </a:cubicBezTo>
                  <a:close/>
                  <a:moveTo>
                    <a:pt x="997" y="1661"/>
                  </a:moveTo>
                  <a:cubicBezTo>
                    <a:pt x="1043" y="1661"/>
                    <a:pt x="1043" y="1661"/>
                    <a:pt x="1043" y="1661"/>
                  </a:cubicBezTo>
                  <a:cubicBezTo>
                    <a:pt x="1043" y="1667"/>
                    <a:pt x="1043" y="1667"/>
                    <a:pt x="1043" y="1667"/>
                  </a:cubicBezTo>
                  <a:cubicBezTo>
                    <a:pt x="997" y="1667"/>
                    <a:pt x="997" y="1667"/>
                    <a:pt x="997" y="1667"/>
                  </a:cubicBezTo>
                  <a:cubicBezTo>
                    <a:pt x="997" y="1661"/>
                    <a:pt x="997" y="1661"/>
                    <a:pt x="997" y="1661"/>
                  </a:cubicBezTo>
                  <a:close/>
                  <a:moveTo>
                    <a:pt x="997" y="1673"/>
                  </a:moveTo>
                  <a:cubicBezTo>
                    <a:pt x="1043" y="1673"/>
                    <a:pt x="1043" y="1673"/>
                    <a:pt x="1043" y="1673"/>
                  </a:cubicBezTo>
                  <a:cubicBezTo>
                    <a:pt x="1043" y="1679"/>
                    <a:pt x="1043" y="1679"/>
                    <a:pt x="1043" y="1679"/>
                  </a:cubicBezTo>
                  <a:cubicBezTo>
                    <a:pt x="997" y="1679"/>
                    <a:pt x="997" y="1679"/>
                    <a:pt x="997" y="1679"/>
                  </a:cubicBezTo>
                  <a:cubicBezTo>
                    <a:pt x="997" y="1673"/>
                    <a:pt x="997" y="1673"/>
                    <a:pt x="997" y="1673"/>
                  </a:cubicBezTo>
                  <a:close/>
                  <a:moveTo>
                    <a:pt x="997" y="1685"/>
                  </a:moveTo>
                  <a:cubicBezTo>
                    <a:pt x="1043" y="1685"/>
                    <a:pt x="1043" y="1685"/>
                    <a:pt x="1043" y="1685"/>
                  </a:cubicBezTo>
                  <a:cubicBezTo>
                    <a:pt x="1043" y="1690"/>
                    <a:pt x="1043" y="1690"/>
                    <a:pt x="1043" y="1690"/>
                  </a:cubicBezTo>
                  <a:cubicBezTo>
                    <a:pt x="997" y="1690"/>
                    <a:pt x="997" y="1690"/>
                    <a:pt x="997" y="1690"/>
                  </a:cubicBezTo>
                  <a:cubicBezTo>
                    <a:pt x="997" y="1685"/>
                    <a:pt x="997" y="1685"/>
                    <a:pt x="997" y="1685"/>
                  </a:cubicBezTo>
                  <a:close/>
                  <a:moveTo>
                    <a:pt x="997" y="1697"/>
                  </a:moveTo>
                  <a:cubicBezTo>
                    <a:pt x="1043" y="1697"/>
                    <a:pt x="1043" y="1697"/>
                    <a:pt x="1043" y="1697"/>
                  </a:cubicBezTo>
                  <a:cubicBezTo>
                    <a:pt x="1043" y="1702"/>
                    <a:pt x="1043" y="1702"/>
                    <a:pt x="1043" y="1702"/>
                  </a:cubicBezTo>
                  <a:cubicBezTo>
                    <a:pt x="997" y="1702"/>
                    <a:pt x="997" y="1702"/>
                    <a:pt x="997" y="1702"/>
                  </a:cubicBezTo>
                  <a:cubicBezTo>
                    <a:pt x="997" y="1697"/>
                    <a:pt x="997" y="1697"/>
                    <a:pt x="997" y="1697"/>
                  </a:cubicBezTo>
                  <a:close/>
                  <a:moveTo>
                    <a:pt x="997" y="1709"/>
                  </a:moveTo>
                  <a:cubicBezTo>
                    <a:pt x="1043" y="1709"/>
                    <a:pt x="1043" y="1709"/>
                    <a:pt x="1043" y="1709"/>
                  </a:cubicBezTo>
                  <a:cubicBezTo>
                    <a:pt x="1043" y="1714"/>
                    <a:pt x="1043" y="1714"/>
                    <a:pt x="1043" y="1714"/>
                  </a:cubicBezTo>
                  <a:cubicBezTo>
                    <a:pt x="997" y="1714"/>
                    <a:pt x="997" y="1714"/>
                    <a:pt x="997" y="1714"/>
                  </a:cubicBezTo>
                  <a:cubicBezTo>
                    <a:pt x="997" y="1709"/>
                    <a:pt x="997" y="1709"/>
                    <a:pt x="997" y="1709"/>
                  </a:cubicBezTo>
                  <a:close/>
                  <a:moveTo>
                    <a:pt x="997" y="1721"/>
                  </a:moveTo>
                  <a:cubicBezTo>
                    <a:pt x="1043" y="1721"/>
                    <a:pt x="1043" y="1721"/>
                    <a:pt x="1043" y="1721"/>
                  </a:cubicBezTo>
                  <a:cubicBezTo>
                    <a:pt x="1043" y="1726"/>
                    <a:pt x="1043" y="1726"/>
                    <a:pt x="1043" y="1726"/>
                  </a:cubicBezTo>
                  <a:cubicBezTo>
                    <a:pt x="997" y="1726"/>
                    <a:pt x="997" y="1726"/>
                    <a:pt x="997" y="1726"/>
                  </a:cubicBezTo>
                  <a:cubicBezTo>
                    <a:pt x="997" y="1721"/>
                    <a:pt x="997" y="1721"/>
                    <a:pt x="997" y="1721"/>
                  </a:cubicBezTo>
                  <a:close/>
                  <a:moveTo>
                    <a:pt x="997" y="1733"/>
                  </a:moveTo>
                  <a:cubicBezTo>
                    <a:pt x="1043" y="1733"/>
                    <a:pt x="1043" y="1733"/>
                    <a:pt x="1043" y="1733"/>
                  </a:cubicBezTo>
                  <a:cubicBezTo>
                    <a:pt x="1043" y="1738"/>
                    <a:pt x="1043" y="1738"/>
                    <a:pt x="1043" y="1738"/>
                  </a:cubicBezTo>
                  <a:cubicBezTo>
                    <a:pt x="997" y="1738"/>
                    <a:pt x="997" y="1738"/>
                    <a:pt x="997" y="1738"/>
                  </a:cubicBezTo>
                  <a:cubicBezTo>
                    <a:pt x="997" y="1733"/>
                    <a:pt x="997" y="1733"/>
                    <a:pt x="997" y="1733"/>
                  </a:cubicBezTo>
                  <a:close/>
                  <a:moveTo>
                    <a:pt x="997" y="1745"/>
                  </a:moveTo>
                  <a:cubicBezTo>
                    <a:pt x="1043" y="1745"/>
                    <a:pt x="1043" y="1745"/>
                    <a:pt x="1043" y="1745"/>
                  </a:cubicBezTo>
                  <a:cubicBezTo>
                    <a:pt x="1043" y="1750"/>
                    <a:pt x="1043" y="1750"/>
                    <a:pt x="1043" y="1750"/>
                  </a:cubicBezTo>
                  <a:cubicBezTo>
                    <a:pt x="997" y="1750"/>
                    <a:pt x="997" y="1750"/>
                    <a:pt x="997" y="1750"/>
                  </a:cubicBezTo>
                  <a:cubicBezTo>
                    <a:pt x="997" y="1745"/>
                    <a:pt x="997" y="1745"/>
                    <a:pt x="997" y="1745"/>
                  </a:cubicBezTo>
                  <a:close/>
                  <a:moveTo>
                    <a:pt x="844" y="1515"/>
                  </a:moveTo>
                  <a:cubicBezTo>
                    <a:pt x="891" y="1515"/>
                    <a:pt x="891" y="1515"/>
                    <a:pt x="891" y="1515"/>
                  </a:cubicBezTo>
                  <a:cubicBezTo>
                    <a:pt x="891" y="1520"/>
                    <a:pt x="891" y="1520"/>
                    <a:pt x="891" y="1520"/>
                  </a:cubicBezTo>
                  <a:cubicBezTo>
                    <a:pt x="844" y="1520"/>
                    <a:pt x="844" y="1520"/>
                    <a:pt x="844" y="1520"/>
                  </a:cubicBezTo>
                  <a:cubicBezTo>
                    <a:pt x="844" y="1515"/>
                    <a:pt x="844" y="1515"/>
                    <a:pt x="844" y="1515"/>
                  </a:cubicBezTo>
                  <a:close/>
                  <a:moveTo>
                    <a:pt x="844" y="1528"/>
                  </a:moveTo>
                  <a:cubicBezTo>
                    <a:pt x="891" y="1528"/>
                    <a:pt x="891" y="1528"/>
                    <a:pt x="891" y="1528"/>
                  </a:cubicBezTo>
                  <a:cubicBezTo>
                    <a:pt x="891" y="1534"/>
                    <a:pt x="891" y="1534"/>
                    <a:pt x="891" y="1534"/>
                  </a:cubicBezTo>
                  <a:cubicBezTo>
                    <a:pt x="844" y="1534"/>
                    <a:pt x="844" y="1534"/>
                    <a:pt x="844" y="1534"/>
                  </a:cubicBezTo>
                  <a:cubicBezTo>
                    <a:pt x="844" y="1528"/>
                    <a:pt x="844" y="1528"/>
                    <a:pt x="844" y="1528"/>
                  </a:cubicBezTo>
                  <a:close/>
                  <a:moveTo>
                    <a:pt x="844" y="1541"/>
                  </a:moveTo>
                  <a:cubicBezTo>
                    <a:pt x="891" y="1541"/>
                    <a:pt x="891" y="1541"/>
                    <a:pt x="891" y="1541"/>
                  </a:cubicBezTo>
                  <a:cubicBezTo>
                    <a:pt x="891" y="1547"/>
                    <a:pt x="891" y="1547"/>
                    <a:pt x="891" y="1547"/>
                  </a:cubicBezTo>
                  <a:cubicBezTo>
                    <a:pt x="844" y="1547"/>
                    <a:pt x="844" y="1547"/>
                    <a:pt x="844" y="1547"/>
                  </a:cubicBezTo>
                  <a:cubicBezTo>
                    <a:pt x="844" y="1541"/>
                    <a:pt x="844" y="1541"/>
                    <a:pt x="844" y="1541"/>
                  </a:cubicBezTo>
                  <a:close/>
                  <a:moveTo>
                    <a:pt x="844" y="1552"/>
                  </a:moveTo>
                  <a:cubicBezTo>
                    <a:pt x="891" y="1552"/>
                    <a:pt x="891" y="1552"/>
                    <a:pt x="891" y="1552"/>
                  </a:cubicBezTo>
                  <a:cubicBezTo>
                    <a:pt x="891" y="1558"/>
                    <a:pt x="891" y="1558"/>
                    <a:pt x="891" y="1558"/>
                  </a:cubicBezTo>
                  <a:cubicBezTo>
                    <a:pt x="844" y="1558"/>
                    <a:pt x="844" y="1558"/>
                    <a:pt x="844" y="1558"/>
                  </a:cubicBezTo>
                  <a:cubicBezTo>
                    <a:pt x="844" y="1552"/>
                    <a:pt x="844" y="1552"/>
                    <a:pt x="844" y="1552"/>
                  </a:cubicBezTo>
                  <a:close/>
                  <a:moveTo>
                    <a:pt x="844" y="1564"/>
                  </a:moveTo>
                  <a:cubicBezTo>
                    <a:pt x="891" y="1564"/>
                    <a:pt x="891" y="1564"/>
                    <a:pt x="891" y="1564"/>
                  </a:cubicBezTo>
                  <a:cubicBezTo>
                    <a:pt x="891" y="1570"/>
                    <a:pt x="891" y="1570"/>
                    <a:pt x="891" y="1570"/>
                  </a:cubicBezTo>
                  <a:cubicBezTo>
                    <a:pt x="844" y="1570"/>
                    <a:pt x="844" y="1570"/>
                    <a:pt x="844" y="1570"/>
                  </a:cubicBezTo>
                  <a:cubicBezTo>
                    <a:pt x="844" y="1564"/>
                    <a:pt x="844" y="1564"/>
                    <a:pt x="844" y="1564"/>
                  </a:cubicBezTo>
                  <a:close/>
                  <a:moveTo>
                    <a:pt x="844" y="1576"/>
                  </a:moveTo>
                  <a:cubicBezTo>
                    <a:pt x="891" y="1576"/>
                    <a:pt x="891" y="1576"/>
                    <a:pt x="891" y="1576"/>
                  </a:cubicBezTo>
                  <a:cubicBezTo>
                    <a:pt x="891" y="1582"/>
                    <a:pt x="891" y="1582"/>
                    <a:pt x="891" y="1582"/>
                  </a:cubicBezTo>
                  <a:cubicBezTo>
                    <a:pt x="844" y="1582"/>
                    <a:pt x="844" y="1582"/>
                    <a:pt x="844" y="1582"/>
                  </a:cubicBezTo>
                  <a:cubicBezTo>
                    <a:pt x="844" y="1576"/>
                    <a:pt x="844" y="1576"/>
                    <a:pt x="844" y="1576"/>
                  </a:cubicBezTo>
                  <a:close/>
                  <a:moveTo>
                    <a:pt x="844" y="1588"/>
                  </a:moveTo>
                  <a:cubicBezTo>
                    <a:pt x="891" y="1588"/>
                    <a:pt x="891" y="1588"/>
                    <a:pt x="891" y="1588"/>
                  </a:cubicBezTo>
                  <a:cubicBezTo>
                    <a:pt x="891" y="1594"/>
                    <a:pt x="891" y="1594"/>
                    <a:pt x="891" y="1594"/>
                  </a:cubicBezTo>
                  <a:cubicBezTo>
                    <a:pt x="844" y="1594"/>
                    <a:pt x="844" y="1594"/>
                    <a:pt x="844" y="1594"/>
                  </a:cubicBezTo>
                  <a:cubicBezTo>
                    <a:pt x="844" y="1588"/>
                    <a:pt x="844" y="1588"/>
                    <a:pt x="844" y="1588"/>
                  </a:cubicBezTo>
                  <a:close/>
                  <a:moveTo>
                    <a:pt x="844" y="1600"/>
                  </a:moveTo>
                  <a:cubicBezTo>
                    <a:pt x="891" y="1600"/>
                    <a:pt x="891" y="1600"/>
                    <a:pt x="891" y="1600"/>
                  </a:cubicBezTo>
                  <a:cubicBezTo>
                    <a:pt x="891" y="1605"/>
                    <a:pt x="891" y="1605"/>
                    <a:pt x="891" y="1605"/>
                  </a:cubicBezTo>
                  <a:cubicBezTo>
                    <a:pt x="844" y="1605"/>
                    <a:pt x="844" y="1605"/>
                    <a:pt x="844" y="1605"/>
                  </a:cubicBezTo>
                  <a:cubicBezTo>
                    <a:pt x="844" y="1600"/>
                    <a:pt x="844" y="1600"/>
                    <a:pt x="844" y="1600"/>
                  </a:cubicBezTo>
                  <a:close/>
                  <a:moveTo>
                    <a:pt x="844" y="1612"/>
                  </a:moveTo>
                  <a:cubicBezTo>
                    <a:pt x="891" y="1612"/>
                    <a:pt x="891" y="1612"/>
                    <a:pt x="891" y="1612"/>
                  </a:cubicBezTo>
                  <a:cubicBezTo>
                    <a:pt x="891" y="1617"/>
                    <a:pt x="891" y="1617"/>
                    <a:pt x="891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44" y="1612"/>
                    <a:pt x="844" y="1612"/>
                    <a:pt x="844" y="1612"/>
                  </a:cubicBezTo>
                  <a:close/>
                  <a:moveTo>
                    <a:pt x="844" y="1626"/>
                  </a:moveTo>
                  <a:cubicBezTo>
                    <a:pt x="891" y="1626"/>
                    <a:pt x="891" y="1626"/>
                    <a:pt x="891" y="1626"/>
                  </a:cubicBezTo>
                  <a:cubicBezTo>
                    <a:pt x="891" y="1631"/>
                    <a:pt x="891" y="1631"/>
                    <a:pt x="891" y="1631"/>
                  </a:cubicBezTo>
                  <a:cubicBezTo>
                    <a:pt x="844" y="1631"/>
                    <a:pt x="844" y="1631"/>
                    <a:pt x="844" y="1631"/>
                  </a:cubicBezTo>
                  <a:cubicBezTo>
                    <a:pt x="844" y="1626"/>
                    <a:pt x="844" y="1626"/>
                    <a:pt x="844" y="1626"/>
                  </a:cubicBezTo>
                  <a:close/>
                  <a:moveTo>
                    <a:pt x="844" y="1637"/>
                  </a:moveTo>
                  <a:cubicBezTo>
                    <a:pt x="891" y="1637"/>
                    <a:pt x="891" y="1637"/>
                    <a:pt x="891" y="1637"/>
                  </a:cubicBezTo>
                  <a:cubicBezTo>
                    <a:pt x="891" y="1643"/>
                    <a:pt x="891" y="1643"/>
                    <a:pt x="891" y="1643"/>
                  </a:cubicBezTo>
                  <a:cubicBezTo>
                    <a:pt x="844" y="1643"/>
                    <a:pt x="844" y="1643"/>
                    <a:pt x="844" y="1643"/>
                  </a:cubicBezTo>
                  <a:cubicBezTo>
                    <a:pt x="844" y="1637"/>
                    <a:pt x="844" y="1637"/>
                    <a:pt x="844" y="1637"/>
                  </a:cubicBezTo>
                  <a:close/>
                  <a:moveTo>
                    <a:pt x="844" y="1649"/>
                  </a:moveTo>
                  <a:cubicBezTo>
                    <a:pt x="891" y="1649"/>
                    <a:pt x="891" y="1649"/>
                    <a:pt x="891" y="1649"/>
                  </a:cubicBezTo>
                  <a:cubicBezTo>
                    <a:pt x="891" y="1655"/>
                    <a:pt x="891" y="1655"/>
                    <a:pt x="891" y="1655"/>
                  </a:cubicBezTo>
                  <a:cubicBezTo>
                    <a:pt x="844" y="1655"/>
                    <a:pt x="844" y="1655"/>
                    <a:pt x="844" y="1655"/>
                  </a:cubicBezTo>
                  <a:cubicBezTo>
                    <a:pt x="844" y="1649"/>
                    <a:pt x="844" y="1649"/>
                    <a:pt x="844" y="1649"/>
                  </a:cubicBezTo>
                  <a:close/>
                  <a:moveTo>
                    <a:pt x="844" y="1661"/>
                  </a:moveTo>
                  <a:cubicBezTo>
                    <a:pt x="891" y="1661"/>
                    <a:pt x="891" y="1661"/>
                    <a:pt x="891" y="1661"/>
                  </a:cubicBezTo>
                  <a:cubicBezTo>
                    <a:pt x="891" y="1667"/>
                    <a:pt x="891" y="1667"/>
                    <a:pt x="891" y="1667"/>
                  </a:cubicBezTo>
                  <a:cubicBezTo>
                    <a:pt x="844" y="1667"/>
                    <a:pt x="844" y="1667"/>
                    <a:pt x="844" y="1667"/>
                  </a:cubicBezTo>
                  <a:cubicBezTo>
                    <a:pt x="844" y="1661"/>
                    <a:pt x="844" y="1661"/>
                    <a:pt x="844" y="1661"/>
                  </a:cubicBezTo>
                  <a:close/>
                  <a:moveTo>
                    <a:pt x="844" y="1673"/>
                  </a:moveTo>
                  <a:cubicBezTo>
                    <a:pt x="891" y="1673"/>
                    <a:pt x="891" y="1673"/>
                    <a:pt x="891" y="1673"/>
                  </a:cubicBezTo>
                  <a:cubicBezTo>
                    <a:pt x="891" y="1679"/>
                    <a:pt x="891" y="1679"/>
                    <a:pt x="891" y="1679"/>
                  </a:cubicBezTo>
                  <a:cubicBezTo>
                    <a:pt x="844" y="1679"/>
                    <a:pt x="844" y="1679"/>
                    <a:pt x="844" y="1679"/>
                  </a:cubicBezTo>
                  <a:cubicBezTo>
                    <a:pt x="844" y="1673"/>
                    <a:pt x="844" y="1673"/>
                    <a:pt x="844" y="1673"/>
                  </a:cubicBezTo>
                  <a:close/>
                  <a:moveTo>
                    <a:pt x="844" y="1685"/>
                  </a:moveTo>
                  <a:cubicBezTo>
                    <a:pt x="891" y="1685"/>
                    <a:pt x="891" y="1685"/>
                    <a:pt x="891" y="1685"/>
                  </a:cubicBezTo>
                  <a:cubicBezTo>
                    <a:pt x="891" y="1690"/>
                    <a:pt x="891" y="1690"/>
                    <a:pt x="891" y="1690"/>
                  </a:cubicBezTo>
                  <a:cubicBezTo>
                    <a:pt x="844" y="1690"/>
                    <a:pt x="844" y="1690"/>
                    <a:pt x="844" y="1690"/>
                  </a:cubicBezTo>
                  <a:cubicBezTo>
                    <a:pt x="844" y="1685"/>
                    <a:pt x="844" y="1685"/>
                    <a:pt x="844" y="1685"/>
                  </a:cubicBezTo>
                  <a:close/>
                  <a:moveTo>
                    <a:pt x="844" y="1697"/>
                  </a:moveTo>
                  <a:cubicBezTo>
                    <a:pt x="891" y="1697"/>
                    <a:pt x="891" y="1697"/>
                    <a:pt x="891" y="1697"/>
                  </a:cubicBezTo>
                  <a:cubicBezTo>
                    <a:pt x="891" y="1702"/>
                    <a:pt x="891" y="1702"/>
                    <a:pt x="891" y="1702"/>
                  </a:cubicBezTo>
                  <a:cubicBezTo>
                    <a:pt x="844" y="1702"/>
                    <a:pt x="844" y="1702"/>
                    <a:pt x="844" y="1702"/>
                  </a:cubicBezTo>
                  <a:cubicBezTo>
                    <a:pt x="844" y="1697"/>
                    <a:pt x="844" y="1697"/>
                    <a:pt x="844" y="1697"/>
                  </a:cubicBezTo>
                  <a:close/>
                  <a:moveTo>
                    <a:pt x="844" y="1709"/>
                  </a:moveTo>
                  <a:cubicBezTo>
                    <a:pt x="891" y="1709"/>
                    <a:pt x="891" y="1709"/>
                    <a:pt x="891" y="1709"/>
                  </a:cubicBezTo>
                  <a:cubicBezTo>
                    <a:pt x="891" y="1714"/>
                    <a:pt x="891" y="1714"/>
                    <a:pt x="891" y="1714"/>
                  </a:cubicBezTo>
                  <a:cubicBezTo>
                    <a:pt x="844" y="1714"/>
                    <a:pt x="844" y="1714"/>
                    <a:pt x="844" y="1714"/>
                  </a:cubicBezTo>
                  <a:cubicBezTo>
                    <a:pt x="844" y="1709"/>
                    <a:pt x="844" y="1709"/>
                    <a:pt x="844" y="1709"/>
                  </a:cubicBezTo>
                  <a:close/>
                  <a:moveTo>
                    <a:pt x="844" y="1721"/>
                  </a:moveTo>
                  <a:cubicBezTo>
                    <a:pt x="891" y="1721"/>
                    <a:pt x="891" y="1721"/>
                    <a:pt x="891" y="1721"/>
                  </a:cubicBezTo>
                  <a:cubicBezTo>
                    <a:pt x="891" y="1726"/>
                    <a:pt x="891" y="1726"/>
                    <a:pt x="891" y="1726"/>
                  </a:cubicBezTo>
                  <a:cubicBezTo>
                    <a:pt x="844" y="1726"/>
                    <a:pt x="844" y="1726"/>
                    <a:pt x="844" y="1726"/>
                  </a:cubicBezTo>
                  <a:cubicBezTo>
                    <a:pt x="844" y="1721"/>
                    <a:pt x="844" y="1721"/>
                    <a:pt x="844" y="1721"/>
                  </a:cubicBezTo>
                  <a:close/>
                  <a:moveTo>
                    <a:pt x="844" y="1733"/>
                  </a:moveTo>
                  <a:cubicBezTo>
                    <a:pt x="891" y="1733"/>
                    <a:pt x="891" y="1733"/>
                    <a:pt x="891" y="1733"/>
                  </a:cubicBezTo>
                  <a:cubicBezTo>
                    <a:pt x="891" y="1738"/>
                    <a:pt x="891" y="1738"/>
                    <a:pt x="891" y="1738"/>
                  </a:cubicBezTo>
                  <a:cubicBezTo>
                    <a:pt x="844" y="1738"/>
                    <a:pt x="844" y="1738"/>
                    <a:pt x="844" y="1738"/>
                  </a:cubicBezTo>
                  <a:cubicBezTo>
                    <a:pt x="844" y="1733"/>
                    <a:pt x="844" y="1733"/>
                    <a:pt x="844" y="1733"/>
                  </a:cubicBezTo>
                  <a:close/>
                  <a:moveTo>
                    <a:pt x="844" y="1745"/>
                  </a:moveTo>
                  <a:cubicBezTo>
                    <a:pt x="891" y="1745"/>
                    <a:pt x="891" y="1745"/>
                    <a:pt x="891" y="1745"/>
                  </a:cubicBezTo>
                  <a:cubicBezTo>
                    <a:pt x="891" y="1750"/>
                    <a:pt x="891" y="1750"/>
                    <a:pt x="891" y="1750"/>
                  </a:cubicBezTo>
                  <a:cubicBezTo>
                    <a:pt x="844" y="1750"/>
                    <a:pt x="844" y="1750"/>
                    <a:pt x="844" y="1750"/>
                  </a:cubicBezTo>
                  <a:cubicBezTo>
                    <a:pt x="844" y="1745"/>
                    <a:pt x="844" y="1745"/>
                    <a:pt x="844" y="1745"/>
                  </a:cubicBezTo>
                  <a:close/>
                  <a:moveTo>
                    <a:pt x="1140" y="1387"/>
                  </a:moveTo>
                  <a:cubicBezTo>
                    <a:pt x="1140" y="1392"/>
                    <a:pt x="1140" y="1392"/>
                    <a:pt x="1140" y="1392"/>
                  </a:cubicBezTo>
                  <a:cubicBezTo>
                    <a:pt x="958" y="1392"/>
                    <a:pt x="958" y="1392"/>
                    <a:pt x="958" y="1392"/>
                  </a:cubicBezTo>
                  <a:cubicBezTo>
                    <a:pt x="958" y="1387"/>
                    <a:pt x="958" y="1387"/>
                    <a:pt x="958" y="1387"/>
                  </a:cubicBezTo>
                  <a:cubicBezTo>
                    <a:pt x="1140" y="1387"/>
                    <a:pt x="1140" y="1387"/>
                    <a:pt x="1140" y="1387"/>
                  </a:cubicBezTo>
                  <a:close/>
                  <a:moveTo>
                    <a:pt x="951" y="1411"/>
                  </a:moveTo>
                  <a:cubicBezTo>
                    <a:pt x="1006" y="1461"/>
                    <a:pt x="1006" y="1461"/>
                    <a:pt x="1006" y="1461"/>
                  </a:cubicBezTo>
                  <a:cubicBezTo>
                    <a:pt x="901" y="1461"/>
                    <a:pt x="901" y="1461"/>
                    <a:pt x="901" y="1461"/>
                  </a:cubicBezTo>
                  <a:cubicBezTo>
                    <a:pt x="951" y="1411"/>
                    <a:pt x="951" y="1411"/>
                    <a:pt x="951" y="1411"/>
                  </a:cubicBezTo>
                  <a:close/>
                  <a:moveTo>
                    <a:pt x="1221" y="1387"/>
                  </a:moveTo>
                  <a:cubicBezTo>
                    <a:pt x="1403" y="1387"/>
                    <a:pt x="1403" y="1387"/>
                    <a:pt x="1403" y="1387"/>
                  </a:cubicBezTo>
                  <a:cubicBezTo>
                    <a:pt x="1403" y="1392"/>
                    <a:pt x="1403" y="1392"/>
                    <a:pt x="1403" y="1392"/>
                  </a:cubicBezTo>
                  <a:cubicBezTo>
                    <a:pt x="1221" y="1392"/>
                    <a:pt x="1221" y="1392"/>
                    <a:pt x="1221" y="1392"/>
                  </a:cubicBezTo>
                  <a:cubicBezTo>
                    <a:pt x="1221" y="1387"/>
                    <a:pt x="1221" y="1387"/>
                    <a:pt x="1221" y="1387"/>
                  </a:cubicBezTo>
                  <a:close/>
                  <a:moveTo>
                    <a:pt x="1409" y="1411"/>
                  </a:moveTo>
                  <a:cubicBezTo>
                    <a:pt x="1459" y="1461"/>
                    <a:pt x="1459" y="1461"/>
                    <a:pt x="1459" y="1461"/>
                  </a:cubicBezTo>
                  <a:cubicBezTo>
                    <a:pt x="1355" y="1461"/>
                    <a:pt x="1355" y="1461"/>
                    <a:pt x="1355" y="1461"/>
                  </a:cubicBezTo>
                  <a:lnTo>
                    <a:pt x="1409" y="14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/>
            </a:p>
          </p:txBody>
        </p:sp>
      </p:grpSp>
      <p:cxnSp>
        <p:nvCxnSpPr>
          <p:cNvPr id="2" name="直接连接符 1">
            <a:extLst>
              <a:ext uri="{FF2B5EF4-FFF2-40B4-BE49-F238E27FC236}">
                <a16:creationId xmlns:a16="http://schemas.microsoft.com/office/drawing/2014/main" id="{326684FE-0CA8-4623-AFCF-4ADE8593573D}"/>
              </a:ext>
            </a:extLst>
          </p:cNvPr>
          <p:cNvCxnSpPr>
            <a:cxnSpLocks/>
          </p:cNvCxnSpPr>
          <p:nvPr userDrawn="1"/>
        </p:nvCxnSpPr>
        <p:spPr>
          <a:xfrm>
            <a:off x="11426703" y="2369319"/>
            <a:ext cx="0" cy="294270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52FCA3E7-4474-4217-BBDD-637DC0A6EB8E}"/>
              </a:ext>
            </a:extLst>
          </p:cNvPr>
          <p:cNvGrpSpPr/>
          <p:nvPr userDrawn="1"/>
        </p:nvGrpSpPr>
        <p:grpSpPr>
          <a:xfrm>
            <a:off x="0" y="1779191"/>
            <a:ext cx="12192000" cy="3498243"/>
            <a:chOff x="0" y="1776830"/>
            <a:chExt cx="12192000" cy="3938169"/>
          </a:xfrm>
        </p:grpSpPr>
        <p:pic>
          <p:nvPicPr>
            <p:cNvPr id="151" name="图片 150">
              <a:extLst>
                <a:ext uri="{FF2B5EF4-FFF2-40B4-BE49-F238E27FC236}">
                  <a16:creationId xmlns:a16="http://schemas.microsoft.com/office/drawing/2014/main" id="{7D27A361-8D3E-4B85-AA8F-7A9F62CA64BA}"/>
                </a:ext>
              </a:extLst>
            </p:cNvPr>
            <p:cNvPicPr>
              <a:picLocks noChangeArrowheads="1"/>
            </p:cNvPicPr>
            <p:nvPr userDrawn="1"/>
          </p:nvPicPr>
          <p:blipFill rotWithShape="1">
            <a:blip r:embed="rId2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097" b="27838"/>
            <a:stretch/>
          </p:blipFill>
          <p:spPr bwMode="auto">
            <a:xfrm>
              <a:off x="0" y="1776830"/>
              <a:ext cx="12192000" cy="39381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" name="矩形 3">
              <a:extLst>
                <a:ext uri="{FF2B5EF4-FFF2-40B4-BE49-F238E27FC236}">
                  <a16:creationId xmlns:a16="http://schemas.microsoft.com/office/drawing/2014/main" id="{91F46942-2A76-4F4E-BE08-5594B4C4F518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1776832"/>
              <a:ext cx="12192000" cy="3938167"/>
            </a:xfrm>
            <a:prstGeom prst="rect">
              <a:avLst/>
            </a:prstGeom>
            <a:gradFill>
              <a:gsLst>
                <a:gs pos="41000">
                  <a:schemeClr val="accent2"/>
                </a:gs>
                <a:gs pos="100000">
                  <a:schemeClr val="accent2">
                    <a:alpha val="85000"/>
                  </a:schemeClr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425133" y="2672181"/>
            <a:ext cx="5419185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426249" y="3567531"/>
            <a:ext cx="5419185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" name="图片 152">
            <a:extLst>
              <a:ext uri="{FF2B5EF4-FFF2-40B4-BE49-F238E27FC236}">
                <a16:creationId xmlns:a16="http://schemas.microsoft.com/office/drawing/2014/main" id="{7A278132-2F45-4423-8CB8-D58BC78C3CCE}"/>
              </a:ext>
            </a:extLst>
          </p:cNvPr>
          <p:cNvPicPr>
            <a:picLocks noChangeArrowheads="1"/>
          </p:cNvPicPr>
          <p:nvPr userDrawn="1"/>
        </p:nvPicPr>
        <p:blipFill rotWithShape="1"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2560" b="37116"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>
            <a:extLst>
              <a:ext uri="{FF2B5EF4-FFF2-40B4-BE49-F238E27FC236}">
                <a16:creationId xmlns:a16="http://schemas.microsoft.com/office/drawing/2014/main" id="{0BDB29EF-FF15-4036-95DA-55EB2824D564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36000">
                <a:schemeClr val="bg1"/>
              </a:gs>
              <a:gs pos="100000">
                <a:schemeClr val="bg1">
                  <a:alpha val="84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673100" y="1617663"/>
            <a:ext cx="10845798" cy="1621509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673100" y="3923899"/>
            <a:ext cx="10845798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73102" y="3627628"/>
            <a:ext cx="10845798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grpSp>
        <p:nvGrpSpPr>
          <p:cNvPr id="11" name="组合 10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F4A64A3-AC49-4A11-916E-8F63E0A6EF77}"/>
              </a:ext>
            </a:extLst>
          </p:cNvPr>
          <p:cNvGrpSpPr>
            <a:grpSpLocks noChangeAspect="1"/>
          </p:cNvGrpSpPr>
          <p:nvPr userDrawn="1">
            <p:custDataLst>
              <p:tags r:id="rId8"/>
            </p:custDataLst>
          </p:nvPr>
        </p:nvGrpSpPr>
        <p:grpSpPr>
          <a:xfrm>
            <a:off x="9764486" y="513319"/>
            <a:ext cx="1756001" cy="418543"/>
            <a:chOff x="2246313" y="2511425"/>
            <a:chExt cx="7699375" cy="1835150"/>
          </a:xfrm>
          <a:solidFill>
            <a:schemeClr val="accent2"/>
          </a:solidFill>
        </p:grpSpPr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7A930D9-92DA-4875-876A-056A4177F4E4}"/>
                </a:ext>
              </a:extLst>
            </p:cNvPr>
            <p:cNvSpPr/>
            <p:nvPr/>
          </p:nvSpPr>
          <p:spPr bwMode="auto">
            <a:xfrm>
              <a:off x="5649913" y="3900488"/>
              <a:ext cx="219075" cy="223838"/>
            </a:xfrm>
            <a:custGeom>
              <a:avLst/>
              <a:gdLst>
                <a:gd name="T0" fmla="*/ 143 w 283"/>
                <a:gd name="T1" fmla="*/ 170 h 288"/>
                <a:gd name="T2" fmla="*/ 209 w 283"/>
                <a:gd name="T3" fmla="*/ 170 h 288"/>
                <a:gd name="T4" fmla="*/ 209 w 283"/>
                <a:gd name="T5" fmla="*/ 216 h 288"/>
                <a:gd name="T6" fmla="*/ 98 w 283"/>
                <a:gd name="T7" fmla="*/ 216 h 288"/>
                <a:gd name="T8" fmla="*/ 69 w 283"/>
                <a:gd name="T9" fmla="*/ 185 h 288"/>
                <a:gd name="T10" fmla="*/ 69 w 283"/>
                <a:gd name="T11" fmla="*/ 96 h 288"/>
                <a:gd name="T12" fmla="*/ 98 w 283"/>
                <a:gd name="T13" fmla="*/ 67 h 288"/>
                <a:gd name="T14" fmla="*/ 269 w 283"/>
                <a:gd name="T15" fmla="*/ 67 h 288"/>
                <a:gd name="T16" fmla="*/ 269 w 283"/>
                <a:gd name="T17" fmla="*/ 0 h 288"/>
                <a:gd name="T18" fmla="*/ 76 w 283"/>
                <a:gd name="T19" fmla="*/ 0 h 288"/>
                <a:gd name="T20" fmla="*/ 0 w 283"/>
                <a:gd name="T21" fmla="*/ 89 h 288"/>
                <a:gd name="T22" fmla="*/ 0 w 283"/>
                <a:gd name="T23" fmla="*/ 177 h 288"/>
                <a:gd name="T24" fmla="*/ 106 w 283"/>
                <a:gd name="T25" fmla="*/ 288 h 288"/>
                <a:gd name="T26" fmla="*/ 283 w 283"/>
                <a:gd name="T27" fmla="*/ 288 h 288"/>
                <a:gd name="T28" fmla="*/ 283 w 283"/>
                <a:gd name="T29" fmla="*/ 115 h 288"/>
                <a:gd name="T30" fmla="*/ 143 w 283"/>
                <a:gd name="T31" fmla="*/ 115 h 288"/>
                <a:gd name="T32" fmla="*/ 143 w 283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3" h="288">
                  <a:moveTo>
                    <a:pt x="143" y="170"/>
                  </a:moveTo>
                  <a:cubicBezTo>
                    <a:pt x="209" y="170"/>
                    <a:pt x="209" y="170"/>
                    <a:pt x="209" y="170"/>
                  </a:cubicBezTo>
                  <a:cubicBezTo>
                    <a:pt x="209" y="216"/>
                    <a:pt x="209" y="216"/>
                    <a:pt x="209" y="216"/>
                  </a:cubicBezTo>
                  <a:cubicBezTo>
                    <a:pt x="98" y="216"/>
                    <a:pt x="98" y="216"/>
                    <a:pt x="98" y="216"/>
                  </a:cubicBezTo>
                  <a:cubicBezTo>
                    <a:pt x="81" y="216"/>
                    <a:pt x="69" y="202"/>
                    <a:pt x="69" y="185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79"/>
                    <a:pt x="81" y="67"/>
                    <a:pt x="98" y="67"/>
                  </a:cubicBezTo>
                  <a:cubicBezTo>
                    <a:pt x="269" y="67"/>
                    <a:pt x="269" y="67"/>
                    <a:pt x="269" y="6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5" y="0"/>
                    <a:pt x="0" y="49"/>
                    <a:pt x="0" y="89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8"/>
                    <a:pt x="35" y="288"/>
                    <a:pt x="106" y="288"/>
                  </a:cubicBezTo>
                  <a:cubicBezTo>
                    <a:pt x="283" y="288"/>
                    <a:pt x="283" y="288"/>
                    <a:pt x="283" y="288"/>
                  </a:cubicBezTo>
                  <a:cubicBezTo>
                    <a:pt x="283" y="115"/>
                    <a:pt x="283" y="115"/>
                    <a:pt x="283" y="115"/>
                  </a:cubicBezTo>
                  <a:cubicBezTo>
                    <a:pt x="143" y="115"/>
                    <a:pt x="143" y="115"/>
                    <a:pt x="143" y="115"/>
                  </a:cubicBezTo>
                  <a:lnTo>
                    <a:pt x="14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0615D034-0B65-4F0F-AB7F-9CC0603536C1}"/>
                </a:ext>
              </a:extLst>
            </p:cNvPr>
            <p:cNvSpPr/>
            <p:nvPr/>
          </p:nvSpPr>
          <p:spPr bwMode="auto">
            <a:xfrm>
              <a:off x="6121401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0E4DB13E-3007-494C-B91E-3A739E00B95B}"/>
                </a:ext>
              </a:extLst>
            </p:cNvPr>
            <p:cNvSpPr/>
            <p:nvPr/>
          </p:nvSpPr>
          <p:spPr bwMode="auto">
            <a:xfrm>
              <a:off x="9520238" y="3900488"/>
              <a:ext cx="195263" cy="223838"/>
            </a:xfrm>
            <a:custGeom>
              <a:avLst/>
              <a:gdLst>
                <a:gd name="T0" fmla="*/ 0 w 123"/>
                <a:gd name="T1" fmla="*/ 37 h 141"/>
                <a:gd name="T2" fmla="*/ 43 w 123"/>
                <a:gd name="T3" fmla="*/ 37 h 141"/>
                <a:gd name="T4" fmla="*/ 43 w 123"/>
                <a:gd name="T5" fmla="*/ 141 h 141"/>
                <a:gd name="T6" fmla="*/ 79 w 123"/>
                <a:gd name="T7" fmla="*/ 141 h 141"/>
                <a:gd name="T8" fmla="*/ 79 w 123"/>
                <a:gd name="T9" fmla="*/ 37 h 141"/>
                <a:gd name="T10" fmla="*/ 123 w 123"/>
                <a:gd name="T11" fmla="*/ 37 h 141"/>
                <a:gd name="T12" fmla="*/ 123 w 123"/>
                <a:gd name="T13" fmla="*/ 0 h 141"/>
                <a:gd name="T14" fmla="*/ 0 w 123"/>
                <a:gd name="T15" fmla="*/ 0 h 141"/>
                <a:gd name="T16" fmla="*/ 0 w 123"/>
                <a:gd name="T17" fmla="*/ 3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141">
                  <a:moveTo>
                    <a:pt x="0" y="37"/>
                  </a:moveTo>
                  <a:lnTo>
                    <a:pt x="43" y="37"/>
                  </a:lnTo>
                  <a:lnTo>
                    <a:pt x="43" y="141"/>
                  </a:lnTo>
                  <a:lnTo>
                    <a:pt x="79" y="141"/>
                  </a:lnTo>
                  <a:lnTo>
                    <a:pt x="79" y="37"/>
                  </a:lnTo>
                  <a:lnTo>
                    <a:pt x="123" y="37"/>
                  </a:lnTo>
                  <a:lnTo>
                    <a:pt x="123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E0F2692E-A2E2-4D03-8877-4B8CA31D981B}"/>
                </a:ext>
              </a:extLst>
            </p:cNvPr>
            <p:cNvSpPr/>
            <p:nvPr/>
          </p:nvSpPr>
          <p:spPr bwMode="auto">
            <a:xfrm>
              <a:off x="8416926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371132BB-2A36-4848-A8A7-D9F10FD3ABC9}"/>
                </a:ext>
              </a:extLst>
            </p:cNvPr>
            <p:cNvSpPr/>
            <p:nvPr/>
          </p:nvSpPr>
          <p:spPr bwMode="auto">
            <a:xfrm>
              <a:off x="5880101" y="3900488"/>
              <a:ext cx="225425" cy="223838"/>
            </a:xfrm>
            <a:custGeom>
              <a:avLst/>
              <a:gdLst>
                <a:gd name="T0" fmla="*/ 281 w 289"/>
                <a:gd name="T1" fmla="*/ 0 h 288"/>
                <a:gd name="T2" fmla="*/ 197 w 289"/>
                <a:gd name="T3" fmla="*/ 0 h 288"/>
                <a:gd name="T4" fmla="*/ 145 w 289"/>
                <a:gd name="T5" fmla="*/ 85 h 288"/>
                <a:gd name="T6" fmla="*/ 91 w 289"/>
                <a:gd name="T7" fmla="*/ 0 h 288"/>
                <a:gd name="T8" fmla="*/ 1 w 289"/>
                <a:gd name="T9" fmla="*/ 0 h 288"/>
                <a:gd name="T10" fmla="*/ 97 w 289"/>
                <a:gd name="T11" fmla="*/ 140 h 288"/>
                <a:gd name="T12" fmla="*/ 0 w 289"/>
                <a:gd name="T13" fmla="*/ 288 h 288"/>
                <a:gd name="T14" fmla="*/ 89 w 289"/>
                <a:gd name="T15" fmla="*/ 288 h 288"/>
                <a:gd name="T16" fmla="*/ 137 w 289"/>
                <a:gd name="T17" fmla="*/ 209 h 288"/>
                <a:gd name="T18" fmla="*/ 148 w 289"/>
                <a:gd name="T19" fmla="*/ 207 h 288"/>
                <a:gd name="T20" fmla="*/ 193 w 289"/>
                <a:gd name="T21" fmla="*/ 288 h 288"/>
                <a:gd name="T22" fmla="*/ 289 w 289"/>
                <a:gd name="T23" fmla="*/ 288 h 288"/>
                <a:gd name="T24" fmla="*/ 192 w 289"/>
                <a:gd name="T25" fmla="*/ 148 h 288"/>
                <a:gd name="T26" fmla="*/ 281 w 289"/>
                <a:gd name="T2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288">
                  <a:moveTo>
                    <a:pt x="281" y="0"/>
                  </a:moveTo>
                  <a:cubicBezTo>
                    <a:pt x="197" y="0"/>
                    <a:pt x="197" y="0"/>
                    <a:pt x="197" y="0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89" y="288"/>
                    <a:pt x="89" y="288"/>
                    <a:pt x="89" y="288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48" y="207"/>
                    <a:pt x="148" y="207"/>
                    <a:pt x="148" y="207"/>
                  </a:cubicBezTo>
                  <a:cubicBezTo>
                    <a:pt x="193" y="288"/>
                    <a:pt x="193" y="288"/>
                    <a:pt x="193" y="288"/>
                  </a:cubicBezTo>
                  <a:cubicBezTo>
                    <a:pt x="289" y="288"/>
                    <a:pt x="289" y="288"/>
                    <a:pt x="289" y="288"/>
                  </a:cubicBezTo>
                  <a:cubicBezTo>
                    <a:pt x="280" y="275"/>
                    <a:pt x="192" y="150"/>
                    <a:pt x="192" y="148"/>
                  </a:cubicBezTo>
                  <a:cubicBezTo>
                    <a:pt x="192" y="115"/>
                    <a:pt x="270" y="42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8D7666E6-6F7A-4108-B1A9-40102DBED5EF}"/>
                </a:ext>
              </a:extLst>
            </p:cNvPr>
            <p:cNvSpPr/>
            <p:nvPr/>
          </p:nvSpPr>
          <p:spPr bwMode="auto">
            <a:xfrm>
              <a:off x="6810376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63 w 289"/>
                <a:gd name="T11" fmla="*/ 288 h 288"/>
                <a:gd name="T12" fmla="*/ 259 w 289"/>
                <a:gd name="T13" fmla="*/ 288 h 288"/>
                <a:gd name="T14" fmla="*/ 178 w 289"/>
                <a:gd name="T15" fmla="*/ 221 h 288"/>
                <a:gd name="T16" fmla="*/ 289 w 289"/>
                <a:gd name="T17" fmla="*/ 110 h 288"/>
                <a:gd name="T18" fmla="*/ 289 w 289"/>
                <a:gd name="T19" fmla="*/ 103 h 288"/>
                <a:gd name="T20" fmla="*/ 178 w 289"/>
                <a:gd name="T21" fmla="*/ 0 h 288"/>
                <a:gd name="T22" fmla="*/ 215 w 289"/>
                <a:gd name="T23" fmla="*/ 110 h 288"/>
                <a:gd name="T24" fmla="*/ 207 w 289"/>
                <a:gd name="T25" fmla="*/ 147 h 288"/>
                <a:gd name="T26" fmla="*/ 67 w 289"/>
                <a:gd name="T27" fmla="*/ 147 h 288"/>
                <a:gd name="T28" fmla="*/ 67 w 289"/>
                <a:gd name="T29" fmla="*/ 73 h 288"/>
                <a:gd name="T30" fmla="*/ 193 w 289"/>
                <a:gd name="T31" fmla="*/ 73 h 288"/>
                <a:gd name="T32" fmla="*/ 215 w 289"/>
                <a:gd name="T33" fmla="*/ 95 h 288"/>
                <a:gd name="T34" fmla="*/ 215 w 289"/>
                <a:gd name="T35" fmla="*/ 1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63" y="288"/>
                    <a:pt x="163" y="288"/>
                    <a:pt x="163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47" y="221"/>
                    <a:pt x="289" y="178"/>
                    <a:pt x="289" y="110"/>
                  </a:cubicBezTo>
                  <a:cubicBezTo>
                    <a:pt x="289" y="103"/>
                    <a:pt x="289" y="103"/>
                    <a:pt x="289" y="103"/>
                  </a:cubicBezTo>
                  <a:cubicBezTo>
                    <a:pt x="289" y="32"/>
                    <a:pt x="250" y="0"/>
                    <a:pt x="178" y="0"/>
                  </a:cubicBezTo>
                  <a:close/>
                  <a:moveTo>
                    <a:pt x="215" y="110"/>
                  </a:moveTo>
                  <a:cubicBezTo>
                    <a:pt x="215" y="130"/>
                    <a:pt x="211" y="131"/>
                    <a:pt x="207" y="147"/>
                  </a:cubicBezTo>
                  <a:cubicBezTo>
                    <a:pt x="67" y="147"/>
                    <a:pt x="67" y="147"/>
                    <a:pt x="67" y="147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210" y="73"/>
                    <a:pt x="215" y="78"/>
                    <a:pt x="215" y="95"/>
                  </a:cubicBezTo>
                  <a:lnTo>
                    <a:pt x="2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B85A65E4-1540-4FC1-9B99-2A24406DBBCE}"/>
                </a:ext>
              </a:extLst>
            </p:cNvPr>
            <p:cNvSpPr/>
            <p:nvPr/>
          </p:nvSpPr>
          <p:spPr bwMode="auto">
            <a:xfrm>
              <a:off x="4887913" y="3900488"/>
              <a:ext cx="223838" cy="223838"/>
            </a:xfrm>
            <a:custGeom>
              <a:avLst/>
              <a:gdLst>
                <a:gd name="T0" fmla="*/ 214 w 288"/>
                <a:gd name="T1" fmla="*/ 192 h 288"/>
                <a:gd name="T2" fmla="*/ 192 w 288"/>
                <a:gd name="T3" fmla="*/ 214 h 288"/>
                <a:gd name="T4" fmla="*/ 110 w 288"/>
                <a:gd name="T5" fmla="*/ 214 h 288"/>
                <a:gd name="T6" fmla="*/ 73 w 288"/>
                <a:gd name="T7" fmla="*/ 207 h 288"/>
                <a:gd name="T8" fmla="*/ 73 w 288"/>
                <a:gd name="T9" fmla="*/ 0 h 288"/>
                <a:gd name="T10" fmla="*/ 0 w 288"/>
                <a:gd name="T11" fmla="*/ 0 h 288"/>
                <a:gd name="T12" fmla="*/ 0 w 288"/>
                <a:gd name="T13" fmla="*/ 185 h 288"/>
                <a:gd name="T14" fmla="*/ 81 w 288"/>
                <a:gd name="T15" fmla="*/ 288 h 288"/>
                <a:gd name="T16" fmla="*/ 199 w 288"/>
                <a:gd name="T17" fmla="*/ 288 h 288"/>
                <a:gd name="T18" fmla="*/ 288 w 288"/>
                <a:gd name="T19" fmla="*/ 192 h 288"/>
                <a:gd name="T20" fmla="*/ 288 w 288"/>
                <a:gd name="T21" fmla="*/ 0 h 288"/>
                <a:gd name="T22" fmla="*/ 214 w 288"/>
                <a:gd name="T23" fmla="*/ 0 h 288"/>
                <a:gd name="T24" fmla="*/ 214 w 288"/>
                <a:gd name="T25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14" y="192"/>
                  </a:moveTo>
                  <a:cubicBezTo>
                    <a:pt x="214" y="209"/>
                    <a:pt x="209" y="214"/>
                    <a:pt x="192" y="214"/>
                  </a:cubicBezTo>
                  <a:cubicBezTo>
                    <a:pt x="110" y="214"/>
                    <a:pt x="110" y="214"/>
                    <a:pt x="110" y="214"/>
                  </a:cubicBezTo>
                  <a:cubicBezTo>
                    <a:pt x="90" y="214"/>
                    <a:pt x="90" y="211"/>
                    <a:pt x="73" y="20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235"/>
                    <a:pt x="42" y="288"/>
                    <a:pt x="81" y="288"/>
                  </a:cubicBezTo>
                  <a:cubicBezTo>
                    <a:pt x="199" y="288"/>
                    <a:pt x="199" y="288"/>
                    <a:pt x="199" y="288"/>
                  </a:cubicBezTo>
                  <a:cubicBezTo>
                    <a:pt x="249" y="288"/>
                    <a:pt x="288" y="245"/>
                    <a:pt x="288" y="19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21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E463491E-9979-4C06-A080-B92692C265D6}"/>
                </a:ext>
              </a:extLst>
            </p:cNvPr>
            <p:cNvSpPr/>
            <p:nvPr/>
          </p:nvSpPr>
          <p:spPr bwMode="auto">
            <a:xfrm>
              <a:off x="8951913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70 w 289"/>
                <a:gd name="T11" fmla="*/ 288 h 288"/>
                <a:gd name="T12" fmla="*/ 267 w 289"/>
                <a:gd name="T13" fmla="*/ 288 h 288"/>
                <a:gd name="T14" fmla="*/ 178 w 289"/>
                <a:gd name="T15" fmla="*/ 214 h 288"/>
                <a:gd name="T16" fmla="*/ 289 w 289"/>
                <a:gd name="T17" fmla="*/ 133 h 288"/>
                <a:gd name="T18" fmla="*/ 289 w 289"/>
                <a:gd name="T19" fmla="*/ 74 h 288"/>
                <a:gd name="T20" fmla="*/ 178 w 289"/>
                <a:gd name="T21" fmla="*/ 0 h 288"/>
                <a:gd name="T22" fmla="*/ 222 w 289"/>
                <a:gd name="T23" fmla="*/ 111 h 288"/>
                <a:gd name="T24" fmla="*/ 193 w 289"/>
                <a:gd name="T25" fmla="*/ 140 h 288"/>
                <a:gd name="T26" fmla="*/ 74 w 289"/>
                <a:gd name="T27" fmla="*/ 140 h 288"/>
                <a:gd name="T28" fmla="*/ 74 w 289"/>
                <a:gd name="T29" fmla="*/ 66 h 288"/>
                <a:gd name="T30" fmla="*/ 163 w 289"/>
                <a:gd name="T31" fmla="*/ 66 h 288"/>
                <a:gd name="T32" fmla="*/ 222 w 289"/>
                <a:gd name="T33" fmla="*/ 96 h 288"/>
                <a:gd name="T34" fmla="*/ 222 w 289"/>
                <a:gd name="T35" fmla="*/ 11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267" y="288"/>
                    <a:pt x="267" y="288"/>
                    <a:pt x="267" y="288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239" y="214"/>
                    <a:pt x="289" y="190"/>
                    <a:pt x="289" y="133"/>
                  </a:cubicBezTo>
                  <a:cubicBezTo>
                    <a:pt x="289" y="74"/>
                    <a:pt x="289" y="74"/>
                    <a:pt x="289" y="74"/>
                  </a:cubicBezTo>
                  <a:cubicBezTo>
                    <a:pt x="289" y="17"/>
                    <a:pt x="236" y="0"/>
                    <a:pt x="178" y="0"/>
                  </a:cubicBezTo>
                  <a:close/>
                  <a:moveTo>
                    <a:pt x="222" y="111"/>
                  </a:moveTo>
                  <a:cubicBezTo>
                    <a:pt x="222" y="128"/>
                    <a:pt x="210" y="140"/>
                    <a:pt x="193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89" y="66"/>
                    <a:pt x="222" y="70"/>
                    <a:pt x="222" y="96"/>
                  </a:cubicBezTo>
                  <a:lnTo>
                    <a:pt x="222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1CF7073C-1C48-4ED5-BFF7-D5C1C0971833}"/>
                </a:ext>
              </a:extLst>
            </p:cNvPr>
            <p:cNvSpPr/>
            <p:nvPr/>
          </p:nvSpPr>
          <p:spPr bwMode="auto">
            <a:xfrm>
              <a:off x="4646613" y="3900488"/>
              <a:ext cx="217488" cy="223838"/>
            </a:xfrm>
            <a:custGeom>
              <a:avLst/>
              <a:gdLst>
                <a:gd name="T0" fmla="*/ 133 w 281"/>
                <a:gd name="T1" fmla="*/ 170 h 288"/>
                <a:gd name="T2" fmla="*/ 207 w 281"/>
                <a:gd name="T3" fmla="*/ 170 h 288"/>
                <a:gd name="T4" fmla="*/ 207 w 281"/>
                <a:gd name="T5" fmla="*/ 214 h 288"/>
                <a:gd name="T6" fmla="*/ 96 w 281"/>
                <a:gd name="T7" fmla="*/ 214 h 288"/>
                <a:gd name="T8" fmla="*/ 66 w 281"/>
                <a:gd name="T9" fmla="*/ 185 h 288"/>
                <a:gd name="T10" fmla="*/ 66 w 281"/>
                <a:gd name="T11" fmla="*/ 96 h 288"/>
                <a:gd name="T12" fmla="*/ 96 w 281"/>
                <a:gd name="T13" fmla="*/ 67 h 288"/>
                <a:gd name="T14" fmla="*/ 259 w 281"/>
                <a:gd name="T15" fmla="*/ 67 h 288"/>
                <a:gd name="T16" fmla="*/ 259 w 281"/>
                <a:gd name="T17" fmla="*/ 0 h 288"/>
                <a:gd name="T18" fmla="*/ 74 w 281"/>
                <a:gd name="T19" fmla="*/ 0 h 288"/>
                <a:gd name="T20" fmla="*/ 0 w 281"/>
                <a:gd name="T21" fmla="*/ 74 h 288"/>
                <a:gd name="T22" fmla="*/ 0 w 281"/>
                <a:gd name="T23" fmla="*/ 192 h 288"/>
                <a:gd name="T24" fmla="*/ 74 w 281"/>
                <a:gd name="T25" fmla="*/ 288 h 288"/>
                <a:gd name="T26" fmla="*/ 281 w 281"/>
                <a:gd name="T27" fmla="*/ 288 h 288"/>
                <a:gd name="T28" fmla="*/ 281 w 281"/>
                <a:gd name="T29" fmla="*/ 111 h 288"/>
                <a:gd name="T30" fmla="*/ 133 w 281"/>
                <a:gd name="T31" fmla="*/ 111 h 288"/>
                <a:gd name="T32" fmla="*/ 133 w 281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" h="288">
                  <a:moveTo>
                    <a:pt x="133" y="170"/>
                  </a:moveTo>
                  <a:cubicBezTo>
                    <a:pt x="207" y="170"/>
                    <a:pt x="207" y="170"/>
                    <a:pt x="207" y="170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66" y="202"/>
                    <a:pt x="66" y="185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79"/>
                    <a:pt x="79" y="67"/>
                    <a:pt x="96" y="67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7" y="0"/>
                    <a:pt x="0" y="37"/>
                    <a:pt x="0" y="7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40"/>
                    <a:pt x="37" y="288"/>
                    <a:pt x="74" y="288"/>
                  </a:cubicBezTo>
                  <a:cubicBezTo>
                    <a:pt x="281" y="288"/>
                    <a:pt x="281" y="288"/>
                    <a:pt x="281" y="288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133" y="111"/>
                    <a:pt x="133" y="111"/>
                    <a:pt x="133" y="111"/>
                  </a:cubicBezTo>
                  <a:lnTo>
                    <a:pt x="13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177FDFE0-25CE-4261-A6F0-C56BC45A9666}"/>
                </a:ext>
              </a:extLst>
            </p:cNvPr>
            <p:cNvSpPr/>
            <p:nvPr/>
          </p:nvSpPr>
          <p:spPr bwMode="auto">
            <a:xfrm>
              <a:off x="8497888" y="3900488"/>
              <a:ext cx="220663" cy="223838"/>
            </a:xfrm>
            <a:custGeom>
              <a:avLst/>
              <a:gdLst>
                <a:gd name="T0" fmla="*/ 70 w 139"/>
                <a:gd name="T1" fmla="*/ 103 h 141"/>
                <a:gd name="T2" fmla="*/ 38 w 139"/>
                <a:gd name="T3" fmla="*/ 0 h 141"/>
                <a:gd name="T4" fmla="*/ 0 w 139"/>
                <a:gd name="T5" fmla="*/ 0 h 141"/>
                <a:gd name="T6" fmla="*/ 49 w 139"/>
                <a:gd name="T7" fmla="*/ 141 h 141"/>
                <a:gd name="T8" fmla="*/ 91 w 139"/>
                <a:gd name="T9" fmla="*/ 141 h 141"/>
                <a:gd name="T10" fmla="*/ 139 w 139"/>
                <a:gd name="T11" fmla="*/ 0 h 141"/>
                <a:gd name="T12" fmla="*/ 101 w 139"/>
                <a:gd name="T13" fmla="*/ 0 h 141"/>
                <a:gd name="T14" fmla="*/ 70 w 139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141">
                  <a:moveTo>
                    <a:pt x="70" y="103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49" y="141"/>
                  </a:lnTo>
                  <a:lnTo>
                    <a:pt x="91" y="141"/>
                  </a:lnTo>
                  <a:lnTo>
                    <a:pt x="139" y="0"/>
                  </a:lnTo>
                  <a:lnTo>
                    <a:pt x="101" y="0"/>
                  </a:lnTo>
                  <a:lnTo>
                    <a:pt x="7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753EAE26-F36E-4185-B619-6E7DA59BBB26}"/>
                </a:ext>
              </a:extLst>
            </p:cNvPr>
            <p:cNvSpPr/>
            <p:nvPr/>
          </p:nvSpPr>
          <p:spPr bwMode="auto">
            <a:xfrm>
              <a:off x="5389563" y="3900488"/>
              <a:ext cx="233363" cy="223838"/>
            </a:xfrm>
            <a:custGeom>
              <a:avLst/>
              <a:gdLst>
                <a:gd name="T0" fmla="*/ 114 w 147"/>
                <a:gd name="T1" fmla="*/ 110 h 141"/>
                <a:gd name="T2" fmla="*/ 51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3 w 147"/>
                <a:gd name="T9" fmla="*/ 141 h 141"/>
                <a:gd name="T10" fmla="*/ 33 w 147"/>
                <a:gd name="T11" fmla="*/ 26 h 141"/>
                <a:gd name="T12" fmla="*/ 97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4 w 147"/>
                <a:gd name="T19" fmla="*/ 0 h 141"/>
                <a:gd name="T20" fmla="*/ 114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FB264765-04AC-4522-8A5D-D2D32C8367A8}"/>
                </a:ext>
              </a:extLst>
            </p:cNvPr>
            <p:cNvSpPr/>
            <p:nvPr/>
          </p:nvSpPr>
          <p:spPr bwMode="auto">
            <a:xfrm>
              <a:off x="6569076" y="3900488"/>
              <a:ext cx="223838" cy="223838"/>
            </a:xfrm>
            <a:custGeom>
              <a:avLst/>
              <a:gdLst>
                <a:gd name="T0" fmla="*/ 214 w 287"/>
                <a:gd name="T1" fmla="*/ 0 h 288"/>
                <a:gd name="T2" fmla="*/ 66 w 287"/>
                <a:gd name="T3" fmla="*/ 0 h 288"/>
                <a:gd name="T4" fmla="*/ 0 w 287"/>
                <a:gd name="T5" fmla="*/ 67 h 288"/>
                <a:gd name="T6" fmla="*/ 0 w 287"/>
                <a:gd name="T7" fmla="*/ 207 h 288"/>
                <a:gd name="T8" fmla="*/ 66 w 287"/>
                <a:gd name="T9" fmla="*/ 288 h 288"/>
                <a:gd name="T10" fmla="*/ 207 w 287"/>
                <a:gd name="T11" fmla="*/ 288 h 288"/>
                <a:gd name="T12" fmla="*/ 287 w 287"/>
                <a:gd name="T13" fmla="*/ 185 h 288"/>
                <a:gd name="T14" fmla="*/ 287 w 287"/>
                <a:gd name="T15" fmla="*/ 81 h 288"/>
                <a:gd name="T16" fmla="*/ 214 w 287"/>
                <a:gd name="T17" fmla="*/ 0 h 288"/>
                <a:gd name="T18" fmla="*/ 214 w 287"/>
                <a:gd name="T19" fmla="*/ 177 h 288"/>
                <a:gd name="T20" fmla="*/ 207 w 287"/>
                <a:gd name="T21" fmla="*/ 214 h 288"/>
                <a:gd name="T22" fmla="*/ 88 w 287"/>
                <a:gd name="T23" fmla="*/ 214 h 288"/>
                <a:gd name="T24" fmla="*/ 66 w 287"/>
                <a:gd name="T25" fmla="*/ 192 h 288"/>
                <a:gd name="T26" fmla="*/ 66 w 287"/>
                <a:gd name="T27" fmla="*/ 81 h 288"/>
                <a:gd name="T28" fmla="*/ 103 w 287"/>
                <a:gd name="T29" fmla="*/ 74 h 288"/>
                <a:gd name="T30" fmla="*/ 192 w 287"/>
                <a:gd name="T31" fmla="*/ 74 h 288"/>
                <a:gd name="T32" fmla="*/ 214 w 287"/>
                <a:gd name="T33" fmla="*/ 96 h 288"/>
                <a:gd name="T34" fmla="*/ 214 w 287"/>
                <a:gd name="T3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7" h="288">
                  <a:moveTo>
                    <a:pt x="214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7" y="0"/>
                    <a:pt x="0" y="44"/>
                    <a:pt x="0" y="6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0"/>
                    <a:pt x="38" y="288"/>
                    <a:pt x="66" y="288"/>
                  </a:cubicBezTo>
                  <a:cubicBezTo>
                    <a:pt x="207" y="288"/>
                    <a:pt x="207" y="288"/>
                    <a:pt x="207" y="288"/>
                  </a:cubicBezTo>
                  <a:cubicBezTo>
                    <a:pt x="254" y="288"/>
                    <a:pt x="287" y="233"/>
                    <a:pt x="287" y="185"/>
                  </a:cubicBezTo>
                  <a:cubicBezTo>
                    <a:pt x="287" y="81"/>
                    <a:pt x="287" y="81"/>
                    <a:pt x="287" y="81"/>
                  </a:cubicBezTo>
                  <a:cubicBezTo>
                    <a:pt x="287" y="55"/>
                    <a:pt x="243" y="0"/>
                    <a:pt x="214" y="0"/>
                  </a:cubicBezTo>
                  <a:close/>
                  <a:moveTo>
                    <a:pt x="214" y="177"/>
                  </a:moveTo>
                  <a:cubicBezTo>
                    <a:pt x="214" y="197"/>
                    <a:pt x="211" y="198"/>
                    <a:pt x="207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71" y="214"/>
                    <a:pt x="66" y="209"/>
                    <a:pt x="66" y="192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75" y="78"/>
                    <a:pt x="92" y="74"/>
                    <a:pt x="103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209" y="74"/>
                    <a:pt x="214" y="79"/>
                    <a:pt x="214" y="96"/>
                  </a:cubicBezTo>
                  <a:lnTo>
                    <a:pt x="21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C13C1D03-D815-4753-8C0C-DE0CB8883E03}"/>
                </a:ext>
              </a:extLst>
            </p:cNvPr>
            <p:cNvSpPr/>
            <p:nvPr/>
          </p:nvSpPr>
          <p:spPr bwMode="auto">
            <a:xfrm>
              <a:off x="7051676" y="3900488"/>
              <a:ext cx="276225" cy="223838"/>
            </a:xfrm>
            <a:custGeom>
              <a:avLst/>
              <a:gdLst>
                <a:gd name="T0" fmla="*/ 87 w 174"/>
                <a:gd name="T1" fmla="*/ 105 h 141"/>
                <a:gd name="T2" fmla="*/ 57 w 174"/>
                <a:gd name="T3" fmla="*/ 0 h 141"/>
                <a:gd name="T4" fmla="*/ 0 w 174"/>
                <a:gd name="T5" fmla="*/ 0 h 141"/>
                <a:gd name="T6" fmla="*/ 0 w 174"/>
                <a:gd name="T7" fmla="*/ 141 h 141"/>
                <a:gd name="T8" fmla="*/ 33 w 174"/>
                <a:gd name="T9" fmla="*/ 141 h 141"/>
                <a:gd name="T10" fmla="*/ 33 w 174"/>
                <a:gd name="T11" fmla="*/ 29 h 141"/>
                <a:gd name="T12" fmla="*/ 71 w 174"/>
                <a:gd name="T13" fmla="*/ 141 h 141"/>
                <a:gd name="T14" fmla="*/ 104 w 174"/>
                <a:gd name="T15" fmla="*/ 141 h 141"/>
                <a:gd name="T16" fmla="*/ 143 w 174"/>
                <a:gd name="T17" fmla="*/ 25 h 141"/>
                <a:gd name="T18" fmla="*/ 145 w 174"/>
                <a:gd name="T19" fmla="*/ 141 h 141"/>
                <a:gd name="T20" fmla="*/ 174 w 174"/>
                <a:gd name="T21" fmla="*/ 141 h 141"/>
                <a:gd name="T22" fmla="*/ 174 w 174"/>
                <a:gd name="T23" fmla="*/ 0 h 141"/>
                <a:gd name="T24" fmla="*/ 118 w 174"/>
                <a:gd name="T25" fmla="*/ 0 h 141"/>
                <a:gd name="T26" fmla="*/ 87 w 174"/>
                <a:gd name="T27" fmla="*/ 10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141">
                  <a:moveTo>
                    <a:pt x="87" y="105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9"/>
                  </a:lnTo>
                  <a:lnTo>
                    <a:pt x="71" y="141"/>
                  </a:lnTo>
                  <a:lnTo>
                    <a:pt x="104" y="141"/>
                  </a:lnTo>
                  <a:lnTo>
                    <a:pt x="143" y="25"/>
                  </a:lnTo>
                  <a:lnTo>
                    <a:pt x="145" y="141"/>
                  </a:lnTo>
                  <a:lnTo>
                    <a:pt x="174" y="141"/>
                  </a:lnTo>
                  <a:lnTo>
                    <a:pt x="174" y="0"/>
                  </a:lnTo>
                  <a:lnTo>
                    <a:pt x="118" y="0"/>
                  </a:lnTo>
                  <a:lnTo>
                    <a:pt x="87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B450BE24-1AB8-4E66-B29F-C642BDC2AB8D}"/>
                </a:ext>
              </a:extLst>
            </p:cNvPr>
            <p:cNvSpPr/>
            <p:nvPr/>
          </p:nvSpPr>
          <p:spPr bwMode="auto">
            <a:xfrm>
              <a:off x="9193213" y="3900488"/>
              <a:ext cx="223838" cy="223838"/>
            </a:xfrm>
            <a:custGeom>
              <a:avLst/>
              <a:gdLst>
                <a:gd name="T0" fmla="*/ 74 w 288"/>
                <a:gd name="T1" fmla="*/ 89 h 288"/>
                <a:gd name="T2" fmla="*/ 96 w 288"/>
                <a:gd name="T3" fmla="*/ 67 h 288"/>
                <a:gd name="T4" fmla="*/ 274 w 288"/>
                <a:gd name="T5" fmla="*/ 67 h 288"/>
                <a:gd name="T6" fmla="*/ 274 w 288"/>
                <a:gd name="T7" fmla="*/ 0 h 288"/>
                <a:gd name="T8" fmla="*/ 89 w 288"/>
                <a:gd name="T9" fmla="*/ 0 h 288"/>
                <a:gd name="T10" fmla="*/ 0 w 288"/>
                <a:gd name="T11" fmla="*/ 81 h 288"/>
                <a:gd name="T12" fmla="*/ 214 w 288"/>
                <a:gd name="T13" fmla="*/ 177 h 288"/>
                <a:gd name="T14" fmla="*/ 207 w 288"/>
                <a:gd name="T15" fmla="*/ 214 h 288"/>
                <a:gd name="T16" fmla="*/ 15 w 288"/>
                <a:gd name="T17" fmla="*/ 214 h 288"/>
                <a:gd name="T18" fmla="*/ 15 w 288"/>
                <a:gd name="T19" fmla="*/ 288 h 288"/>
                <a:gd name="T20" fmla="*/ 192 w 288"/>
                <a:gd name="T21" fmla="*/ 288 h 288"/>
                <a:gd name="T22" fmla="*/ 288 w 288"/>
                <a:gd name="T23" fmla="*/ 200 h 288"/>
                <a:gd name="T24" fmla="*/ 74 w 288"/>
                <a:gd name="T25" fmla="*/ 8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74" y="89"/>
                  </a:moveTo>
                  <a:cubicBezTo>
                    <a:pt x="74" y="72"/>
                    <a:pt x="79" y="67"/>
                    <a:pt x="96" y="67"/>
                  </a:cubicBezTo>
                  <a:cubicBezTo>
                    <a:pt x="274" y="67"/>
                    <a:pt x="274" y="67"/>
                    <a:pt x="274" y="67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44" y="0"/>
                    <a:pt x="0" y="37"/>
                    <a:pt x="0" y="81"/>
                  </a:cubicBezTo>
                  <a:cubicBezTo>
                    <a:pt x="0" y="199"/>
                    <a:pt x="120" y="155"/>
                    <a:pt x="214" y="177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46" y="288"/>
                    <a:pt x="288" y="252"/>
                    <a:pt x="288" y="200"/>
                  </a:cubicBezTo>
                  <a:cubicBezTo>
                    <a:pt x="288" y="57"/>
                    <a:pt x="74" y="145"/>
                    <a:pt x="74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CAF9B79C-02E8-4FE4-986C-8CB16F773ABC}"/>
                </a:ext>
              </a:extLst>
            </p:cNvPr>
            <p:cNvSpPr/>
            <p:nvPr/>
          </p:nvSpPr>
          <p:spPr bwMode="auto">
            <a:xfrm>
              <a:off x="9720263" y="3900488"/>
              <a:ext cx="219075" cy="223838"/>
            </a:xfrm>
            <a:custGeom>
              <a:avLst/>
              <a:gdLst>
                <a:gd name="T0" fmla="*/ 193 w 281"/>
                <a:gd name="T1" fmla="*/ 0 h 288"/>
                <a:gd name="T2" fmla="*/ 144 w 281"/>
                <a:gd name="T3" fmla="*/ 109 h 288"/>
                <a:gd name="T4" fmla="*/ 92 w 281"/>
                <a:gd name="T5" fmla="*/ 0 h 288"/>
                <a:gd name="T6" fmla="*/ 0 w 281"/>
                <a:gd name="T7" fmla="*/ 0 h 288"/>
                <a:gd name="T8" fmla="*/ 104 w 281"/>
                <a:gd name="T9" fmla="*/ 192 h 288"/>
                <a:gd name="T10" fmla="*/ 104 w 281"/>
                <a:gd name="T11" fmla="*/ 288 h 288"/>
                <a:gd name="T12" fmla="*/ 178 w 281"/>
                <a:gd name="T13" fmla="*/ 288 h 288"/>
                <a:gd name="T14" fmla="*/ 178 w 281"/>
                <a:gd name="T15" fmla="*/ 200 h 288"/>
                <a:gd name="T16" fmla="*/ 281 w 281"/>
                <a:gd name="T17" fmla="*/ 0 h 288"/>
                <a:gd name="T18" fmla="*/ 193 w 281"/>
                <a:gd name="T1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8">
                  <a:moveTo>
                    <a:pt x="193" y="0"/>
                  </a:moveTo>
                  <a:cubicBezTo>
                    <a:pt x="144" y="109"/>
                    <a:pt x="144" y="109"/>
                    <a:pt x="144" y="109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29"/>
                    <a:pt x="104" y="171"/>
                    <a:pt x="104" y="192"/>
                  </a:cubicBezTo>
                  <a:cubicBezTo>
                    <a:pt x="104" y="288"/>
                    <a:pt x="104" y="288"/>
                    <a:pt x="104" y="288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78" y="151"/>
                    <a:pt x="269" y="52"/>
                    <a:pt x="281" y="0"/>
                  </a:cubicBezTo>
                  <a:lnTo>
                    <a:pt x="1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4549F84A-50C5-4981-8AA3-EF4E1F61268C}"/>
                </a:ext>
              </a:extLst>
            </p:cNvPr>
            <p:cNvSpPr/>
            <p:nvPr/>
          </p:nvSpPr>
          <p:spPr bwMode="auto">
            <a:xfrm>
              <a:off x="7608888" y="3900488"/>
              <a:ext cx="182563" cy="223838"/>
            </a:xfrm>
            <a:custGeom>
              <a:avLst/>
              <a:gdLst>
                <a:gd name="T0" fmla="*/ 36 w 115"/>
                <a:gd name="T1" fmla="*/ 0 h 141"/>
                <a:gd name="T2" fmla="*/ 0 w 115"/>
                <a:gd name="T3" fmla="*/ 0 h 141"/>
                <a:gd name="T4" fmla="*/ 0 w 115"/>
                <a:gd name="T5" fmla="*/ 141 h 141"/>
                <a:gd name="T6" fmla="*/ 115 w 115"/>
                <a:gd name="T7" fmla="*/ 141 h 141"/>
                <a:gd name="T8" fmla="*/ 115 w 115"/>
                <a:gd name="T9" fmla="*/ 105 h 141"/>
                <a:gd name="T10" fmla="*/ 36 w 115"/>
                <a:gd name="T11" fmla="*/ 105 h 141"/>
                <a:gd name="T12" fmla="*/ 36 w 115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41">
                  <a:moveTo>
                    <a:pt x="36" y="0"/>
                  </a:moveTo>
                  <a:lnTo>
                    <a:pt x="0" y="0"/>
                  </a:lnTo>
                  <a:lnTo>
                    <a:pt x="0" y="141"/>
                  </a:lnTo>
                  <a:lnTo>
                    <a:pt x="115" y="141"/>
                  </a:lnTo>
                  <a:lnTo>
                    <a:pt x="115" y="105"/>
                  </a:lnTo>
                  <a:lnTo>
                    <a:pt x="36" y="105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5BE501AC-1770-4DA4-8843-C54DB94C77B7}"/>
                </a:ext>
              </a:extLst>
            </p:cNvPr>
            <p:cNvSpPr/>
            <p:nvPr/>
          </p:nvSpPr>
          <p:spPr bwMode="auto">
            <a:xfrm>
              <a:off x="7907338" y="3900488"/>
              <a:ext cx="223838" cy="223838"/>
            </a:xfrm>
            <a:custGeom>
              <a:avLst/>
              <a:gdLst>
                <a:gd name="T0" fmla="*/ 215 w 289"/>
                <a:gd name="T1" fmla="*/ 177 h 288"/>
                <a:gd name="T2" fmla="*/ 207 w 289"/>
                <a:gd name="T3" fmla="*/ 214 h 288"/>
                <a:gd name="T4" fmla="*/ 96 w 289"/>
                <a:gd name="T5" fmla="*/ 214 h 288"/>
                <a:gd name="T6" fmla="*/ 74 w 289"/>
                <a:gd name="T7" fmla="*/ 192 h 288"/>
                <a:gd name="T8" fmla="*/ 74 w 289"/>
                <a:gd name="T9" fmla="*/ 0 h 288"/>
                <a:gd name="T10" fmla="*/ 0 w 289"/>
                <a:gd name="T11" fmla="*/ 0 h 288"/>
                <a:gd name="T12" fmla="*/ 0 w 289"/>
                <a:gd name="T13" fmla="*/ 207 h 288"/>
                <a:gd name="T14" fmla="*/ 96 w 289"/>
                <a:gd name="T15" fmla="*/ 288 h 288"/>
                <a:gd name="T16" fmla="*/ 200 w 289"/>
                <a:gd name="T17" fmla="*/ 288 h 288"/>
                <a:gd name="T18" fmla="*/ 289 w 289"/>
                <a:gd name="T19" fmla="*/ 200 h 288"/>
                <a:gd name="T20" fmla="*/ 289 w 289"/>
                <a:gd name="T21" fmla="*/ 0 h 288"/>
                <a:gd name="T22" fmla="*/ 215 w 289"/>
                <a:gd name="T23" fmla="*/ 0 h 288"/>
                <a:gd name="T24" fmla="*/ 215 w 289"/>
                <a:gd name="T2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288">
                  <a:moveTo>
                    <a:pt x="215" y="177"/>
                  </a:moveTo>
                  <a:cubicBezTo>
                    <a:pt x="215" y="197"/>
                    <a:pt x="211" y="198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74" y="209"/>
                    <a:pt x="74" y="19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54"/>
                    <a:pt x="47" y="288"/>
                    <a:pt x="96" y="288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44" y="288"/>
                    <a:pt x="289" y="241"/>
                    <a:pt x="289" y="20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15" y="0"/>
                    <a:pt x="215" y="0"/>
                    <a:pt x="215" y="0"/>
                  </a:cubicBezTo>
                  <a:lnTo>
                    <a:pt x="21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1E8E64E0-1610-4E94-BE70-F5CE1E62FE0A}"/>
                </a:ext>
              </a:extLst>
            </p:cNvPr>
            <p:cNvSpPr/>
            <p:nvPr/>
          </p:nvSpPr>
          <p:spPr bwMode="auto">
            <a:xfrm>
              <a:off x="8732838" y="3900488"/>
              <a:ext cx="196850" cy="223838"/>
            </a:xfrm>
            <a:custGeom>
              <a:avLst/>
              <a:gdLst>
                <a:gd name="T0" fmla="*/ 37 w 124"/>
                <a:gd name="T1" fmla="*/ 84 h 141"/>
                <a:gd name="T2" fmla="*/ 106 w 124"/>
                <a:gd name="T3" fmla="*/ 84 h 141"/>
                <a:gd name="T4" fmla="*/ 106 w 124"/>
                <a:gd name="T5" fmla="*/ 55 h 141"/>
                <a:gd name="T6" fmla="*/ 37 w 124"/>
                <a:gd name="T7" fmla="*/ 55 h 141"/>
                <a:gd name="T8" fmla="*/ 37 w 124"/>
                <a:gd name="T9" fmla="*/ 33 h 141"/>
                <a:gd name="T10" fmla="*/ 116 w 124"/>
                <a:gd name="T11" fmla="*/ 33 h 141"/>
                <a:gd name="T12" fmla="*/ 116 w 124"/>
                <a:gd name="T13" fmla="*/ 0 h 141"/>
                <a:gd name="T14" fmla="*/ 0 w 124"/>
                <a:gd name="T15" fmla="*/ 0 h 141"/>
                <a:gd name="T16" fmla="*/ 0 w 124"/>
                <a:gd name="T17" fmla="*/ 141 h 141"/>
                <a:gd name="T18" fmla="*/ 124 w 124"/>
                <a:gd name="T19" fmla="*/ 141 h 141"/>
                <a:gd name="T20" fmla="*/ 124 w 124"/>
                <a:gd name="T21" fmla="*/ 105 h 141"/>
                <a:gd name="T22" fmla="*/ 37 w 124"/>
                <a:gd name="T23" fmla="*/ 105 h 141"/>
                <a:gd name="T24" fmla="*/ 37 w 124"/>
                <a:gd name="T25" fmla="*/ 8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41">
                  <a:moveTo>
                    <a:pt x="37" y="84"/>
                  </a:moveTo>
                  <a:lnTo>
                    <a:pt x="106" y="84"/>
                  </a:lnTo>
                  <a:lnTo>
                    <a:pt x="106" y="55"/>
                  </a:lnTo>
                  <a:lnTo>
                    <a:pt x="37" y="55"/>
                  </a:lnTo>
                  <a:lnTo>
                    <a:pt x="37" y="33"/>
                  </a:lnTo>
                  <a:lnTo>
                    <a:pt x="116" y="33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124" y="141"/>
                  </a:lnTo>
                  <a:lnTo>
                    <a:pt x="124" y="105"/>
                  </a:lnTo>
                  <a:lnTo>
                    <a:pt x="37" y="105"/>
                  </a:lnTo>
                  <a:lnTo>
                    <a:pt x="37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7E1407A0-72D8-4BB6-BF3B-A3FA071885CB}"/>
                </a:ext>
              </a:extLst>
            </p:cNvPr>
            <p:cNvSpPr/>
            <p:nvPr/>
          </p:nvSpPr>
          <p:spPr bwMode="auto">
            <a:xfrm>
              <a:off x="9439276" y="3900488"/>
              <a:ext cx="5238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670CB0D5-0CC9-4333-8006-E1DF8CEACAB2}"/>
                </a:ext>
              </a:extLst>
            </p:cNvPr>
            <p:cNvSpPr/>
            <p:nvPr/>
          </p:nvSpPr>
          <p:spPr bwMode="auto">
            <a:xfrm>
              <a:off x="6315076" y="3900488"/>
              <a:ext cx="231775" cy="223838"/>
            </a:xfrm>
            <a:custGeom>
              <a:avLst/>
              <a:gdLst>
                <a:gd name="T0" fmla="*/ 114 w 146"/>
                <a:gd name="T1" fmla="*/ 110 h 141"/>
                <a:gd name="T2" fmla="*/ 51 w 146"/>
                <a:gd name="T3" fmla="*/ 0 h 141"/>
                <a:gd name="T4" fmla="*/ 0 w 146"/>
                <a:gd name="T5" fmla="*/ 0 h 141"/>
                <a:gd name="T6" fmla="*/ 0 w 146"/>
                <a:gd name="T7" fmla="*/ 141 h 141"/>
                <a:gd name="T8" fmla="*/ 33 w 146"/>
                <a:gd name="T9" fmla="*/ 141 h 141"/>
                <a:gd name="T10" fmla="*/ 33 w 146"/>
                <a:gd name="T11" fmla="*/ 26 h 141"/>
                <a:gd name="T12" fmla="*/ 97 w 146"/>
                <a:gd name="T13" fmla="*/ 141 h 141"/>
                <a:gd name="T14" fmla="*/ 146 w 146"/>
                <a:gd name="T15" fmla="*/ 141 h 141"/>
                <a:gd name="T16" fmla="*/ 146 w 146"/>
                <a:gd name="T17" fmla="*/ 0 h 141"/>
                <a:gd name="T18" fmla="*/ 114 w 146"/>
                <a:gd name="T19" fmla="*/ 0 h 141"/>
                <a:gd name="T20" fmla="*/ 114 w 146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6" y="141"/>
                  </a:lnTo>
                  <a:lnTo>
                    <a:pt x="146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2" name="任意多边形: 形状 31">
              <a:extLst>
                <a:ext uri="{FF2B5EF4-FFF2-40B4-BE49-F238E27FC236}">
                  <a16:creationId xmlns:a16="http://schemas.microsoft.com/office/drawing/2014/main" id="{19DDA8DC-9D73-4DCD-894C-EDD151C8F3D6}"/>
                </a:ext>
              </a:extLst>
            </p:cNvPr>
            <p:cNvSpPr/>
            <p:nvPr/>
          </p:nvSpPr>
          <p:spPr bwMode="auto">
            <a:xfrm>
              <a:off x="5113338" y="3900488"/>
              <a:ext cx="263525" cy="223838"/>
            </a:xfrm>
            <a:custGeom>
              <a:avLst/>
              <a:gdLst>
                <a:gd name="T0" fmla="*/ 62 w 166"/>
                <a:gd name="T1" fmla="*/ 0 h 141"/>
                <a:gd name="T2" fmla="*/ 0 w 166"/>
                <a:gd name="T3" fmla="*/ 141 h 141"/>
                <a:gd name="T4" fmla="*/ 34 w 166"/>
                <a:gd name="T5" fmla="*/ 141 h 141"/>
                <a:gd name="T6" fmla="*/ 47 w 166"/>
                <a:gd name="T7" fmla="*/ 110 h 141"/>
                <a:gd name="T8" fmla="*/ 115 w 166"/>
                <a:gd name="T9" fmla="*/ 110 h 141"/>
                <a:gd name="T10" fmla="*/ 129 w 166"/>
                <a:gd name="T11" fmla="*/ 141 h 141"/>
                <a:gd name="T12" fmla="*/ 166 w 166"/>
                <a:gd name="T13" fmla="*/ 141 h 141"/>
                <a:gd name="T14" fmla="*/ 104 w 166"/>
                <a:gd name="T15" fmla="*/ 0 h 141"/>
                <a:gd name="T16" fmla="*/ 62 w 166"/>
                <a:gd name="T17" fmla="*/ 0 h 141"/>
                <a:gd name="T18" fmla="*/ 56 w 166"/>
                <a:gd name="T19" fmla="*/ 89 h 141"/>
                <a:gd name="T20" fmla="*/ 82 w 166"/>
                <a:gd name="T21" fmla="*/ 26 h 141"/>
                <a:gd name="T22" fmla="*/ 106 w 166"/>
                <a:gd name="T23" fmla="*/ 89 h 141"/>
                <a:gd name="T24" fmla="*/ 56 w 166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41">
                  <a:moveTo>
                    <a:pt x="62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5" y="110"/>
                  </a:lnTo>
                  <a:lnTo>
                    <a:pt x="129" y="141"/>
                  </a:lnTo>
                  <a:lnTo>
                    <a:pt x="166" y="141"/>
                  </a:lnTo>
                  <a:lnTo>
                    <a:pt x="104" y="0"/>
                  </a:lnTo>
                  <a:lnTo>
                    <a:pt x="62" y="0"/>
                  </a:lnTo>
                  <a:close/>
                  <a:moveTo>
                    <a:pt x="56" y="89"/>
                  </a:moveTo>
                  <a:lnTo>
                    <a:pt x="82" y="26"/>
                  </a:lnTo>
                  <a:lnTo>
                    <a:pt x="106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3" name="任意多边形: 形状 32">
              <a:extLst>
                <a:ext uri="{FF2B5EF4-FFF2-40B4-BE49-F238E27FC236}">
                  <a16:creationId xmlns:a16="http://schemas.microsoft.com/office/drawing/2014/main" id="{5B02332E-DCD2-4BDA-A3BB-0E48E9BB432C}"/>
                </a:ext>
              </a:extLst>
            </p:cNvPr>
            <p:cNvSpPr/>
            <p:nvPr/>
          </p:nvSpPr>
          <p:spPr bwMode="auto">
            <a:xfrm>
              <a:off x="7337426" y="3900488"/>
              <a:ext cx="265113" cy="223838"/>
            </a:xfrm>
            <a:custGeom>
              <a:avLst/>
              <a:gdLst>
                <a:gd name="T0" fmla="*/ 63 w 167"/>
                <a:gd name="T1" fmla="*/ 0 h 141"/>
                <a:gd name="T2" fmla="*/ 0 w 167"/>
                <a:gd name="T3" fmla="*/ 141 h 141"/>
                <a:gd name="T4" fmla="*/ 34 w 167"/>
                <a:gd name="T5" fmla="*/ 141 h 141"/>
                <a:gd name="T6" fmla="*/ 47 w 167"/>
                <a:gd name="T7" fmla="*/ 110 h 141"/>
                <a:gd name="T8" fmla="*/ 116 w 167"/>
                <a:gd name="T9" fmla="*/ 110 h 141"/>
                <a:gd name="T10" fmla="*/ 130 w 167"/>
                <a:gd name="T11" fmla="*/ 141 h 141"/>
                <a:gd name="T12" fmla="*/ 167 w 167"/>
                <a:gd name="T13" fmla="*/ 141 h 141"/>
                <a:gd name="T14" fmla="*/ 105 w 167"/>
                <a:gd name="T15" fmla="*/ 0 h 141"/>
                <a:gd name="T16" fmla="*/ 63 w 167"/>
                <a:gd name="T17" fmla="*/ 0 h 141"/>
                <a:gd name="T18" fmla="*/ 56 w 167"/>
                <a:gd name="T19" fmla="*/ 89 h 141"/>
                <a:gd name="T20" fmla="*/ 83 w 167"/>
                <a:gd name="T21" fmla="*/ 26 h 141"/>
                <a:gd name="T22" fmla="*/ 107 w 167"/>
                <a:gd name="T23" fmla="*/ 89 h 141"/>
                <a:gd name="T24" fmla="*/ 56 w 167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41">
                  <a:moveTo>
                    <a:pt x="63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6" y="110"/>
                  </a:lnTo>
                  <a:lnTo>
                    <a:pt x="130" y="141"/>
                  </a:lnTo>
                  <a:lnTo>
                    <a:pt x="167" y="141"/>
                  </a:lnTo>
                  <a:lnTo>
                    <a:pt x="105" y="0"/>
                  </a:lnTo>
                  <a:lnTo>
                    <a:pt x="63" y="0"/>
                  </a:lnTo>
                  <a:close/>
                  <a:moveTo>
                    <a:pt x="56" y="89"/>
                  </a:moveTo>
                  <a:lnTo>
                    <a:pt x="83" y="26"/>
                  </a:lnTo>
                  <a:lnTo>
                    <a:pt x="107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B1037A1D-9D96-4897-884D-868F456E214C}"/>
                </a:ext>
              </a:extLst>
            </p:cNvPr>
            <p:cNvSpPr/>
            <p:nvPr/>
          </p:nvSpPr>
          <p:spPr bwMode="auto">
            <a:xfrm>
              <a:off x="8153401" y="3900488"/>
              <a:ext cx="233363" cy="223838"/>
            </a:xfrm>
            <a:custGeom>
              <a:avLst/>
              <a:gdLst>
                <a:gd name="T0" fmla="*/ 115 w 147"/>
                <a:gd name="T1" fmla="*/ 110 h 141"/>
                <a:gd name="T2" fmla="*/ 52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4 w 147"/>
                <a:gd name="T9" fmla="*/ 141 h 141"/>
                <a:gd name="T10" fmla="*/ 34 w 147"/>
                <a:gd name="T11" fmla="*/ 26 h 141"/>
                <a:gd name="T12" fmla="*/ 98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5 w 147"/>
                <a:gd name="T19" fmla="*/ 0 h 141"/>
                <a:gd name="T20" fmla="*/ 115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5" y="110"/>
                  </a:moveTo>
                  <a:lnTo>
                    <a:pt x="52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4" y="141"/>
                  </a:lnTo>
                  <a:lnTo>
                    <a:pt x="34" y="26"/>
                  </a:lnTo>
                  <a:lnTo>
                    <a:pt x="98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5" y="0"/>
                  </a:lnTo>
                  <a:lnTo>
                    <a:pt x="1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6AC525CA-D9F5-422E-A194-F4F5FD9F2675}"/>
                </a:ext>
              </a:extLst>
            </p:cNvPr>
            <p:cNvSpPr/>
            <p:nvPr/>
          </p:nvSpPr>
          <p:spPr bwMode="auto">
            <a:xfrm>
              <a:off x="6000751" y="3154363"/>
              <a:ext cx="139700" cy="80963"/>
            </a:xfrm>
            <a:custGeom>
              <a:avLst/>
              <a:gdLst>
                <a:gd name="T0" fmla="*/ 0 w 180"/>
                <a:gd name="T1" fmla="*/ 15 h 103"/>
                <a:gd name="T2" fmla="*/ 0 w 180"/>
                <a:gd name="T3" fmla="*/ 29 h 103"/>
                <a:gd name="T4" fmla="*/ 104 w 180"/>
                <a:gd name="T5" fmla="*/ 103 h 103"/>
                <a:gd name="T6" fmla="*/ 126 w 180"/>
                <a:gd name="T7" fmla="*/ 103 h 103"/>
                <a:gd name="T8" fmla="*/ 176 w 180"/>
                <a:gd name="T9" fmla="*/ 88 h 103"/>
                <a:gd name="T10" fmla="*/ 180 w 180"/>
                <a:gd name="T11" fmla="*/ 52 h 103"/>
                <a:gd name="T12" fmla="*/ 97 w 180"/>
                <a:gd name="T13" fmla="*/ 0 h 103"/>
                <a:gd name="T14" fmla="*/ 0 w 180"/>
                <a:gd name="T15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103">
                  <a:moveTo>
                    <a:pt x="0" y="15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32" y="41"/>
                    <a:pt x="74" y="103"/>
                    <a:pt x="104" y="103"/>
                  </a:cubicBezTo>
                  <a:cubicBezTo>
                    <a:pt x="126" y="103"/>
                    <a:pt x="126" y="103"/>
                    <a:pt x="126" y="103"/>
                  </a:cubicBezTo>
                  <a:cubicBezTo>
                    <a:pt x="153" y="103"/>
                    <a:pt x="152" y="95"/>
                    <a:pt x="176" y="88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63" y="33"/>
                    <a:pt x="115" y="0"/>
                    <a:pt x="97" y="0"/>
                  </a:cubicBezTo>
                  <a:cubicBezTo>
                    <a:pt x="46" y="0"/>
                    <a:pt x="34" y="6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BBEA082E-82B6-4988-9A67-EFC5F2BE9F16}"/>
                </a:ext>
              </a:extLst>
            </p:cNvPr>
            <p:cNvSpPr/>
            <p:nvPr/>
          </p:nvSpPr>
          <p:spPr bwMode="auto">
            <a:xfrm>
              <a:off x="8475663" y="3167063"/>
              <a:ext cx="298450" cy="377825"/>
            </a:xfrm>
            <a:custGeom>
              <a:avLst/>
              <a:gdLst>
                <a:gd name="T0" fmla="*/ 0 w 386"/>
                <a:gd name="T1" fmla="*/ 458 h 488"/>
                <a:gd name="T2" fmla="*/ 52 w 386"/>
                <a:gd name="T3" fmla="*/ 488 h 488"/>
                <a:gd name="T4" fmla="*/ 170 w 386"/>
                <a:gd name="T5" fmla="*/ 428 h 488"/>
                <a:gd name="T6" fmla="*/ 189 w 386"/>
                <a:gd name="T7" fmla="*/ 359 h 488"/>
                <a:gd name="T8" fmla="*/ 225 w 386"/>
                <a:gd name="T9" fmla="*/ 284 h 488"/>
                <a:gd name="T10" fmla="*/ 326 w 386"/>
                <a:gd name="T11" fmla="*/ 184 h 488"/>
                <a:gd name="T12" fmla="*/ 375 w 386"/>
                <a:gd name="T13" fmla="*/ 71 h 488"/>
                <a:gd name="T14" fmla="*/ 326 w 386"/>
                <a:gd name="T15" fmla="*/ 36 h 488"/>
                <a:gd name="T16" fmla="*/ 231 w 386"/>
                <a:gd name="T17" fmla="*/ 68 h 488"/>
                <a:gd name="T18" fmla="*/ 170 w 386"/>
                <a:gd name="T19" fmla="*/ 0 h 488"/>
                <a:gd name="T20" fmla="*/ 139 w 386"/>
                <a:gd name="T21" fmla="*/ 112 h 488"/>
                <a:gd name="T22" fmla="*/ 15 w 386"/>
                <a:gd name="T23" fmla="*/ 155 h 488"/>
                <a:gd name="T24" fmla="*/ 97 w 386"/>
                <a:gd name="T25" fmla="*/ 236 h 488"/>
                <a:gd name="T26" fmla="*/ 0 w 386"/>
                <a:gd name="T27" fmla="*/ 377 h 488"/>
                <a:gd name="T28" fmla="*/ 0 w 386"/>
                <a:gd name="T29" fmla="*/ 45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6" h="488">
                  <a:moveTo>
                    <a:pt x="0" y="458"/>
                  </a:moveTo>
                  <a:cubicBezTo>
                    <a:pt x="0" y="449"/>
                    <a:pt x="25" y="488"/>
                    <a:pt x="52" y="488"/>
                  </a:cubicBezTo>
                  <a:cubicBezTo>
                    <a:pt x="75" y="488"/>
                    <a:pt x="151" y="434"/>
                    <a:pt x="170" y="428"/>
                  </a:cubicBezTo>
                  <a:cubicBezTo>
                    <a:pt x="181" y="406"/>
                    <a:pt x="184" y="378"/>
                    <a:pt x="189" y="359"/>
                  </a:cubicBezTo>
                  <a:cubicBezTo>
                    <a:pt x="196" y="334"/>
                    <a:pt x="205" y="317"/>
                    <a:pt x="225" y="284"/>
                  </a:cubicBezTo>
                  <a:cubicBezTo>
                    <a:pt x="252" y="237"/>
                    <a:pt x="253" y="184"/>
                    <a:pt x="326" y="184"/>
                  </a:cubicBezTo>
                  <a:cubicBezTo>
                    <a:pt x="386" y="144"/>
                    <a:pt x="377" y="149"/>
                    <a:pt x="375" y="71"/>
                  </a:cubicBezTo>
                  <a:cubicBezTo>
                    <a:pt x="375" y="49"/>
                    <a:pt x="346" y="46"/>
                    <a:pt x="326" y="36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27" y="27"/>
                    <a:pt x="209" y="0"/>
                    <a:pt x="170" y="0"/>
                  </a:cubicBezTo>
                  <a:cubicBezTo>
                    <a:pt x="136" y="0"/>
                    <a:pt x="162" y="77"/>
                    <a:pt x="139" y="112"/>
                  </a:cubicBezTo>
                  <a:cubicBezTo>
                    <a:pt x="130" y="126"/>
                    <a:pt x="84" y="149"/>
                    <a:pt x="15" y="155"/>
                  </a:cubicBezTo>
                  <a:cubicBezTo>
                    <a:pt x="21" y="223"/>
                    <a:pt x="97" y="211"/>
                    <a:pt x="97" y="236"/>
                  </a:cubicBezTo>
                  <a:cubicBezTo>
                    <a:pt x="97" y="286"/>
                    <a:pt x="21" y="345"/>
                    <a:pt x="0" y="377"/>
                  </a:cubicBezTo>
                  <a:lnTo>
                    <a:pt x="0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EE1D9039-2BA4-4BF7-8326-EECCCA958369}"/>
                </a:ext>
              </a:extLst>
            </p:cNvPr>
            <p:cNvSpPr/>
            <p:nvPr/>
          </p:nvSpPr>
          <p:spPr bwMode="auto">
            <a:xfrm>
              <a:off x="8670926" y="3390900"/>
              <a:ext cx="150813" cy="195263"/>
            </a:xfrm>
            <a:custGeom>
              <a:avLst/>
              <a:gdLst>
                <a:gd name="T0" fmla="*/ 47 w 194"/>
                <a:gd name="T1" fmla="*/ 229 h 253"/>
                <a:gd name="T2" fmla="*/ 60 w 194"/>
                <a:gd name="T3" fmla="*/ 253 h 253"/>
                <a:gd name="T4" fmla="*/ 177 w 194"/>
                <a:gd name="T5" fmla="*/ 207 h 253"/>
                <a:gd name="T6" fmla="*/ 192 w 194"/>
                <a:gd name="T7" fmla="*/ 126 h 253"/>
                <a:gd name="T8" fmla="*/ 0 w 194"/>
                <a:gd name="T9" fmla="*/ 22 h 253"/>
                <a:gd name="T10" fmla="*/ 47 w 194"/>
                <a:gd name="T11" fmla="*/ 2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53">
                  <a:moveTo>
                    <a:pt x="47" y="229"/>
                  </a:moveTo>
                  <a:cubicBezTo>
                    <a:pt x="60" y="253"/>
                    <a:pt x="60" y="253"/>
                    <a:pt x="60" y="253"/>
                  </a:cubicBezTo>
                  <a:cubicBezTo>
                    <a:pt x="100" y="241"/>
                    <a:pt x="141" y="228"/>
                    <a:pt x="177" y="207"/>
                  </a:cubicBezTo>
                  <a:cubicBezTo>
                    <a:pt x="184" y="179"/>
                    <a:pt x="192" y="161"/>
                    <a:pt x="192" y="126"/>
                  </a:cubicBezTo>
                  <a:cubicBezTo>
                    <a:pt x="194" y="72"/>
                    <a:pt x="45" y="0"/>
                    <a:pt x="0" y="22"/>
                  </a:cubicBezTo>
                  <a:cubicBezTo>
                    <a:pt x="29" y="93"/>
                    <a:pt x="51" y="104"/>
                    <a:pt x="47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BB4B792A-7AB9-4D25-B1A5-E0678F262703}"/>
                </a:ext>
              </a:extLst>
            </p:cNvPr>
            <p:cNvSpPr/>
            <p:nvPr/>
          </p:nvSpPr>
          <p:spPr bwMode="auto">
            <a:xfrm>
              <a:off x="4613276" y="2873375"/>
              <a:ext cx="952500" cy="877888"/>
            </a:xfrm>
            <a:custGeom>
              <a:avLst/>
              <a:gdLst>
                <a:gd name="T0" fmla="*/ 812 w 1227"/>
                <a:gd name="T1" fmla="*/ 823 h 1132"/>
                <a:gd name="T2" fmla="*/ 776 w 1227"/>
                <a:gd name="T3" fmla="*/ 809 h 1132"/>
                <a:gd name="T4" fmla="*/ 821 w 1227"/>
                <a:gd name="T5" fmla="*/ 763 h 1132"/>
                <a:gd name="T6" fmla="*/ 945 w 1227"/>
                <a:gd name="T7" fmla="*/ 710 h 1132"/>
                <a:gd name="T8" fmla="*/ 990 w 1227"/>
                <a:gd name="T9" fmla="*/ 710 h 1132"/>
                <a:gd name="T10" fmla="*/ 886 w 1227"/>
                <a:gd name="T11" fmla="*/ 840 h 1132"/>
                <a:gd name="T12" fmla="*/ 819 w 1227"/>
                <a:gd name="T13" fmla="*/ 821 h 1132"/>
                <a:gd name="T14" fmla="*/ 812 w 1227"/>
                <a:gd name="T15" fmla="*/ 823 h 1132"/>
                <a:gd name="T16" fmla="*/ 257 w 1227"/>
                <a:gd name="T17" fmla="*/ 799 h 1132"/>
                <a:gd name="T18" fmla="*/ 144 w 1227"/>
                <a:gd name="T19" fmla="*/ 918 h 1132"/>
                <a:gd name="T20" fmla="*/ 117 w 1227"/>
                <a:gd name="T21" fmla="*/ 958 h 1132"/>
                <a:gd name="T22" fmla="*/ 63 w 1227"/>
                <a:gd name="T23" fmla="*/ 1015 h 1132"/>
                <a:gd name="T24" fmla="*/ 93 w 1227"/>
                <a:gd name="T25" fmla="*/ 1101 h 1132"/>
                <a:gd name="T26" fmla="*/ 161 w 1227"/>
                <a:gd name="T27" fmla="*/ 1021 h 1132"/>
                <a:gd name="T28" fmla="*/ 307 w 1227"/>
                <a:gd name="T29" fmla="*/ 864 h 1132"/>
                <a:gd name="T30" fmla="*/ 668 w 1227"/>
                <a:gd name="T31" fmla="*/ 624 h 1132"/>
                <a:gd name="T32" fmla="*/ 741 w 1227"/>
                <a:gd name="T33" fmla="*/ 578 h 1132"/>
                <a:gd name="T34" fmla="*/ 746 w 1227"/>
                <a:gd name="T35" fmla="*/ 585 h 1132"/>
                <a:gd name="T36" fmla="*/ 598 w 1227"/>
                <a:gd name="T37" fmla="*/ 769 h 1132"/>
                <a:gd name="T38" fmla="*/ 701 w 1227"/>
                <a:gd name="T39" fmla="*/ 866 h 1132"/>
                <a:gd name="T40" fmla="*/ 701 w 1227"/>
                <a:gd name="T41" fmla="*/ 888 h 1132"/>
                <a:gd name="T42" fmla="*/ 599 w 1227"/>
                <a:gd name="T43" fmla="*/ 971 h 1132"/>
                <a:gd name="T44" fmla="*/ 524 w 1227"/>
                <a:gd name="T45" fmla="*/ 1080 h 1132"/>
                <a:gd name="T46" fmla="*/ 531 w 1227"/>
                <a:gd name="T47" fmla="*/ 1117 h 1132"/>
                <a:gd name="T48" fmla="*/ 583 w 1227"/>
                <a:gd name="T49" fmla="*/ 1124 h 1132"/>
                <a:gd name="T50" fmla="*/ 620 w 1227"/>
                <a:gd name="T51" fmla="*/ 1124 h 1132"/>
                <a:gd name="T52" fmla="*/ 794 w 1227"/>
                <a:gd name="T53" fmla="*/ 951 h 1132"/>
                <a:gd name="T54" fmla="*/ 917 w 1227"/>
                <a:gd name="T55" fmla="*/ 904 h 1132"/>
                <a:gd name="T56" fmla="*/ 1034 w 1227"/>
                <a:gd name="T57" fmla="*/ 843 h 1132"/>
                <a:gd name="T58" fmla="*/ 1139 w 1227"/>
                <a:gd name="T59" fmla="*/ 682 h 1132"/>
                <a:gd name="T60" fmla="*/ 899 w 1227"/>
                <a:gd name="T61" fmla="*/ 649 h 1132"/>
                <a:gd name="T62" fmla="*/ 1017 w 1227"/>
                <a:gd name="T63" fmla="*/ 509 h 1132"/>
                <a:gd name="T64" fmla="*/ 1204 w 1227"/>
                <a:gd name="T65" fmla="*/ 459 h 1132"/>
                <a:gd name="T66" fmla="*/ 1227 w 1227"/>
                <a:gd name="T67" fmla="*/ 440 h 1132"/>
                <a:gd name="T68" fmla="*/ 1189 w 1227"/>
                <a:gd name="T69" fmla="*/ 407 h 1132"/>
                <a:gd name="T70" fmla="*/ 1167 w 1227"/>
                <a:gd name="T71" fmla="*/ 407 h 1132"/>
                <a:gd name="T72" fmla="*/ 1101 w 1227"/>
                <a:gd name="T73" fmla="*/ 422 h 1132"/>
                <a:gd name="T74" fmla="*/ 1101 w 1227"/>
                <a:gd name="T75" fmla="*/ 385 h 1132"/>
                <a:gd name="T76" fmla="*/ 1009 w 1227"/>
                <a:gd name="T77" fmla="*/ 312 h 1132"/>
                <a:gd name="T78" fmla="*/ 823 w 1227"/>
                <a:gd name="T79" fmla="*/ 366 h 1132"/>
                <a:gd name="T80" fmla="*/ 671 w 1227"/>
                <a:gd name="T81" fmla="*/ 449 h 1132"/>
                <a:gd name="T82" fmla="*/ 887 w 1227"/>
                <a:gd name="T83" fmla="*/ 410 h 1132"/>
                <a:gd name="T84" fmla="*/ 758 w 1227"/>
                <a:gd name="T85" fmla="*/ 538 h 1132"/>
                <a:gd name="T86" fmla="*/ 654 w 1227"/>
                <a:gd name="T87" fmla="*/ 559 h 1132"/>
                <a:gd name="T88" fmla="*/ 562 w 1227"/>
                <a:gd name="T89" fmla="*/ 596 h 1132"/>
                <a:gd name="T90" fmla="*/ 536 w 1227"/>
                <a:gd name="T91" fmla="*/ 598 h 1132"/>
                <a:gd name="T92" fmla="*/ 725 w 1227"/>
                <a:gd name="T93" fmla="*/ 372 h 1132"/>
                <a:gd name="T94" fmla="*/ 837 w 1227"/>
                <a:gd name="T95" fmla="*/ 277 h 1132"/>
                <a:gd name="T96" fmla="*/ 960 w 1227"/>
                <a:gd name="T97" fmla="*/ 200 h 1132"/>
                <a:gd name="T98" fmla="*/ 916 w 1227"/>
                <a:gd name="T99" fmla="*/ 171 h 1132"/>
                <a:gd name="T100" fmla="*/ 900 w 1227"/>
                <a:gd name="T101" fmla="*/ 53 h 1132"/>
                <a:gd name="T102" fmla="*/ 805 w 1227"/>
                <a:gd name="T103" fmla="*/ 23 h 1132"/>
                <a:gd name="T104" fmla="*/ 738 w 1227"/>
                <a:gd name="T105" fmla="*/ 8 h 1132"/>
                <a:gd name="T106" fmla="*/ 694 w 1227"/>
                <a:gd name="T107" fmla="*/ 45 h 1132"/>
                <a:gd name="T108" fmla="*/ 775 w 1227"/>
                <a:gd name="T109" fmla="*/ 215 h 1132"/>
                <a:gd name="T110" fmla="*/ 609 w 1227"/>
                <a:gd name="T111" fmla="*/ 257 h 1132"/>
                <a:gd name="T112" fmla="*/ 501 w 1227"/>
                <a:gd name="T113" fmla="*/ 309 h 1132"/>
                <a:gd name="T114" fmla="*/ 598 w 1227"/>
                <a:gd name="T115" fmla="*/ 341 h 1132"/>
                <a:gd name="T116" fmla="*/ 664 w 1227"/>
                <a:gd name="T117" fmla="*/ 326 h 1132"/>
                <a:gd name="T118" fmla="*/ 686 w 1227"/>
                <a:gd name="T119" fmla="*/ 326 h 1132"/>
                <a:gd name="T120" fmla="*/ 577 w 1227"/>
                <a:gd name="T121" fmla="*/ 446 h 1132"/>
                <a:gd name="T122" fmla="*/ 482 w 1227"/>
                <a:gd name="T123" fmla="*/ 573 h 1132"/>
                <a:gd name="T124" fmla="*/ 257 w 1227"/>
                <a:gd name="T125" fmla="*/ 799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7" h="1132">
                  <a:moveTo>
                    <a:pt x="812" y="823"/>
                  </a:moveTo>
                  <a:cubicBezTo>
                    <a:pt x="799" y="826"/>
                    <a:pt x="755" y="862"/>
                    <a:pt x="776" y="809"/>
                  </a:cubicBezTo>
                  <a:cubicBezTo>
                    <a:pt x="787" y="788"/>
                    <a:pt x="804" y="777"/>
                    <a:pt x="821" y="763"/>
                  </a:cubicBezTo>
                  <a:cubicBezTo>
                    <a:pt x="839" y="748"/>
                    <a:pt x="916" y="710"/>
                    <a:pt x="945" y="710"/>
                  </a:cubicBezTo>
                  <a:cubicBezTo>
                    <a:pt x="990" y="710"/>
                    <a:pt x="990" y="710"/>
                    <a:pt x="990" y="710"/>
                  </a:cubicBezTo>
                  <a:cubicBezTo>
                    <a:pt x="984" y="774"/>
                    <a:pt x="910" y="806"/>
                    <a:pt x="886" y="840"/>
                  </a:cubicBezTo>
                  <a:cubicBezTo>
                    <a:pt x="836" y="840"/>
                    <a:pt x="854" y="821"/>
                    <a:pt x="819" y="821"/>
                  </a:cubicBezTo>
                  <a:cubicBezTo>
                    <a:pt x="812" y="823"/>
                    <a:pt x="812" y="823"/>
                    <a:pt x="812" y="823"/>
                  </a:cubicBezTo>
                  <a:close/>
                  <a:moveTo>
                    <a:pt x="257" y="799"/>
                  </a:moveTo>
                  <a:cubicBezTo>
                    <a:pt x="144" y="918"/>
                    <a:pt x="144" y="918"/>
                    <a:pt x="144" y="918"/>
                  </a:cubicBezTo>
                  <a:cubicBezTo>
                    <a:pt x="141" y="922"/>
                    <a:pt x="148" y="933"/>
                    <a:pt x="117" y="958"/>
                  </a:cubicBezTo>
                  <a:cubicBezTo>
                    <a:pt x="92" y="978"/>
                    <a:pt x="68" y="986"/>
                    <a:pt x="63" y="1015"/>
                  </a:cubicBezTo>
                  <a:cubicBezTo>
                    <a:pt x="53" y="1069"/>
                    <a:pt x="0" y="1132"/>
                    <a:pt x="93" y="1101"/>
                  </a:cubicBezTo>
                  <a:cubicBezTo>
                    <a:pt x="152" y="1082"/>
                    <a:pt x="134" y="1056"/>
                    <a:pt x="161" y="1021"/>
                  </a:cubicBezTo>
                  <a:cubicBezTo>
                    <a:pt x="217" y="947"/>
                    <a:pt x="243" y="927"/>
                    <a:pt x="307" y="864"/>
                  </a:cubicBezTo>
                  <a:cubicBezTo>
                    <a:pt x="406" y="766"/>
                    <a:pt x="483" y="629"/>
                    <a:pt x="668" y="624"/>
                  </a:cubicBezTo>
                  <a:cubicBezTo>
                    <a:pt x="741" y="578"/>
                    <a:pt x="741" y="578"/>
                    <a:pt x="741" y="578"/>
                  </a:cubicBezTo>
                  <a:cubicBezTo>
                    <a:pt x="746" y="585"/>
                    <a:pt x="746" y="585"/>
                    <a:pt x="746" y="585"/>
                  </a:cubicBezTo>
                  <a:cubicBezTo>
                    <a:pt x="728" y="659"/>
                    <a:pt x="598" y="705"/>
                    <a:pt x="598" y="769"/>
                  </a:cubicBezTo>
                  <a:cubicBezTo>
                    <a:pt x="598" y="836"/>
                    <a:pt x="650" y="854"/>
                    <a:pt x="701" y="866"/>
                  </a:cubicBezTo>
                  <a:cubicBezTo>
                    <a:pt x="701" y="888"/>
                    <a:pt x="701" y="888"/>
                    <a:pt x="701" y="888"/>
                  </a:cubicBezTo>
                  <a:cubicBezTo>
                    <a:pt x="662" y="898"/>
                    <a:pt x="636" y="948"/>
                    <a:pt x="599" y="971"/>
                  </a:cubicBezTo>
                  <a:cubicBezTo>
                    <a:pt x="561" y="994"/>
                    <a:pt x="524" y="1019"/>
                    <a:pt x="524" y="1080"/>
                  </a:cubicBezTo>
                  <a:cubicBezTo>
                    <a:pt x="524" y="1100"/>
                    <a:pt x="527" y="1100"/>
                    <a:pt x="531" y="1117"/>
                  </a:cubicBezTo>
                  <a:cubicBezTo>
                    <a:pt x="554" y="1119"/>
                    <a:pt x="557" y="1124"/>
                    <a:pt x="583" y="1124"/>
                  </a:cubicBezTo>
                  <a:cubicBezTo>
                    <a:pt x="620" y="1124"/>
                    <a:pt x="620" y="1124"/>
                    <a:pt x="620" y="1124"/>
                  </a:cubicBezTo>
                  <a:cubicBezTo>
                    <a:pt x="683" y="1124"/>
                    <a:pt x="727" y="996"/>
                    <a:pt x="794" y="951"/>
                  </a:cubicBezTo>
                  <a:cubicBezTo>
                    <a:pt x="844" y="918"/>
                    <a:pt x="857" y="919"/>
                    <a:pt x="917" y="904"/>
                  </a:cubicBezTo>
                  <a:cubicBezTo>
                    <a:pt x="975" y="890"/>
                    <a:pt x="993" y="871"/>
                    <a:pt x="1034" y="843"/>
                  </a:cubicBezTo>
                  <a:cubicBezTo>
                    <a:pt x="1103" y="773"/>
                    <a:pt x="1158" y="776"/>
                    <a:pt x="1139" y="682"/>
                  </a:cubicBezTo>
                  <a:cubicBezTo>
                    <a:pt x="1128" y="626"/>
                    <a:pt x="993" y="644"/>
                    <a:pt x="899" y="649"/>
                  </a:cubicBezTo>
                  <a:cubicBezTo>
                    <a:pt x="903" y="608"/>
                    <a:pt x="988" y="536"/>
                    <a:pt x="1017" y="509"/>
                  </a:cubicBezTo>
                  <a:cubicBezTo>
                    <a:pt x="1061" y="471"/>
                    <a:pt x="1120" y="467"/>
                    <a:pt x="1204" y="459"/>
                  </a:cubicBezTo>
                  <a:cubicBezTo>
                    <a:pt x="1227" y="440"/>
                    <a:pt x="1227" y="440"/>
                    <a:pt x="1227" y="440"/>
                  </a:cubicBezTo>
                  <a:cubicBezTo>
                    <a:pt x="1218" y="427"/>
                    <a:pt x="1210" y="407"/>
                    <a:pt x="1189" y="407"/>
                  </a:cubicBezTo>
                  <a:cubicBezTo>
                    <a:pt x="1167" y="407"/>
                    <a:pt x="1167" y="407"/>
                    <a:pt x="1167" y="407"/>
                  </a:cubicBezTo>
                  <a:cubicBezTo>
                    <a:pt x="1135" y="407"/>
                    <a:pt x="1127" y="416"/>
                    <a:pt x="1101" y="422"/>
                  </a:cubicBezTo>
                  <a:cubicBezTo>
                    <a:pt x="1101" y="385"/>
                    <a:pt x="1101" y="385"/>
                    <a:pt x="1101" y="385"/>
                  </a:cubicBezTo>
                  <a:cubicBezTo>
                    <a:pt x="1105" y="344"/>
                    <a:pt x="1055" y="312"/>
                    <a:pt x="1009" y="312"/>
                  </a:cubicBezTo>
                  <a:cubicBezTo>
                    <a:pt x="1007" y="312"/>
                    <a:pt x="841" y="360"/>
                    <a:pt x="823" y="366"/>
                  </a:cubicBezTo>
                  <a:cubicBezTo>
                    <a:pt x="771" y="383"/>
                    <a:pt x="717" y="446"/>
                    <a:pt x="671" y="449"/>
                  </a:cubicBezTo>
                  <a:cubicBezTo>
                    <a:pt x="677" y="517"/>
                    <a:pt x="826" y="410"/>
                    <a:pt x="887" y="410"/>
                  </a:cubicBezTo>
                  <a:cubicBezTo>
                    <a:pt x="882" y="471"/>
                    <a:pt x="814" y="525"/>
                    <a:pt x="758" y="538"/>
                  </a:cubicBezTo>
                  <a:cubicBezTo>
                    <a:pt x="725" y="549"/>
                    <a:pt x="690" y="550"/>
                    <a:pt x="654" y="559"/>
                  </a:cubicBezTo>
                  <a:cubicBezTo>
                    <a:pt x="633" y="565"/>
                    <a:pt x="563" y="592"/>
                    <a:pt x="562" y="596"/>
                  </a:cubicBezTo>
                  <a:cubicBezTo>
                    <a:pt x="536" y="598"/>
                    <a:pt x="536" y="598"/>
                    <a:pt x="536" y="598"/>
                  </a:cubicBezTo>
                  <a:cubicBezTo>
                    <a:pt x="546" y="555"/>
                    <a:pt x="688" y="409"/>
                    <a:pt x="725" y="372"/>
                  </a:cubicBezTo>
                  <a:cubicBezTo>
                    <a:pt x="769" y="329"/>
                    <a:pt x="781" y="311"/>
                    <a:pt x="837" y="277"/>
                  </a:cubicBezTo>
                  <a:cubicBezTo>
                    <a:pt x="866" y="260"/>
                    <a:pt x="960" y="228"/>
                    <a:pt x="960" y="200"/>
                  </a:cubicBezTo>
                  <a:cubicBezTo>
                    <a:pt x="960" y="174"/>
                    <a:pt x="942" y="171"/>
                    <a:pt x="916" y="171"/>
                  </a:cubicBezTo>
                  <a:cubicBezTo>
                    <a:pt x="924" y="137"/>
                    <a:pt x="916" y="87"/>
                    <a:pt x="900" y="53"/>
                  </a:cubicBezTo>
                  <a:cubicBezTo>
                    <a:pt x="874" y="0"/>
                    <a:pt x="853" y="23"/>
                    <a:pt x="805" y="23"/>
                  </a:cubicBezTo>
                  <a:cubicBezTo>
                    <a:pt x="785" y="23"/>
                    <a:pt x="773" y="8"/>
                    <a:pt x="738" y="8"/>
                  </a:cubicBezTo>
                  <a:cubicBezTo>
                    <a:pt x="719" y="8"/>
                    <a:pt x="694" y="24"/>
                    <a:pt x="694" y="45"/>
                  </a:cubicBezTo>
                  <a:cubicBezTo>
                    <a:pt x="694" y="92"/>
                    <a:pt x="774" y="155"/>
                    <a:pt x="775" y="215"/>
                  </a:cubicBezTo>
                  <a:cubicBezTo>
                    <a:pt x="749" y="217"/>
                    <a:pt x="674" y="235"/>
                    <a:pt x="609" y="257"/>
                  </a:cubicBezTo>
                  <a:cubicBezTo>
                    <a:pt x="571" y="292"/>
                    <a:pt x="475" y="291"/>
                    <a:pt x="501" y="309"/>
                  </a:cubicBezTo>
                  <a:cubicBezTo>
                    <a:pt x="526" y="325"/>
                    <a:pt x="541" y="336"/>
                    <a:pt x="598" y="341"/>
                  </a:cubicBezTo>
                  <a:cubicBezTo>
                    <a:pt x="617" y="341"/>
                    <a:pt x="629" y="326"/>
                    <a:pt x="664" y="326"/>
                  </a:cubicBezTo>
                  <a:cubicBezTo>
                    <a:pt x="686" y="326"/>
                    <a:pt x="686" y="326"/>
                    <a:pt x="686" y="326"/>
                  </a:cubicBezTo>
                  <a:cubicBezTo>
                    <a:pt x="677" y="361"/>
                    <a:pt x="604" y="417"/>
                    <a:pt x="577" y="446"/>
                  </a:cubicBezTo>
                  <a:cubicBezTo>
                    <a:pt x="544" y="481"/>
                    <a:pt x="513" y="532"/>
                    <a:pt x="482" y="573"/>
                  </a:cubicBezTo>
                  <a:cubicBezTo>
                    <a:pt x="457" y="608"/>
                    <a:pt x="288" y="779"/>
                    <a:pt x="257" y="7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E524A4EC-2242-4173-924D-DA90B110F861}"/>
                </a:ext>
              </a:extLst>
            </p:cNvPr>
            <p:cNvSpPr/>
            <p:nvPr/>
          </p:nvSpPr>
          <p:spPr bwMode="auto">
            <a:xfrm>
              <a:off x="5341938" y="3613150"/>
              <a:ext cx="165100" cy="138113"/>
            </a:xfrm>
            <a:custGeom>
              <a:avLst/>
              <a:gdLst>
                <a:gd name="T0" fmla="*/ 0 w 214"/>
                <a:gd name="T1" fmla="*/ 8 h 178"/>
                <a:gd name="T2" fmla="*/ 64 w 214"/>
                <a:gd name="T3" fmla="*/ 99 h 178"/>
                <a:gd name="T4" fmla="*/ 140 w 214"/>
                <a:gd name="T5" fmla="*/ 178 h 178"/>
                <a:gd name="T6" fmla="*/ 185 w 214"/>
                <a:gd name="T7" fmla="*/ 178 h 178"/>
                <a:gd name="T8" fmla="*/ 214 w 214"/>
                <a:gd name="T9" fmla="*/ 156 h 178"/>
                <a:gd name="T10" fmla="*/ 59 w 214"/>
                <a:gd name="T11" fmla="*/ 0 h 178"/>
                <a:gd name="T12" fmla="*/ 22 w 214"/>
                <a:gd name="T13" fmla="*/ 0 h 178"/>
                <a:gd name="T14" fmla="*/ 0 w 214"/>
                <a:gd name="T15" fmla="*/ 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78">
                  <a:moveTo>
                    <a:pt x="0" y="8"/>
                  </a:moveTo>
                  <a:cubicBezTo>
                    <a:pt x="5" y="28"/>
                    <a:pt x="48" y="71"/>
                    <a:pt x="64" y="99"/>
                  </a:cubicBezTo>
                  <a:cubicBezTo>
                    <a:pt x="84" y="134"/>
                    <a:pt x="87" y="178"/>
                    <a:pt x="140" y="178"/>
                  </a:cubicBezTo>
                  <a:cubicBezTo>
                    <a:pt x="185" y="178"/>
                    <a:pt x="185" y="178"/>
                    <a:pt x="185" y="178"/>
                  </a:cubicBezTo>
                  <a:cubicBezTo>
                    <a:pt x="199" y="178"/>
                    <a:pt x="214" y="165"/>
                    <a:pt x="214" y="156"/>
                  </a:cubicBezTo>
                  <a:cubicBezTo>
                    <a:pt x="214" y="88"/>
                    <a:pt x="128" y="0"/>
                    <a:pt x="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2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D073728-9E33-4D17-B527-F09328D69C2A}"/>
                </a:ext>
              </a:extLst>
            </p:cNvPr>
            <p:cNvSpPr/>
            <p:nvPr/>
          </p:nvSpPr>
          <p:spPr bwMode="auto">
            <a:xfrm>
              <a:off x="5818188" y="3270250"/>
              <a:ext cx="520700" cy="263525"/>
            </a:xfrm>
            <a:custGeom>
              <a:avLst/>
              <a:gdLst>
                <a:gd name="T0" fmla="*/ 355 w 671"/>
                <a:gd name="T1" fmla="*/ 222 h 340"/>
                <a:gd name="T2" fmla="*/ 421 w 671"/>
                <a:gd name="T3" fmla="*/ 81 h 340"/>
                <a:gd name="T4" fmla="*/ 547 w 671"/>
                <a:gd name="T5" fmla="*/ 90 h 340"/>
                <a:gd name="T6" fmla="*/ 577 w 671"/>
                <a:gd name="T7" fmla="*/ 88 h 340"/>
                <a:gd name="T8" fmla="*/ 497 w 671"/>
                <a:gd name="T9" fmla="*/ 192 h 340"/>
                <a:gd name="T10" fmla="*/ 370 w 671"/>
                <a:gd name="T11" fmla="*/ 257 h 340"/>
                <a:gd name="T12" fmla="*/ 355 w 671"/>
                <a:gd name="T13" fmla="*/ 222 h 340"/>
                <a:gd name="T14" fmla="*/ 268 w 671"/>
                <a:gd name="T15" fmla="*/ 155 h 340"/>
                <a:gd name="T16" fmla="*/ 299 w 671"/>
                <a:gd name="T17" fmla="*/ 211 h 340"/>
                <a:gd name="T18" fmla="*/ 268 w 671"/>
                <a:gd name="T19" fmla="*/ 155 h 340"/>
                <a:gd name="T20" fmla="*/ 44 w 671"/>
                <a:gd name="T21" fmla="*/ 273 h 340"/>
                <a:gd name="T22" fmla="*/ 177 w 671"/>
                <a:gd name="T23" fmla="*/ 177 h 340"/>
                <a:gd name="T24" fmla="*/ 198 w 671"/>
                <a:gd name="T25" fmla="*/ 253 h 340"/>
                <a:gd name="T26" fmla="*/ 236 w 671"/>
                <a:gd name="T27" fmla="*/ 288 h 340"/>
                <a:gd name="T28" fmla="*/ 236 w 671"/>
                <a:gd name="T29" fmla="*/ 325 h 340"/>
                <a:gd name="T30" fmla="*/ 266 w 671"/>
                <a:gd name="T31" fmla="*/ 340 h 340"/>
                <a:gd name="T32" fmla="*/ 398 w 671"/>
                <a:gd name="T33" fmla="*/ 325 h 340"/>
                <a:gd name="T34" fmla="*/ 430 w 671"/>
                <a:gd name="T35" fmla="*/ 312 h 340"/>
                <a:gd name="T36" fmla="*/ 540 w 671"/>
                <a:gd name="T37" fmla="*/ 222 h 340"/>
                <a:gd name="T38" fmla="*/ 671 w 671"/>
                <a:gd name="T39" fmla="*/ 90 h 340"/>
                <a:gd name="T40" fmla="*/ 584 w 671"/>
                <a:gd name="T41" fmla="*/ 51 h 340"/>
                <a:gd name="T42" fmla="*/ 482 w 671"/>
                <a:gd name="T43" fmla="*/ 53 h 340"/>
                <a:gd name="T44" fmla="*/ 429 w 671"/>
                <a:gd name="T45" fmla="*/ 59 h 340"/>
                <a:gd name="T46" fmla="*/ 412 w 671"/>
                <a:gd name="T47" fmla="*/ 0 h 340"/>
                <a:gd name="T48" fmla="*/ 330 w 671"/>
                <a:gd name="T49" fmla="*/ 86 h 340"/>
                <a:gd name="T50" fmla="*/ 259 w 671"/>
                <a:gd name="T51" fmla="*/ 29 h 340"/>
                <a:gd name="T52" fmla="*/ 250 w 671"/>
                <a:gd name="T53" fmla="*/ 27 h 340"/>
                <a:gd name="T54" fmla="*/ 217 w 671"/>
                <a:gd name="T55" fmla="*/ 131 h 340"/>
                <a:gd name="T56" fmla="*/ 84 w 671"/>
                <a:gd name="T57" fmla="*/ 181 h 340"/>
                <a:gd name="T58" fmla="*/ 25 w 671"/>
                <a:gd name="T59" fmla="*/ 51 h 340"/>
                <a:gd name="T60" fmla="*/ 0 w 671"/>
                <a:gd name="T61" fmla="*/ 162 h 340"/>
                <a:gd name="T62" fmla="*/ 0 w 671"/>
                <a:gd name="T63" fmla="*/ 214 h 340"/>
                <a:gd name="T64" fmla="*/ 22 w 671"/>
                <a:gd name="T65" fmla="*/ 273 h 340"/>
                <a:gd name="T66" fmla="*/ 44 w 671"/>
                <a:gd name="T67" fmla="*/ 27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340">
                  <a:moveTo>
                    <a:pt x="355" y="222"/>
                  </a:moveTo>
                  <a:cubicBezTo>
                    <a:pt x="355" y="209"/>
                    <a:pt x="415" y="106"/>
                    <a:pt x="421" y="81"/>
                  </a:cubicBezTo>
                  <a:cubicBezTo>
                    <a:pt x="547" y="90"/>
                    <a:pt x="547" y="90"/>
                    <a:pt x="547" y="9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74" y="123"/>
                    <a:pt x="521" y="173"/>
                    <a:pt x="497" y="192"/>
                  </a:cubicBezTo>
                  <a:cubicBezTo>
                    <a:pt x="423" y="250"/>
                    <a:pt x="441" y="234"/>
                    <a:pt x="370" y="257"/>
                  </a:cubicBezTo>
                  <a:cubicBezTo>
                    <a:pt x="361" y="243"/>
                    <a:pt x="355" y="238"/>
                    <a:pt x="355" y="222"/>
                  </a:cubicBezTo>
                  <a:close/>
                  <a:moveTo>
                    <a:pt x="268" y="155"/>
                  </a:moveTo>
                  <a:cubicBezTo>
                    <a:pt x="333" y="102"/>
                    <a:pt x="342" y="120"/>
                    <a:pt x="299" y="211"/>
                  </a:cubicBezTo>
                  <a:cubicBezTo>
                    <a:pt x="276" y="256"/>
                    <a:pt x="271" y="212"/>
                    <a:pt x="268" y="155"/>
                  </a:cubicBezTo>
                  <a:close/>
                  <a:moveTo>
                    <a:pt x="44" y="273"/>
                  </a:moveTo>
                  <a:cubicBezTo>
                    <a:pt x="62" y="261"/>
                    <a:pt x="161" y="177"/>
                    <a:pt x="177" y="177"/>
                  </a:cubicBezTo>
                  <a:cubicBezTo>
                    <a:pt x="210" y="177"/>
                    <a:pt x="199" y="217"/>
                    <a:pt x="198" y="253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39" y="327"/>
                    <a:pt x="265" y="340"/>
                    <a:pt x="266" y="340"/>
                  </a:cubicBezTo>
                  <a:cubicBezTo>
                    <a:pt x="265" y="331"/>
                    <a:pt x="335" y="321"/>
                    <a:pt x="398" y="325"/>
                  </a:cubicBezTo>
                  <a:cubicBezTo>
                    <a:pt x="420" y="327"/>
                    <a:pt x="428" y="311"/>
                    <a:pt x="430" y="312"/>
                  </a:cubicBezTo>
                  <a:cubicBezTo>
                    <a:pt x="460" y="295"/>
                    <a:pt x="517" y="245"/>
                    <a:pt x="540" y="222"/>
                  </a:cubicBezTo>
                  <a:cubicBezTo>
                    <a:pt x="671" y="90"/>
                    <a:pt x="671" y="90"/>
                    <a:pt x="671" y="90"/>
                  </a:cubicBezTo>
                  <a:cubicBezTo>
                    <a:pt x="651" y="60"/>
                    <a:pt x="633" y="51"/>
                    <a:pt x="584" y="51"/>
                  </a:cubicBezTo>
                  <a:cubicBezTo>
                    <a:pt x="482" y="53"/>
                    <a:pt x="482" y="53"/>
                    <a:pt x="482" y="53"/>
                  </a:cubicBezTo>
                  <a:cubicBezTo>
                    <a:pt x="456" y="54"/>
                    <a:pt x="452" y="57"/>
                    <a:pt x="429" y="59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59" y="14"/>
                    <a:pt x="394" y="54"/>
                    <a:pt x="330" y="86"/>
                  </a:cubicBezTo>
                  <a:cubicBezTo>
                    <a:pt x="253" y="125"/>
                    <a:pt x="285" y="85"/>
                    <a:pt x="259" y="29"/>
                  </a:cubicBezTo>
                  <a:cubicBezTo>
                    <a:pt x="250" y="27"/>
                    <a:pt x="250" y="27"/>
                    <a:pt x="250" y="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72" y="146"/>
                    <a:pt x="74" y="56"/>
                    <a:pt x="25" y="51"/>
                  </a:cubicBezTo>
                  <a:cubicBezTo>
                    <a:pt x="17" y="86"/>
                    <a:pt x="0" y="121"/>
                    <a:pt x="0" y="16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37"/>
                    <a:pt x="13" y="257"/>
                    <a:pt x="22" y="273"/>
                  </a:cubicBezTo>
                  <a:lnTo>
                    <a:pt x="44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E2CC04E6-54DF-48EF-892F-85EBA0915818}"/>
                </a:ext>
              </a:extLst>
            </p:cNvPr>
            <p:cNvSpPr/>
            <p:nvPr/>
          </p:nvSpPr>
          <p:spPr bwMode="auto">
            <a:xfrm>
              <a:off x="6592888" y="2959100"/>
              <a:ext cx="647700" cy="890588"/>
            </a:xfrm>
            <a:custGeom>
              <a:avLst/>
              <a:gdLst>
                <a:gd name="T0" fmla="*/ 45 w 836"/>
                <a:gd name="T1" fmla="*/ 695 h 1146"/>
                <a:gd name="T2" fmla="*/ 59 w 836"/>
                <a:gd name="T3" fmla="*/ 503 h 1146"/>
                <a:gd name="T4" fmla="*/ 126 w 836"/>
                <a:gd name="T5" fmla="*/ 525 h 1146"/>
                <a:gd name="T6" fmla="*/ 119 w 836"/>
                <a:gd name="T7" fmla="*/ 607 h 1146"/>
                <a:gd name="T8" fmla="*/ 223 w 836"/>
                <a:gd name="T9" fmla="*/ 552 h 1146"/>
                <a:gd name="T10" fmla="*/ 407 w 836"/>
                <a:gd name="T11" fmla="*/ 488 h 1146"/>
                <a:gd name="T12" fmla="*/ 429 w 836"/>
                <a:gd name="T13" fmla="*/ 814 h 1146"/>
                <a:gd name="T14" fmla="*/ 451 w 836"/>
                <a:gd name="T15" fmla="*/ 1146 h 1146"/>
                <a:gd name="T16" fmla="*/ 488 w 836"/>
                <a:gd name="T17" fmla="*/ 1087 h 1146"/>
                <a:gd name="T18" fmla="*/ 693 w 836"/>
                <a:gd name="T19" fmla="*/ 508 h 1146"/>
                <a:gd name="T20" fmla="*/ 836 w 836"/>
                <a:gd name="T21" fmla="*/ 311 h 1146"/>
                <a:gd name="T22" fmla="*/ 703 w 836"/>
                <a:gd name="T23" fmla="*/ 259 h 1146"/>
                <a:gd name="T24" fmla="*/ 614 w 836"/>
                <a:gd name="T25" fmla="*/ 274 h 1146"/>
                <a:gd name="T26" fmla="*/ 740 w 836"/>
                <a:gd name="T27" fmla="*/ 60 h 1146"/>
                <a:gd name="T28" fmla="*/ 372 w 836"/>
                <a:gd name="T29" fmla="*/ 165 h 1146"/>
                <a:gd name="T30" fmla="*/ 159 w 836"/>
                <a:gd name="T31" fmla="*/ 389 h 1146"/>
                <a:gd name="T32" fmla="*/ 59 w 836"/>
                <a:gd name="T33" fmla="*/ 437 h 1146"/>
                <a:gd name="T34" fmla="*/ 74 w 836"/>
                <a:gd name="T35" fmla="*/ 311 h 1146"/>
                <a:gd name="T36" fmla="*/ 104 w 836"/>
                <a:gd name="T37" fmla="*/ 348 h 1146"/>
                <a:gd name="T38" fmla="*/ 222 w 836"/>
                <a:gd name="T39" fmla="*/ 222 h 1146"/>
                <a:gd name="T40" fmla="*/ 294 w 836"/>
                <a:gd name="T41" fmla="*/ 60 h 1146"/>
                <a:gd name="T42" fmla="*/ 244 w 836"/>
                <a:gd name="T43" fmla="*/ 0 h 1146"/>
                <a:gd name="T44" fmla="*/ 133 w 836"/>
                <a:gd name="T45" fmla="*/ 45 h 1146"/>
                <a:gd name="T46" fmla="*/ 170 w 836"/>
                <a:gd name="T47" fmla="*/ 67 h 1146"/>
                <a:gd name="T48" fmla="*/ 119 w 836"/>
                <a:gd name="T49" fmla="*/ 126 h 1146"/>
                <a:gd name="T50" fmla="*/ 0 w 836"/>
                <a:gd name="T51" fmla="*/ 348 h 1146"/>
                <a:gd name="T52" fmla="*/ 22 w 836"/>
                <a:gd name="T53" fmla="*/ 681 h 1146"/>
                <a:gd name="T54" fmla="*/ 644 w 836"/>
                <a:gd name="T55" fmla="*/ 341 h 1146"/>
                <a:gd name="T56" fmla="*/ 578 w 836"/>
                <a:gd name="T57" fmla="*/ 474 h 1146"/>
                <a:gd name="T58" fmla="*/ 457 w 836"/>
                <a:gd name="T59" fmla="*/ 459 h 1146"/>
                <a:gd name="T60" fmla="*/ 427 w 836"/>
                <a:gd name="T61" fmla="*/ 459 h 1146"/>
                <a:gd name="T62" fmla="*/ 454 w 836"/>
                <a:gd name="T63" fmla="*/ 217 h 1146"/>
                <a:gd name="T64" fmla="*/ 227 w 836"/>
                <a:gd name="T65" fmla="*/ 474 h 1146"/>
                <a:gd name="T66" fmla="*/ 454 w 836"/>
                <a:gd name="T67" fmla="*/ 21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6" h="1146">
                  <a:moveTo>
                    <a:pt x="22" y="681"/>
                  </a:moveTo>
                  <a:cubicBezTo>
                    <a:pt x="45" y="695"/>
                    <a:pt x="45" y="695"/>
                    <a:pt x="45" y="695"/>
                  </a:cubicBezTo>
                  <a:cubicBezTo>
                    <a:pt x="56" y="700"/>
                    <a:pt x="67" y="669"/>
                    <a:pt x="67" y="649"/>
                  </a:cubicBezTo>
                  <a:cubicBezTo>
                    <a:pt x="59" y="503"/>
                    <a:pt x="59" y="503"/>
                    <a:pt x="59" y="503"/>
                  </a:cubicBezTo>
                  <a:cubicBezTo>
                    <a:pt x="117" y="504"/>
                    <a:pt x="117" y="504"/>
                    <a:pt x="117" y="504"/>
                  </a:cubicBezTo>
                  <a:cubicBezTo>
                    <a:pt x="126" y="525"/>
                    <a:pt x="126" y="525"/>
                    <a:pt x="126" y="525"/>
                  </a:cubicBezTo>
                  <a:cubicBezTo>
                    <a:pt x="122" y="543"/>
                    <a:pt x="119" y="547"/>
                    <a:pt x="119" y="570"/>
                  </a:cubicBezTo>
                  <a:cubicBezTo>
                    <a:pt x="119" y="607"/>
                    <a:pt x="119" y="607"/>
                    <a:pt x="119" y="607"/>
                  </a:cubicBezTo>
                  <a:cubicBezTo>
                    <a:pt x="124" y="615"/>
                    <a:pt x="124" y="615"/>
                    <a:pt x="124" y="615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96" y="585"/>
                    <a:pt x="296" y="585"/>
                    <a:pt x="296" y="585"/>
                  </a:cubicBezTo>
                  <a:cubicBezTo>
                    <a:pt x="336" y="558"/>
                    <a:pt x="357" y="493"/>
                    <a:pt x="407" y="488"/>
                  </a:cubicBezTo>
                  <a:cubicBezTo>
                    <a:pt x="408" y="540"/>
                    <a:pt x="430" y="570"/>
                    <a:pt x="429" y="636"/>
                  </a:cubicBezTo>
                  <a:cubicBezTo>
                    <a:pt x="429" y="695"/>
                    <a:pt x="429" y="755"/>
                    <a:pt x="429" y="814"/>
                  </a:cubicBezTo>
                  <a:cubicBezTo>
                    <a:pt x="429" y="873"/>
                    <a:pt x="429" y="932"/>
                    <a:pt x="429" y="991"/>
                  </a:cubicBezTo>
                  <a:cubicBezTo>
                    <a:pt x="429" y="1030"/>
                    <a:pt x="414" y="1146"/>
                    <a:pt x="451" y="1146"/>
                  </a:cubicBezTo>
                  <a:cubicBezTo>
                    <a:pt x="469" y="1146"/>
                    <a:pt x="473" y="1134"/>
                    <a:pt x="488" y="1124"/>
                  </a:cubicBezTo>
                  <a:cubicBezTo>
                    <a:pt x="488" y="1087"/>
                    <a:pt x="488" y="1087"/>
                    <a:pt x="488" y="1087"/>
                  </a:cubicBezTo>
                  <a:cubicBezTo>
                    <a:pt x="580" y="1026"/>
                    <a:pt x="534" y="826"/>
                    <a:pt x="562" y="703"/>
                  </a:cubicBezTo>
                  <a:cubicBezTo>
                    <a:pt x="562" y="572"/>
                    <a:pt x="623" y="559"/>
                    <a:pt x="693" y="508"/>
                  </a:cubicBezTo>
                  <a:cubicBezTo>
                    <a:pt x="720" y="487"/>
                    <a:pt x="836" y="352"/>
                    <a:pt x="836" y="318"/>
                  </a:cubicBezTo>
                  <a:cubicBezTo>
                    <a:pt x="836" y="311"/>
                    <a:pt x="836" y="311"/>
                    <a:pt x="836" y="311"/>
                  </a:cubicBezTo>
                  <a:cubicBezTo>
                    <a:pt x="836" y="293"/>
                    <a:pt x="802" y="259"/>
                    <a:pt x="784" y="259"/>
                  </a:cubicBezTo>
                  <a:cubicBezTo>
                    <a:pt x="703" y="259"/>
                    <a:pt x="703" y="259"/>
                    <a:pt x="703" y="259"/>
                  </a:cubicBezTo>
                  <a:cubicBezTo>
                    <a:pt x="663" y="259"/>
                    <a:pt x="662" y="274"/>
                    <a:pt x="622" y="274"/>
                  </a:cubicBezTo>
                  <a:cubicBezTo>
                    <a:pt x="614" y="274"/>
                    <a:pt x="614" y="274"/>
                    <a:pt x="614" y="274"/>
                  </a:cubicBezTo>
                  <a:cubicBezTo>
                    <a:pt x="602" y="274"/>
                    <a:pt x="592" y="270"/>
                    <a:pt x="592" y="259"/>
                  </a:cubicBezTo>
                  <a:cubicBezTo>
                    <a:pt x="592" y="181"/>
                    <a:pt x="718" y="152"/>
                    <a:pt x="740" y="60"/>
                  </a:cubicBezTo>
                  <a:cubicBezTo>
                    <a:pt x="721" y="47"/>
                    <a:pt x="695" y="23"/>
                    <a:pt x="666" y="23"/>
                  </a:cubicBezTo>
                  <a:cubicBezTo>
                    <a:pt x="558" y="23"/>
                    <a:pt x="428" y="109"/>
                    <a:pt x="372" y="165"/>
                  </a:cubicBezTo>
                  <a:cubicBezTo>
                    <a:pt x="349" y="187"/>
                    <a:pt x="285" y="258"/>
                    <a:pt x="275" y="282"/>
                  </a:cubicBezTo>
                  <a:cubicBezTo>
                    <a:pt x="250" y="343"/>
                    <a:pt x="242" y="385"/>
                    <a:pt x="159" y="389"/>
                  </a:cubicBezTo>
                  <a:cubicBezTo>
                    <a:pt x="82" y="444"/>
                    <a:pt x="82" y="444"/>
                    <a:pt x="82" y="444"/>
                  </a:cubicBezTo>
                  <a:cubicBezTo>
                    <a:pt x="59" y="437"/>
                    <a:pt x="59" y="437"/>
                    <a:pt x="59" y="437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12"/>
                    <a:pt x="63" y="319"/>
                    <a:pt x="74" y="311"/>
                  </a:cubicBezTo>
                  <a:cubicBezTo>
                    <a:pt x="75" y="335"/>
                    <a:pt x="72" y="348"/>
                    <a:pt x="96" y="348"/>
                  </a:cubicBezTo>
                  <a:cubicBezTo>
                    <a:pt x="104" y="348"/>
                    <a:pt x="104" y="348"/>
                    <a:pt x="104" y="348"/>
                  </a:cubicBezTo>
                  <a:cubicBezTo>
                    <a:pt x="127" y="348"/>
                    <a:pt x="247" y="270"/>
                    <a:pt x="259" y="252"/>
                  </a:cubicBezTo>
                  <a:cubicBezTo>
                    <a:pt x="251" y="239"/>
                    <a:pt x="243" y="222"/>
                    <a:pt x="222" y="222"/>
                  </a:cubicBezTo>
                  <a:cubicBezTo>
                    <a:pt x="188" y="219"/>
                    <a:pt x="188" y="219"/>
                    <a:pt x="188" y="219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77" y="16"/>
                    <a:pt x="255" y="0"/>
                    <a:pt x="24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84" y="0"/>
                    <a:pt x="133" y="9"/>
                    <a:pt x="133" y="45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228" y="67"/>
                    <a:pt x="135" y="247"/>
                    <a:pt x="74" y="252"/>
                  </a:cubicBezTo>
                  <a:cubicBezTo>
                    <a:pt x="78" y="204"/>
                    <a:pt x="119" y="164"/>
                    <a:pt x="119" y="126"/>
                  </a:cubicBezTo>
                  <a:cubicBezTo>
                    <a:pt x="119" y="113"/>
                    <a:pt x="92" y="74"/>
                    <a:pt x="82" y="74"/>
                  </a:cubicBezTo>
                  <a:cubicBezTo>
                    <a:pt x="43" y="74"/>
                    <a:pt x="0" y="289"/>
                    <a:pt x="0" y="348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27"/>
                    <a:pt x="13" y="640"/>
                    <a:pt x="22" y="681"/>
                  </a:cubicBezTo>
                  <a:close/>
                  <a:moveTo>
                    <a:pt x="578" y="474"/>
                  </a:moveTo>
                  <a:cubicBezTo>
                    <a:pt x="558" y="432"/>
                    <a:pt x="578" y="359"/>
                    <a:pt x="644" y="341"/>
                  </a:cubicBezTo>
                  <a:cubicBezTo>
                    <a:pt x="671" y="334"/>
                    <a:pt x="702" y="343"/>
                    <a:pt x="682" y="370"/>
                  </a:cubicBezTo>
                  <a:cubicBezTo>
                    <a:pt x="653" y="409"/>
                    <a:pt x="601" y="469"/>
                    <a:pt x="578" y="474"/>
                  </a:cubicBezTo>
                  <a:close/>
                  <a:moveTo>
                    <a:pt x="442" y="428"/>
                  </a:moveTo>
                  <a:cubicBezTo>
                    <a:pt x="450" y="428"/>
                    <a:pt x="457" y="442"/>
                    <a:pt x="457" y="459"/>
                  </a:cubicBezTo>
                  <a:cubicBezTo>
                    <a:pt x="457" y="477"/>
                    <a:pt x="450" y="491"/>
                    <a:pt x="442" y="491"/>
                  </a:cubicBezTo>
                  <a:cubicBezTo>
                    <a:pt x="434" y="491"/>
                    <a:pt x="427" y="477"/>
                    <a:pt x="427" y="459"/>
                  </a:cubicBezTo>
                  <a:cubicBezTo>
                    <a:pt x="427" y="442"/>
                    <a:pt x="434" y="428"/>
                    <a:pt x="442" y="428"/>
                  </a:cubicBezTo>
                  <a:close/>
                  <a:moveTo>
                    <a:pt x="454" y="217"/>
                  </a:moveTo>
                  <a:cubicBezTo>
                    <a:pt x="383" y="324"/>
                    <a:pt x="291" y="381"/>
                    <a:pt x="245" y="488"/>
                  </a:cubicBezTo>
                  <a:cubicBezTo>
                    <a:pt x="228" y="512"/>
                    <a:pt x="222" y="507"/>
                    <a:pt x="227" y="474"/>
                  </a:cubicBezTo>
                  <a:cubicBezTo>
                    <a:pt x="264" y="398"/>
                    <a:pt x="293" y="319"/>
                    <a:pt x="356" y="245"/>
                  </a:cubicBezTo>
                  <a:cubicBezTo>
                    <a:pt x="408" y="185"/>
                    <a:pt x="481" y="167"/>
                    <a:pt x="454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E160D76B-8A4A-4A0C-A4CE-B79FF699F46A}"/>
                </a:ext>
              </a:extLst>
            </p:cNvPr>
            <p:cNvSpPr/>
            <p:nvPr/>
          </p:nvSpPr>
          <p:spPr bwMode="auto">
            <a:xfrm>
              <a:off x="7488238" y="2965450"/>
              <a:ext cx="739775" cy="766763"/>
            </a:xfrm>
            <a:custGeom>
              <a:avLst/>
              <a:gdLst>
                <a:gd name="T0" fmla="*/ 125 w 953"/>
                <a:gd name="T1" fmla="*/ 770 h 988"/>
                <a:gd name="T2" fmla="*/ 162 w 953"/>
                <a:gd name="T3" fmla="*/ 894 h 988"/>
                <a:gd name="T4" fmla="*/ 199 w 953"/>
                <a:gd name="T5" fmla="*/ 939 h 988"/>
                <a:gd name="T6" fmla="*/ 221 w 953"/>
                <a:gd name="T7" fmla="*/ 924 h 988"/>
                <a:gd name="T8" fmla="*/ 354 w 953"/>
                <a:gd name="T9" fmla="*/ 776 h 988"/>
                <a:gd name="T10" fmla="*/ 739 w 953"/>
                <a:gd name="T11" fmla="*/ 429 h 988"/>
                <a:gd name="T12" fmla="*/ 571 w 953"/>
                <a:gd name="T13" fmla="*/ 687 h 988"/>
                <a:gd name="T14" fmla="*/ 798 w 953"/>
                <a:gd name="T15" fmla="*/ 887 h 988"/>
                <a:gd name="T16" fmla="*/ 953 w 953"/>
                <a:gd name="T17" fmla="*/ 828 h 988"/>
                <a:gd name="T18" fmla="*/ 887 w 953"/>
                <a:gd name="T19" fmla="*/ 772 h 988"/>
                <a:gd name="T20" fmla="*/ 704 w 953"/>
                <a:gd name="T21" fmla="*/ 774 h 988"/>
                <a:gd name="T22" fmla="*/ 680 w 953"/>
                <a:gd name="T23" fmla="*/ 628 h 988"/>
                <a:gd name="T24" fmla="*/ 842 w 953"/>
                <a:gd name="T25" fmla="*/ 414 h 988"/>
                <a:gd name="T26" fmla="*/ 721 w 953"/>
                <a:gd name="T27" fmla="*/ 389 h 988"/>
                <a:gd name="T28" fmla="*/ 428 w 953"/>
                <a:gd name="T29" fmla="*/ 562 h 988"/>
                <a:gd name="T30" fmla="*/ 302 w 953"/>
                <a:gd name="T31" fmla="*/ 628 h 988"/>
                <a:gd name="T32" fmla="*/ 177 w 953"/>
                <a:gd name="T33" fmla="*/ 695 h 988"/>
                <a:gd name="T34" fmla="*/ 510 w 953"/>
                <a:gd name="T35" fmla="*/ 392 h 988"/>
                <a:gd name="T36" fmla="*/ 412 w 953"/>
                <a:gd name="T37" fmla="*/ 348 h 988"/>
                <a:gd name="T38" fmla="*/ 909 w 953"/>
                <a:gd name="T39" fmla="*/ 7 h 988"/>
                <a:gd name="T40" fmla="*/ 791 w 953"/>
                <a:gd name="T41" fmla="*/ 22 h 988"/>
                <a:gd name="T42" fmla="*/ 675 w 953"/>
                <a:gd name="T43" fmla="*/ 7 h 988"/>
                <a:gd name="T44" fmla="*/ 283 w 953"/>
                <a:gd name="T45" fmla="*/ 143 h 988"/>
                <a:gd name="T46" fmla="*/ 347 w 953"/>
                <a:gd name="T47" fmla="*/ 229 h 988"/>
                <a:gd name="T48" fmla="*/ 665 w 953"/>
                <a:gd name="T49" fmla="*/ 29 h 988"/>
                <a:gd name="T50" fmla="*/ 445 w 953"/>
                <a:gd name="T51" fmla="*/ 298 h 988"/>
                <a:gd name="T52" fmla="*/ 205 w 953"/>
                <a:gd name="T53" fmla="*/ 454 h 988"/>
                <a:gd name="T54" fmla="*/ 10 w 953"/>
                <a:gd name="T55" fmla="*/ 621 h 988"/>
                <a:gd name="T56" fmla="*/ 147 w 953"/>
                <a:gd name="T57" fmla="*/ 599 h 988"/>
                <a:gd name="T58" fmla="*/ 353 w 953"/>
                <a:gd name="T59" fmla="*/ 605 h 988"/>
                <a:gd name="T60" fmla="*/ 353 w 953"/>
                <a:gd name="T61" fmla="*/ 619 h 988"/>
                <a:gd name="T62" fmla="*/ 353 w 953"/>
                <a:gd name="T63" fmla="*/ 605 h 988"/>
                <a:gd name="T64" fmla="*/ 255 w 953"/>
                <a:gd name="T65" fmla="*/ 882 h 988"/>
                <a:gd name="T66" fmla="*/ 235 w 953"/>
                <a:gd name="T67" fmla="*/ 882 h 988"/>
                <a:gd name="T68" fmla="*/ 155 w 953"/>
                <a:gd name="T69" fmla="*/ 527 h 988"/>
                <a:gd name="T70" fmla="*/ 275 w 953"/>
                <a:gd name="T71" fmla="*/ 452 h 988"/>
                <a:gd name="T72" fmla="*/ 155 w 953"/>
                <a:gd name="T73" fmla="*/ 527 h 988"/>
                <a:gd name="T74" fmla="*/ 413 w 953"/>
                <a:gd name="T75" fmla="*/ 416 h 988"/>
                <a:gd name="T76" fmla="*/ 335 w 953"/>
                <a:gd name="T77" fmla="*/ 460 h 988"/>
                <a:gd name="T78" fmla="*/ 223 w 953"/>
                <a:gd name="T79" fmla="*/ 51 h 988"/>
                <a:gd name="T80" fmla="*/ 180 w 953"/>
                <a:gd name="T81" fmla="*/ 204 h 988"/>
                <a:gd name="T82" fmla="*/ 55 w 953"/>
                <a:gd name="T83" fmla="*/ 271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3" h="988">
                  <a:moveTo>
                    <a:pt x="103" y="754"/>
                  </a:moveTo>
                  <a:cubicBezTo>
                    <a:pt x="111" y="766"/>
                    <a:pt x="104" y="770"/>
                    <a:pt x="125" y="770"/>
                  </a:cubicBezTo>
                  <a:cubicBezTo>
                    <a:pt x="161" y="770"/>
                    <a:pt x="229" y="706"/>
                    <a:pt x="273" y="702"/>
                  </a:cubicBezTo>
                  <a:cubicBezTo>
                    <a:pt x="268" y="757"/>
                    <a:pt x="162" y="841"/>
                    <a:pt x="162" y="894"/>
                  </a:cubicBezTo>
                  <a:cubicBezTo>
                    <a:pt x="162" y="909"/>
                    <a:pt x="172" y="919"/>
                    <a:pt x="177" y="939"/>
                  </a:cubicBezTo>
                  <a:cubicBezTo>
                    <a:pt x="180" y="943"/>
                    <a:pt x="184" y="937"/>
                    <a:pt x="199" y="939"/>
                  </a:cubicBezTo>
                  <a:cubicBezTo>
                    <a:pt x="199" y="924"/>
                    <a:pt x="199" y="924"/>
                    <a:pt x="199" y="924"/>
                  </a:cubicBezTo>
                  <a:cubicBezTo>
                    <a:pt x="221" y="924"/>
                    <a:pt x="221" y="924"/>
                    <a:pt x="221" y="924"/>
                  </a:cubicBezTo>
                  <a:cubicBezTo>
                    <a:pt x="259" y="926"/>
                    <a:pt x="261" y="988"/>
                    <a:pt x="307" y="976"/>
                  </a:cubicBezTo>
                  <a:cubicBezTo>
                    <a:pt x="336" y="933"/>
                    <a:pt x="340" y="866"/>
                    <a:pt x="354" y="776"/>
                  </a:cubicBezTo>
                  <a:cubicBezTo>
                    <a:pt x="358" y="694"/>
                    <a:pt x="389" y="656"/>
                    <a:pt x="437" y="615"/>
                  </a:cubicBezTo>
                  <a:cubicBezTo>
                    <a:pt x="465" y="592"/>
                    <a:pt x="715" y="431"/>
                    <a:pt x="739" y="429"/>
                  </a:cubicBezTo>
                  <a:cubicBezTo>
                    <a:pt x="726" y="475"/>
                    <a:pt x="692" y="518"/>
                    <a:pt x="658" y="542"/>
                  </a:cubicBezTo>
                  <a:cubicBezTo>
                    <a:pt x="612" y="574"/>
                    <a:pt x="571" y="603"/>
                    <a:pt x="571" y="687"/>
                  </a:cubicBezTo>
                  <a:cubicBezTo>
                    <a:pt x="571" y="822"/>
                    <a:pt x="585" y="826"/>
                    <a:pt x="665" y="879"/>
                  </a:cubicBezTo>
                  <a:cubicBezTo>
                    <a:pt x="798" y="887"/>
                    <a:pt x="798" y="887"/>
                    <a:pt x="798" y="887"/>
                  </a:cubicBezTo>
                  <a:cubicBezTo>
                    <a:pt x="842" y="887"/>
                    <a:pt x="842" y="887"/>
                    <a:pt x="842" y="887"/>
                  </a:cubicBezTo>
                  <a:cubicBezTo>
                    <a:pt x="886" y="887"/>
                    <a:pt x="953" y="866"/>
                    <a:pt x="953" y="828"/>
                  </a:cubicBezTo>
                  <a:cubicBezTo>
                    <a:pt x="953" y="806"/>
                    <a:pt x="953" y="806"/>
                    <a:pt x="953" y="806"/>
                  </a:cubicBezTo>
                  <a:cubicBezTo>
                    <a:pt x="953" y="777"/>
                    <a:pt x="917" y="772"/>
                    <a:pt x="887" y="772"/>
                  </a:cubicBezTo>
                  <a:cubicBezTo>
                    <a:pt x="872" y="772"/>
                    <a:pt x="872" y="772"/>
                    <a:pt x="872" y="772"/>
                  </a:cubicBezTo>
                  <a:cubicBezTo>
                    <a:pt x="830" y="772"/>
                    <a:pt x="730" y="781"/>
                    <a:pt x="704" y="774"/>
                  </a:cubicBezTo>
                  <a:cubicBezTo>
                    <a:pt x="655" y="759"/>
                    <a:pt x="658" y="685"/>
                    <a:pt x="680" y="650"/>
                  </a:cubicBezTo>
                  <a:cubicBezTo>
                    <a:pt x="680" y="628"/>
                    <a:pt x="680" y="628"/>
                    <a:pt x="680" y="628"/>
                  </a:cubicBezTo>
                  <a:cubicBezTo>
                    <a:pt x="738" y="589"/>
                    <a:pt x="724" y="563"/>
                    <a:pt x="759" y="516"/>
                  </a:cubicBezTo>
                  <a:cubicBezTo>
                    <a:pt x="775" y="495"/>
                    <a:pt x="842" y="440"/>
                    <a:pt x="842" y="414"/>
                  </a:cubicBezTo>
                  <a:cubicBezTo>
                    <a:pt x="842" y="392"/>
                    <a:pt x="842" y="392"/>
                    <a:pt x="842" y="392"/>
                  </a:cubicBezTo>
                  <a:cubicBezTo>
                    <a:pt x="784" y="378"/>
                    <a:pt x="791" y="355"/>
                    <a:pt x="721" y="389"/>
                  </a:cubicBezTo>
                  <a:cubicBezTo>
                    <a:pt x="687" y="406"/>
                    <a:pt x="652" y="425"/>
                    <a:pt x="621" y="444"/>
                  </a:cubicBezTo>
                  <a:cubicBezTo>
                    <a:pt x="577" y="469"/>
                    <a:pt x="474" y="562"/>
                    <a:pt x="428" y="562"/>
                  </a:cubicBezTo>
                  <a:cubicBezTo>
                    <a:pt x="415" y="562"/>
                    <a:pt x="402" y="524"/>
                    <a:pt x="399" y="510"/>
                  </a:cubicBezTo>
                  <a:cubicBezTo>
                    <a:pt x="332" y="516"/>
                    <a:pt x="302" y="557"/>
                    <a:pt x="302" y="628"/>
                  </a:cubicBezTo>
                  <a:cubicBezTo>
                    <a:pt x="264" y="663"/>
                    <a:pt x="224" y="688"/>
                    <a:pt x="181" y="702"/>
                  </a:cubicBezTo>
                  <a:cubicBezTo>
                    <a:pt x="177" y="695"/>
                    <a:pt x="177" y="695"/>
                    <a:pt x="177" y="695"/>
                  </a:cubicBezTo>
                  <a:cubicBezTo>
                    <a:pt x="182" y="628"/>
                    <a:pt x="297" y="529"/>
                    <a:pt x="347" y="495"/>
                  </a:cubicBezTo>
                  <a:cubicBezTo>
                    <a:pt x="414" y="495"/>
                    <a:pt x="505" y="449"/>
                    <a:pt x="510" y="392"/>
                  </a:cubicBezTo>
                  <a:cubicBezTo>
                    <a:pt x="436" y="382"/>
                    <a:pt x="436" y="382"/>
                    <a:pt x="436" y="382"/>
                  </a:cubicBezTo>
                  <a:cubicBezTo>
                    <a:pt x="412" y="348"/>
                    <a:pt x="412" y="348"/>
                    <a:pt x="412" y="348"/>
                  </a:cubicBezTo>
                  <a:cubicBezTo>
                    <a:pt x="471" y="262"/>
                    <a:pt x="916" y="66"/>
                    <a:pt x="916" y="37"/>
                  </a:cubicBezTo>
                  <a:cubicBezTo>
                    <a:pt x="916" y="21"/>
                    <a:pt x="914" y="27"/>
                    <a:pt x="909" y="7"/>
                  </a:cubicBezTo>
                  <a:cubicBezTo>
                    <a:pt x="892" y="3"/>
                    <a:pt x="892" y="0"/>
                    <a:pt x="872" y="0"/>
                  </a:cubicBezTo>
                  <a:cubicBezTo>
                    <a:pt x="840" y="0"/>
                    <a:pt x="827" y="22"/>
                    <a:pt x="791" y="22"/>
                  </a:cubicBezTo>
                  <a:cubicBezTo>
                    <a:pt x="760" y="22"/>
                    <a:pt x="744" y="7"/>
                    <a:pt x="702" y="7"/>
                  </a:cubicBezTo>
                  <a:cubicBezTo>
                    <a:pt x="675" y="7"/>
                    <a:pt x="675" y="7"/>
                    <a:pt x="675" y="7"/>
                  </a:cubicBezTo>
                  <a:cubicBezTo>
                    <a:pt x="527" y="10"/>
                    <a:pt x="404" y="155"/>
                    <a:pt x="361" y="155"/>
                  </a:cubicBezTo>
                  <a:cubicBezTo>
                    <a:pt x="330" y="155"/>
                    <a:pt x="322" y="143"/>
                    <a:pt x="283" y="143"/>
                  </a:cubicBezTo>
                  <a:cubicBezTo>
                    <a:pt x="269" y="143"/>
                    <a:pt x="270" y="145"/>
                    <a:pt x="261" y="151"/>
                  </a:cubicBezTo>
                  <a:cubicBezTo>
                    <a:pt x="272" y="167"/>
                    <a:pt x="325" y="229"/>
                    <a:pt x="347" y="229"/>
                  </a:cubicBezTo>
                  <a:cubicBezTo>
                    <a:pt x="396" y="239"/>
                    <a:pt x="448" y="55"/>
                    <a:pt x="650" y="32"/>
                  </a:cubicBezTo>
                  <a:cubicBezTo>
                    <a:pt x="665" y="29"/>
                    <a:pt x="665" y="29"/>
                    <a:pt x="665" y="29"/>
                  </a:cubicBezTo>
                  <a:cubicBezTo>
                    <a:pt x="712" y="29"/>
                    <a:pt x="702" y="63"/>
                    <a:pt x="764" y="68"/>
                  </a:cubicBezTo>
                  <a:cubicBezTo>
                    <a:pt x="754" y="105"/>
                    <a:pt x="496" y="269"/>
                    <a:pt x="445" y="298"/>
                  </a:cubicBezTo>
                  <a:cubicBezTo>
                    <a:pt x="383" y="334"/>
                    <a:pt x="336" y="367"/>
                    <a:pt x="279" y="405"/>
                  </a:cubicBezTo>
                  <a:cubicBezTo>
                    <a:pt x="259" y="418"/>
                    <a:pt x="233" y="437"/>
                    <a:pt x="205" y="454"/>
                  </a:cubicBezTo>
                  <a:cubicBezTo>
                    <a:pt x="170" y="475"/>
                    <a:pt x="133" y="495"/>
                    <a:pt x="117" y="517"/>
                  </a:cubicBezTo>
                  <a:cubicBezTo>
                    <a:pt x="59" y="517"/>
                    <a:pt x="10" y="567"/>
                    <a:pt x="10" y="621"/>
                  </a:cubicBezTo>
                  <a:cubicBezTo>
                    <a:pt x="10" y="639"/>
                    <a:pt x="12" y="663"/>
                    <a:pt x="39" y="650"/>
                  </a:cubicBezTo>
                  <a:cubicBezTo>
                    <a:pt x="147" y="599"/>
                    <a:pt x="147" y="599"/>
                    <a:pt x="147" y="599"/>
                  </a:cubicBezTo>
                  <a:cubicBezTo>
                    <a:pt x="144" y="646"/>
                    <a:pt x="103" y="645"/>
                    <a:pt x="103" y="754"/>
                  </a:cubicBezTo>
                  <a:close/>
                  <a:moveTo>
                    <a:pt x="353" y="605"/>
                  </a:moveTo>
                  <a:cubicBezTo>
                    <a:pt x="355" y="605"/>
                    <a:pt x="357" y="608"/>
                    <a:pt x="357" y="612"/>
                  </a:cubicBezTo>
                  <a:cubicBezTo>
                    <a:pt x="357" y="616"/>
                    <a:pt x="355" y="619"/>
                    <a:pt x="353" y="619"/>
                  </a:cubicBezTo>
                  <a:cubicBezTo>
                    <a:pt x="351" y="619"/>
                    <a:pt x="349" y="616"/>
                    <a:pt x="349" y="612"/>
                  </a:cubicBezTo>
                  <a:cubicBezTo>
                    <a:pt x="349" y="608"/>
                    <a:pt x="351" y="605"/>
                    <a:pt x="353" y="605"/>
                  </a:cubicBezTo>
                  <a:close/>
                  <a:moveTo>
                    <a:pt x="245" y="866"/>
                  </a:moveTo>
                  <a:cubicBezTo>
                    <a:pt x="250" y="866"/>
                    <a:pt x="255" y="873"/>
                    <a:pt x="255" y="882"/>
                  </a:cubicBezTo>
                  <a:cubicBezTo>
                    <a:pt x="255" y="890"/>
                    <a:pt x="250" y="897"/>
                    <a:pt x="245" y="897"/>
                  </a:cubicBezTo>
                  <a:cubicBezTo>
                    <a:pt x="239" y="897"/>
                    <a:pt x="235" y="890"/>
                    <a:pt x="235" y="882"/>
                  </a:cubicBezTo>
                  <a:cubicBezTo>
                    <a:pt x="235" y="873"/>
                    <a:pt x="239" y="866"/>
                    <a:pt x="245" y="866"/>
                  </a:cubicBezTo>
                  <a:close/>
                  <a:moveTo>
                    <a:pt x="155" y="527"/>
                  </a:moveTo>
                  <a:cubicBezTo>
                    <a:pt x="187" y="497"/>
                    <a:pt x="225" y="474"/>
                    <a:pt x="260" y="449"/>
                  </a:cubicBezTo>
                  <a:cubicBezTo>
                    <a:pt x="271" y="442"/>
                    <a:pt x="276" y="444"/>
                    <a:pt x="275" y="452"/>
                  </a:cubicBezTo>
                  <a:cubicBezTo>
                    <a:pt x="259" y="478"/>
                    <a:pt x="232" y="508"/>
                    <a:pt x="192" y="529"/>
                  </a:cubicBezTo>
                  <a:cubicBezTo>
                    <a:pt x="168" y="541"/>
                    <a:pt x="149" y="533"/>
                    <a:pt x="155" y="527"/>
                  </a:cubicBezTo>
                  <a:close/>
                  <a:moveTo>
                    <a:pt x="363" y="417"/>
                  </a:moveTo>
                  <a:cubicBezTo>
                    <a:pt x="384" y="405"/>
                    <a:pt x="407" y="404"/>
                    <a:pt x="413" y="416"/>
                  </a:cubicBezTo>
                  <a:cubicBezTo>
                    <a:pt x="419" y="427"/>
                    <a:pt x="407" y="446"/>
                    <a:pt x="385" y="458"/>
                  </a:cubicBezTo>
                  <a:cubicBezTo>
                    <a:pt x="364" y="470"/>
                    <a:pt x="341" y="471"/>
                    <a:pt x="335" y="460"/>
                  </a:cubicBezTo>
                  <a:cubicBezTo>
                    <a:pt x="329" y="449"/>
                    <a:pt x="341" y="430"/>
                    <a:pt x="363" y="417"/>
                  </a:cubicBezTo>
                  <a:close/>
                  <a:moveTo>
                    <a:pt x="223" y="51"/>
                  </a:moveTo>
                  <a:cubicBezTo>
                    <a:pt x="236" y="24"/>
                    <a:pt x="269" y="38"/>
                    <a:pt x="233" y="133"/>
                  </a:cubicBezTo>
                  <a:cubicBezTo>
                    <a:pt x="224" y="156"/>
                    <a:pt x="200" y="178"/>
                    <a:pt x="180" y="204"/>
                  </a:cubicBezTo>
                  <a:cubicBezTo>
                    <a:pt x="151" y="241"/>
                    <a:pt x="118" y="281"/>
                    <a:pt x="79" y="323"/>
                  </a:cubicBezTo>
                  <a:cubicBezTo>
                    <a:pt x="17" y="375"/>
                    <a:pt x="0" y="328"/>
                    <a:pt x="55" y="271"/>
                  </a:cubicBezTo>
                  <a:cubicBezTo>
                    <a:pt x="120" y="209"/>
                    <a:pt x="178" y="148"/>
                    <a:pt x="22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7AF665A5-12EE-4007-A75C-EC54328449C3}"/>
                </a:ext>
              </a:extLst>
            </p:cNvPr>
            <p:cNvSpPr/>
            <p:nvPr/>
          </p:nvSpPr>
          <p:spPr bwMode="auto">
            <a:xfrm>
              <a:off x="9072563" y="2971800"/>
              <a:ext cx="873125" cy="757238"/>
            </a:xfrm>
            <a:custGeom>
              <a:avLst/>
              <a:gdLst>
                <a:gd name="T0" fmla="*/ 599 w 1124"/>
                <a:gd name="T1" fmla="*/ 889 h 976"/>
                <a:gd name="T2" fmla="*/ 554 w 1124"/>
                <a:gd name="T3" fmla="*/ 803 h 976"/>
                <a:gd name="T4" fmla="*/ 614 w 1124"/>
                <a:gd name="T5" fmla="*/ 889 h 976"/>
                <a:gd name="T6" fmla="*/ 489 w 1124"/>
                <a:gd name="T7" fmla="*/ 514 h 976"/>
                <a:gd name="T8" fmla="*/ 461 w 1124"/>
                <a:gd name="T9" fmla="*/ 514 h 976"/>
                <a:gd name="T10" fmla="*/ 493 w 1124"/>
                <a:gd name="T11" fmla="*/ 439 h 976"/>
                <a:gd name="T12" fmla="*/ 493 w 1124"/>
                <a:gd name="T13" fmla="*/ 462 h 976"/>
                <a:gd name="T14" fmla="*/ 493 w 1124"/>
                <a:gd name="T15" fmla="*/ 439 h 976"/>
                <a:gd name="T16" fmla="*/ 733 w 1124"/>
                <a:gd name="T17" fmla="*/ 364 h 976"/>
                <a:gd name="T18" fmla="*/ 706 w 1124"/>
                <a:gd name="T19" fmla="*/ 364 h 976"/>
                <a:gd name="T20" fmla="*/ 723 w 1124"/>
                <a:gd name="T21" fmla="*/ 502 h 976"/>
                <a:gd name="T22" fmla="*/ 594 w 1124"/>
                <a:gd name="T23" fmla="*/ 564 h 976"/>
                <a:gd name="T24" fmla="*/ 723 w 1124"/>
                <a:gd name="T25" fmla="*/ 502 h 976"/>
                <a:gd name="T26" fmla="*/ 717 w 1124"/>
                <a:gd name="T27" fmla="*/ 274 h 976"/>
                <a:gd name="T28" fmla="*/ 806 w 1124"/>
                <a:gd name="T29" fmla="*/ 367 h 976"/>
                <a:gd name="T30" fmla="*/ 858 w 1124"/>
                <a:gd name="T31" fmla="*/ 141 h 976"/>
                <a:gd name="T32" fmla="*/ 717 w 1124"/>
                <a:gd name="T33" fmla="*/ 244 h 976"/>
                <a:gd name="T34" fmla="*/ 0 w 1124"/>
                <a:gd name="T35" fmla="*/ 762 h 976"/>
                <a:gd name="T36" fmla="*/ 102 w 1124"/>
                <a:gd name="T37" fmla="*/ 806 h 976"/>
                <a:gd name="T38" fmla="*/ 285 w 1124"/>
                <a:gd name="T39" fmla="*/ 626 h 976"/>
                <a:gd name="T40" fmla="*/ 540 w 1124"/>
                <a:gd name="T41" fmla="*/ 570 h 976"/>
                <a:gd name="T42" fmla="*/ 503 w 1124"/>
                <a:gd name="T43" fmla="*/ 666 h 976"/>
                <a:gd name="T44" fmla="*/ 673 w 1124"/>
                <a:gd name="T45" fmla="*/ 607 h 976"/>
                <a:gd name="T46" fmla="*/ 514 w 1124"/>
                <a:gd name="T47" fmla="*/ 784 h 976"/>
                <a:gd name="T48" fmla="*/ 651 w 1124"/>
                <a:gd name="T49" fmla="*/ 976 h 976"/>
                <a:gd name="T50" fmla="*/ 807 w 1124"/>
                <a:gd name="T51" fmla="*/ 836 h 976"/>
                <a:gd name="T52" fmla="*/ 799 w 1124"/>
                <a:gd name="T53" fmla="*/ 748 h 976"/>
                <a:gd name="T54" fmla="*/ 850 w 1124"/>
                <a:gd name="T55" fmla="*/ 710 h 976"/>
                <a:gd name="T56" fmla="*/ 791 w 1124"/>
                <a:gd name="T57" fmla="*/ 584 h 976"/>
                <a:gd name="T58" fmla="*/ 769 w 1124"/>
                <a:gd name="T59" fmla="*/ 525 h 976"/>
                <a:gd name="T60" fmla="*/ 1109 w 1124"/>
                <a:gd name="T61" fmla="*/ 466 h 976"/>
                <a:gd name="T62" fmla="*/ 1041 w 1124"/>
                <a:gd name="T63" fmla="*/ 396 h 976"/>
                <a:gd name="T64" fmla="*/ 946 w 1124"/>
                <a:gd name="T65" fmla="*/ 169 h 976"/>
                <a:gd name="T66" fmla="*/ 747 w 1124"/>
                <a:gd name="T67" fmla="*/ 45 h 976"/>
                <a:gd name="T68" fmla="*/ 651 w 1124"/>
                <a:gd name="T69" fmla="*/ 15 h 976"/>
                <a:gd name="T70" fmla="*/ 636 w 1124"/>
                <a:gd name="T71" fmla="*/ 170 h 976"/>
                <a:gd name="T72" fmla="*/ 624 w 1124"/>
                <a:gd name="T73" fmla="*/ 306 h 976"/>
                <a:gd name="T74" fmla="*/ 584 w 1124"/>
                <a:gd name="T75" fmla="*/ 436 h 976"/>
                <a:gd name="T76" fmla="*/ 599 w 1124"/>
                <a:gd name="T77" fmla="*/ 481 h 976"/>
                <a:gd name="T78" fmla="*/ 547 w 1124"/>
                <a:gd name="T79" fmla="*/ 496 h 976"/>
                <a:gd name="T80" fmla="*/ 498 w 1124"/>
                <a:gd name="T81" fmla="*/ 153 h 976"/>
                <a:gd name="T82" fmla="*/ 472 w 1124"/>
                <a:gd name="T83" fmla="*/ 292 h 976"/>
                <a:gd name="T84" fmla="*/ 429 w 1124"/>
                <a:gd name="T85" fmla="*/ 435 h 976"/>
                <a:gd name="T86" fmla="*/ 266 w 1124"/>
                <a:gd name="T87" fmla="*/ 289 h 976"/>
                <a:gd name="T88" fmla="*/ 396 w 1124"/>
                <a:gd name="T89" fmla="*/ 501 h 976"/>
                <a:gd name="T90" fmla="*/ 291 w 1124"/>
                <a:gd name="T91" fmla="*/ 572 h 976"/>
                <a:gd name="T92" fmla="*/ 303 w 1124"/>
                <a:gd name="T93" fmla="*/ 481 h 976"/>
                <a:gd name="T94" fmla="*/ 279 w 1124"/>
                <a:gd name="T95" fmla="*/ 457 h 976"/>
                <a:gd name="T96" fmla="*/ 112 w 1124"/>
                <a:gd name="T97" fmla="*/ 579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4" h="976">
                  <a:moveTo>
                    <a:pt x="614" y="889"/>
                  </a:moveTo>
                  <a:cubicBezTo>
                    <a:pt x="599" y="889"/>
                    <a:pt x="599" y="889"/>
                    <a:pt x="599" y="889"/>
                  </a:cubicBezTo>
                  <a:cubicBezTo>
                    <a:pt x="575" y="889"/>
                    <a:pt x="554" y="855"/>
                    <a:pt x="554" y="828"/>
                  </a:cubicBezTo>
                  <a:cubicBezTo>
                    <a:pt x="554" y="803"/>
                    <a:pt x="554" y="803"/>
                    <a:pt x="554" y="803"/>
                  </a:cubicBezTo>
                  <a:cubicBezTo>
                    <a:pt x="586" y="792"/>
                    <a:pt x="628" y="787"/>
                    <a:pt x="673" y="784"/>
                  </a:cubicBezTo>
                  <a:cubicBezTo>
                    <a:pt x="672" y="823"/>
                    <a:pt x="650" y="889"/>
                    <a:pt x="614" y="889"/>
                  </a:cubicBezTo>
                  <a:close/>
                  <a:moveTo>
                    <a:pt x="475" y="497"/>
                  </a:moveTo>
                  <a:cubicBezTo>
                    <a:pt x="483" y="497"/>
                    <a:pt x="489" y="505"/>
                    <a:pt x="489" y="514"/>
                  </a:cubicBezTo>
                  <a:cubicBezTo>
                    <a:pt x="489" y="523"/>
                    <a:pt x="483" y="531"/>
                    <a:pt x="475" y="531"/>
                  </a:cubicBezTo>
                  <a:cubicBezTo>
                    <a:pt x="467" y="531"/>
                    <a:pt x="461" y="523"/>
                    <a:pt x="461" y="514"/>
                  </a:cubicBezTo>
                  <a:cubicBezTo>
                    <a:pt x="461" y="505"/>
                    <a:pt x="467" y="497"/>
                    <a:pt x="475" y="497"/>
                  </a:cubicBezTo>
                  <a:close/>
                  <a:moveTo>
                    <a:pt x="493" y="439"/>
                  </a:moveTo>
                  <a:cubicBezTo>
                    <a:pt x="496" y="439"/>
                    <a:pt x="499" y="444"/>
                    <a:pt x="499" y="450"/>
                  </a:cubicBezTo>
                  <a:cubicBezTo>
                    <a:pt x="499" y="457"/>
                    <a:pt x="496" y="462"/>
                    <a:pt x="493" y="462"/>
                  </a:cubicBezTo>
                  <a:cubicBezTo>
                    <a:pt x="489" y="462"/>
                    <a:pt x="486" y="457"/>
                    <a:pt x="486" y="450"/>
                  </a:cubicBezTo>
                  <a:cubicBezTo>
                    <a:pt x="486" y="444"/>
                    <a:pt x="489" y="439"/>
                    <a:pt x="493" y="439"/>
                  </a:cubicBezTo>
                  <a:close/>
                  <a:moveTo>
                    <a:pt x="726" y="323"/>
                  </a:moveTo>
                  <a:cubicBezTo>
                    <a:pt x="733" y="323"/>
                    <a:pt x="737" y="342"/>
                    <a:pt x="733" y="364"/>
                  </a:cubicBezTo>
                  <a:cubicBezTo>
                    <a:pt x="729" y="385"/>
                    <a:pt x="728" y="401"/>
                    <a:pt x="718" y="401"/>
                  </a:cubicBezTo>
                  <a:cubicBezTo>
                    <a:pt x="707" y="401"/>
                    <a:pt x="706" y="384"/>
                    <a:pt x="706" y="364"/>
                  </a:cubicBezTo>
                  <a:cubicBezTo>
                    <a:pt x="706" y="343"/>
                    <a:pt x="718" y="323"/>
                    <a:pt x="726" y="323"/>
                  </a:cubicBezTo>
                  <a:close/>
                  <a:moveTo>
                    <a:pt x="723" y="502"/>
                  </a:moveTo>
                  <a:cubicBezTo>
                    <a:pt x="732" y="503"/>
                    <a:pt x="728" y="516"/>
                    <a:pt x="711" y="518"/>
                  </a:cubicBezTo>
                  <a:cubicBezTo>
                    <a:pt x="663" y="527"/>
                    <a:pt x="639" y="541"/>
                    <a:pt x="594" y="564"/>
                  </a:cubicBezTo>
                  <a:cubicBezTo>
                    <a:pt x="571" y="576"/>
                    <a:pt x="550" y="554"/>
                    <a:pt x="598" y="527"/>
                  </a:cubicBezTo>
                  <a:cubicBezTo>
                    <a:pt x="634" y="507"/>
                    <a:pt x="678" y="501"/>
                    <a:pt x="723" y="502"/>
                  </a:cubicBezTo>
                  <a:close/>
                  <a:moveTo>
                    <a:pt x="717" y="244"/>
                  </a:moveTo>
                  <a:cubicBezTo>
                    <a:pt x="717" y="274"/>
                    <a:pt x="717" y="274"/>
                    <a:pt x="717" y="274"/>
                  </a:cubicBezTo>
                  <a:cubicBezTo>
                    <a:pt x="776" y="274"/>
                    <a:pt x="776" y="274"/>
                    <a:pt x="776" y="274"/>
                  </a:cubicBezTo>
                  <a:cubicBezTo>
                    <a:pt x="821" y="274"/>
                    <a:pt x="806" y="337"/>
                    <a:pt x="806" y="367"/>
                  </a:cubicBezTo>
                  <a:cubicBezTo>
                    <a:pt x="845" y="341"/>
                    <a:pt x="874" y="228"/>
                    <a:pt x="887" y="170"/>
                  </a:cubicBezTo>
                  <a:cubicBezTo>
                    <a:pt x="879" y="154"/>
                    <a:pt x="881" y="141"/>
                    <a:pt x="858" y="141"/>
                  </a:cubicBezTo>
                  <a:cubicBezTo>
                    <a:pt x="843" y="141"/>
                    <a:pt x="843" y="141"/>
                    <a:pt x="843" y="141"/>
                  </a:cubicBezTo>
                  <a:cubicBezTo>
                    <a:pt x="799" y="141"/>
                    <a:pt x="717" y="210"/>
                    <a:pt x="717" y="244"/>
                  </a:cubicBezTo>
                  <a:close/>
                  <a:moveTo>
                    <a:pt x="7" y="725"/>
                  </a:moveTo>
                  <a:cubicBezTo>
                    <a:pt x="3" y="741"/>
                    <a:pt x="0" y="742"/>
                    <a:pt x="0" y="762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49"/>
                    <a:pt x="86" y="815"/>
                    <a:pt x="102" y="806"/>
                  </a:cubicBezTo>
                  <a:cubicBezTo>
                    <a:pt x="111" y="717"/>
                    <a:pt x="111" y="717"/>
                    <a:pt x="111" y="717"/>
                  </a:cubicBezTo>
                  <a:cubicBezTo>
                    <a:pt x="155" y="687"/>
                    <a:pt x="221" y="638"/>
                    <a:pt x="285" y="626"/>
                  </a:cubicBezTo>
                  <a:cubicBezTo>
                    <a:pt x="326" y="618"/>
                    <a:pt x="501" y="570"/>
                    <a:pt x="503" y="570"/>
                  </a:cubicBezTo>
                  <a:cubicBezTo>
                    <a:pt x="540" y="570"/>
                    <a:pt x="540" y="570"/>
                    <a:pt x="540" y="570"/>
                  </a:cubicBezTo>
                  <a:cubicBezTo>
                    <a:pt x="531" y="603"/>
                    <a:pt x="503" y="618"/>
                    <a:pt x="503" y="658"/>
                  </a:cubicBezTo>
                  <a:cubicBezTo>
                    <a:pt x="503" y="666"/>
                    <a:pt x="503" y="666"/>
                    <a:pt x="503" y="666"/>
                  </a:cubicBezTo>
                  <a:cubicBezTo>
                    <a:pt x="503" y="701"/>
                    <a:pt x="537" y="680"/>
                    <a:pt x="577" y="680"/>
                  </a:cubicBezTo>
                  <a:cubicBezTo>
                    <a:pt x="603" y="641"/>
                    <a:pt x="618" y="619"/>
                    <a:pt x="673" y="607"/>
                  </a:cubicBezTo>
                  <a:cubicBezTo>
                    <a:pt x="673" y="658"/>
                    <a:pt x="673" y="658"/>
                    <a:pt x="673" y="658"/>
                  </a:cubicBezTo>
                  <a:cubicBezTo>
                    <a:pt x="673" y="726"/>
                    <a:pt x="514" y="702"/>
                    <a:pt x="514" y="784"/>
                  </a:cubicBezTo>
                  <a:cubicBezTo>
                    <a:pt x="514" y="871"/>
                    <a:pt x="563" y="976"/>
                    <a:pt x="643" y="976"/>
                  </a:cubicBezTo>
                  <a:cubicBezTo>
                    <a:pt x="651" y="976"/>
                    <a:pt x="651" y="976"/>
                    <a:pt x="651" y="976"/>
                  </a:cubicBezTo>
                  <a:cubicBezTo>
                    <a:pt x="693" y="976"/>
                    <a:pt x="741" y="962"/>
                    <a:pt x="759" y="937"/>
                  </a:cubicBezTo>
                  <a:cubicBezTo>
                    <a:pt x="767" y="926"/>
                    <a:pt x="807" y="845"/>
                    <a:pt x="807" y="836"/>
                  </a:cubicBezTo>
                  <a:cubicBezTo>
                    <a:pt x="794" y="782"/>
                    <a:pt x="794" y="782"/>
                    <a:pt x="794" y="782"/>
                  </a:cubicBezTo>
                  <a:cubicBezTo>
                    <a:pt x="799" y="748"/>
                    <a:pt x="799" y="748"/>
                    <a:pt x="799" y="748"/>
                  </a:cubicBezTo>
                  <a:cubicBezTo>
                    <a:pt x="846" y="737"/>
                    <a:pt x="846" y="737"/>
                    <a:pt x="846" y="737"/>
                  </a:cubicBezTo>
                  <a:cubicBezTo>
                    <a:pt x="850" y="710"/>
                    <a:pt x="850" y="710"/>
                    <a:pt x="850" y="710"/>
                  </a:cubicBezTo>
                  <a:cubicBezTo>
                    <a:pt x="818" y="663"/>
                    <a:pt x="827" y="677"/>
                    <a:pt x="766" y="663"/>
                  </a:cubicBezTo>
                  <a:cubicBezTo>
                    <a:pt x="767" y="603"/>
                    <a:pt x="791" y="614"/>
                    <a:pt x="791" y="584"/>
                  </a:cubicBezTo>
                  <a:cubicBezTo>
                    <a:pt x="791" y="570"/>
                    <a:pt x="791" y="570"/>
                    <a:pt x="791" y="570"/>
                  </a:cubicBezTo>
                  <a:cubicBezTo>
                    <a:pt x="791" y="544"/>
                    <a:pt x="778" y="559"/>
                    <a:pt x="769" y="525"/>
                  </a:cubicBezTo>
                  <a:cubicBezTo>
                    <a:pt x="840" y="525"/>
                    <a:pt x="948" y="466"/>
                    <a:pt x="1028" y="466"/>
                  </a:cubicBezTo>
                  <a:cubicBezTo>
                    <a:pt x="1109" y="466"/>
                    <a:pt x="1109" y="466"/>
                    <a:pt x="1109" y="466"/>
                  </a:cubicBezTo>
                  <a:cubicBezTo>
                    <a:pt x="1114" y="446"/>
                    <a:pt x="1124" y="441"/>
                    <a:pt x="1124" y="426"/>
                  </a:cubicBezTo>
                  <a:cubicBezTo>
                    <a:pt x="1124" y="407"/>
                    <a:pt x="1087" y="391"/>
                    <a:pt x="1041" y="396"/>
                  </a:cubicBezTo>
                  <a:cubicBezTo>
                    <a:pt x="979" y="403"/>
                    <a:pt x="908" y="398"/>
                    <a:pt x="872" y="407"/>
                  </a:cubicBezTo>
                  <a:cubicBezTo>
                    <a:pt x="874" y="347"/>
                    <a:pt x="946" y="236"/>
                    <a:pt x="946" y="169"/>
                  </a:cubicBezTo>
                  <a:cubicBezTo>
                    <a:pt x="946" y="3"/>
                    <a:pt x="739" y="155"/>
                    <a:pt x="715" y="164"/>
                  </a:cubicBezTo>
                  <a:cubicBezTo>
                    <a:pt x="734" y="124"/>
                    <a:pt x="748" y="85"/>
                    <a:pt x="747" y="45"/>
                  </a:cubicBezTo>
                  <a:cubicBezTo>
                    <a:pt x="730" y="20"/>
                    <a:pt x="720" y="0"/>
                    <a:pt x="680" y="0"/>
                  </a:cubicBezTo>
                  <a:cubicBezTo>
                    <a:pt x="670" y="0"/>
                    <a:pt x="676" y="8"/>
                    <a:pt x="651" y="15"/>
                  </a:cubicBezTo>
                  <a:cubicBezTo>
                    <a:pt x="654" y="61"/>
                    <a:pt x="673" y="36"/>
                    <a:pt x="673" y="67"/>
                  </a:cubicBezTo>
                  <a:cubicBezTo>
                    <a:pt x="673" y="107"/>
                    <a:pt x="636" y="130"/>
                    <a:pt x="636" y="170"/>
                  </a:cubicBezTo>
                  <a:cubicBezTo>
                    <a:pt x="636" y="200"/>
                    <a:pt x="636" y="200"/>
                    <a:pt x="636" y="200"/>
                  </a:cubicBezTo>
                  <a:cubicBezTo>
                    <a:pt x="636" y="269"/>
                    <a:pt x="659" y="250"/>
                    <a:pt x="624" y="306"/>
                  </a:cubicBezTo>
                  <a:cubicBezTo>
                    <a:pt x="605" y="336"/>
                    <a:pt x="592" y="370"/>
                    <a:pt x="577" y="399"/>
                  </a:cubicBezTo>
                  <a:cubicBezTo>
                    <a:pt x="580" y="416"/>
                    <a:pt x="584" y="416"/>
                    <a:pt x="584" y="436"/>
                  </a:cubicBezTo>
                  <a:cubicBezTo>
                    <a:pt x="584" y="456"/>
                    <a:pt x="580" y="457"/>
                    <a:pt x="576" y="474"/>
                  </a:cubicBezTo>
                  <a:cubicBezTo>
                    <a:pt x="599" y="481"/>
                    <a:pt x="599" y="481"/>
                    <a:pt x="599" y="481"/>
                  </a:cubicBezTo>
                  <a:cubicBezTo>
                    <a:pt x="602" y="497"/>
                    <a:pt x="594" y="500"/>
                    <a:pt x="573" y="500"/>
                  </a:cubicBezTo>
                  <a:cubicBezTo>
                    <a:pt x="547" y="496"/>
                    <a:pt x="547" y="496"/>
                    <a:pt x="547" y="496"/>
                  </a:cubicBezTo>
                  <a:cubicBezTo>
                    <a:pt x="545" y="428"/>
                    <a:pt x="529" y="332"/>
                    <a:pt x="516" y="268"/>
                  </a:cubicBezTo>
                  <a:cubicBezTo>
                    <a:pt x="509" y="235"/>
                    <a:pt x="505" y="192"/>
                    <a:pt x="498" y="153"/>
                  </a:cubicBezTo>
                  <a:cubicBezTo>
                    <a:pt x="489" y="102"/>
                    <a:pt x="513" y="57"/>
                    <a:pt x="473" y="48"/>
                  </a:cubicBezTo>
                  <a:cubicBezTo>
                    <a:pt x="460" y="131"/>
                    <a:pt x="464" y="212"/>
                    <a:pt x="472" y="292"/>
                  </a:cubicBezTo>
                  <a:cubicBezTo>
                    <a:pt x="475" y="323"/>
                    <a:pt x="474" y="354"/>
                    <a:pt x="480" y="385"/>
                  </a:cubicBezTo>
                  <a:cubicBezTo>
                    <a:pt x="470" y="400"/>
                    <a:pt x="453" y="435"/>
                    <a:pt x="429" y="435"/>
                  </a:cubicBezTo>
                  <a:cubicBezTo>
                    <a:pt x="412" y="435"/>
                    <a:pt x="357" y="244"/>
                    <a:pt x="318" y="244"/>
                  </a:cubicBezTo>
                  <a:cubicBezTo>
                    <a:pt x="283" y="244"/>
                    <a:pt x="273" y="260"/>
                    <a:pt x="266" y="289"/>
                  </a:cubicBezTo>
                  <a:cubicBezTo>
                    <a:pt x="320" y="303"/>
                    <a:pt x="343" y="347"/>
                    <a:pt x="364" y="397"/>
                  </a:cubicBezTo>
                  <a:cubicBezTo>
                    <a:pt x="371" y="413"/>
                    <a:pt x="390" y="468"/>
                    <a:pt x="396" y="501"/>
                  </a:cubicBezTo>
                  <a:cubicBezTo>
                    <a:pt x="405" y="514"/>
                    <a:pt x="419" y="540"/>
                    <a:pt x="421" y="547"/>
                  </a:cubicBezTo>
                  <a:cubicBezTo>
                    <a:pt x="389" y="563"/>
                    <a:pt x="334" y="563"/>
                    <a:pt x="291" y="572"/>
                  </a:cubicBezTo>
                  <a:cubicBezTo>
                    <a:pt x="231" y="585"/>
                    <a:pt x="218" y="612"/>
                    <a:pt x="177" y="621"/>
                  </a:cubicBezTo>
                  <a:cubicBezTo>
                    <a:pt x="193" y="553"/>
                    <a:pt x="219" y="481"/>
                    <a:pt x="303" y="481"/>
                  </a:cubicBezTo>
                  <a:cubicBezTo>
                    <a:pt x="347" y="481"/>
                    <a:pt x="347" y="481"/>
                    <a:pt x="347" y="481"/>
                  </a:cubicBezTo>
                  <a:cubicBezTo>
                    <a:pt x="339" y="457"/>
                    <a:pt x="310" y="457"/>
                    <a:pt x="279" y="457"/>
                  </a:cubicBezTo>
                  <a:cubicBezTo>
                    <a:pt x="226" y="457"/>
                    <a:pt x="210" y="477"/>
                    <a:pt x="168" y="514"/>
                  </a:cubicBezTo>
                  <a:cubicBezTo>
                    <a:pt x="140" y="538"/>
                    <a:pt x="135" y="552"/>
                    <a:pt x="112" y="579"/>
                  </a:cubicBezTo>
                  <a:cubicBezTo>
                    <a:pt x="67" y="631"/>
                    <a:pt x="40" y="662"/>
                    <a:pt x="7" y="7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670F2771-894B-46AD-94A8-EA4BF77E0DA2}"/>
                </a:ext>
              </a:extLst>
            </p:cNvPr>
            <p:cNvSpPr/>
            <p:nvPr/>
          </p:nvSpPr>
          <p:spPr bwMode="auto">
            <a:xfrm>
              <a:off x="3276601" y="2662238"/>
              <a:ext cx="663575" cy="795338"/>
            </a:xfrm>
            <a:custGeom>
              <a:avLst/>
              <a:gdLst>
                <a:gd name="T0" fmla="*/ 2 w 856"/>
                <a:gd name="T1" fmla="*/ 35 h 1024"/>
                <a:gd name="T2" fmla="*/ 23 w 856"/>
                <a:gd name="T3" fmla="*/ 42 h 1024"/>
                <a:gd name="T4" fmla="*/ 86 w 856"/>
                <a:gd name="T5" fmla="*/ 14 h 1024"/>
                <a:gd name="T6" fmla="*/ 156 w 856"/>
                <a:gd name="T7" fmla="*/ 37 h 1024"/>
                <a:gd name="T8" fmla="*/ 93 w 856"/>
                <a:gd name="T9" fmla="*/ 93 h 1024"/>
                <a:gd name="T10" fmla="*/ 165 w 856"/>
                <a:gd name="T11" fmla="*/ 90 h 1024"/>
                <a:gd name="T12" fmla="*/ 192 w 856"/>
                <a:gd name="T13" fmla="*/ 141 h 1024"/>
                <a:gd name="T14" fmla="*/ 149 w 856"/>
                <a:gd name="T15" fmla="*/ 89 h 1024"/>
                <a:gd name="T16" fmla="*/ 239 w 856"/>
                <a:gd name="T17" fmla="*/ 165 h 1024"/>
                <a:gd name="T18" fmla="*/ 249 w 856"/>
                <a:gd name="T19" fmla="*/ 127 h 1024"/>
                <a:gd name="T20" fmla="*/ 176 w 856"/>
                <a:gd name="T21" fmla="*/ 136 h 1024"/>
                <a:gd name="T22" fmla="*/ 312 w 856"/>
                <a:gd name="T23" fmla="*/ 181 h 1024"/>
                <a:gd name="T24" fmla="*/ 316 w 856"/>
                <a:gd name="T25" fmla="*/ 104 h 1024"/>
                <a:gd name="T26" fmla="*/ 296 w 856"/>
                <a:gd name="T27" fmla="*/ 169 h 1024"/>
                <a:gd name="T28" fmla="*/ 330 w 856"/>
                <a:gd name="T29" fmla="*/ 189 h 1024"/>
                <a:gd name="T30" fmla="*/ 364 w 856"/>
                <a:gd name="T31" fmla="*/ 230 h 1024"/>
                <a:gd name="T32" fmla="*/ 381 w 856"/>
                <a:gd name="T33" fmla="*/ 145 h 1024"/>
                <a:gd name="T34" fmla="*/ 367 w 856"/>
                <a:gd name="T35" fmla="*/ 135 h 1024"/>
                <a:gd name="T36" fmla="*/ 304 w 856"/>
                <a:gd name="T37" fmla="*/ 196 h 1024"/>
                <a:gd name="T38" fmla="*/ 401 w 856"/>
                <a:gd name="T39" fmla="*/ 156 h 1024"/>
                <a:gd name="T40" fmla="*/ 382 w 856"/>
                <a:gd name="T41" fmla="*/ 244 h 1024"/>
                <a:gd name="T42" fmla="*/ 538 w 856"/>
                <a:gd name="T43" fmla="*/ 256 h 1024"/>
                <a:gd name="T44" fmla="*/ 481 w 856"/>
                <a:gd name="T45" fmla="*/ 210 h 1024"/>
                <a:gd name="T46" fmla="*/ 448 w 856"/>
                <a:gd name="T47" fmla="*/ 291 h 1024"/>
                <a:gd name="T48" fmla="*/ 510 w 856"/>
                <a:gd name="T49" fmla="*/ 346 h 1024"/>
                <a:gd name="T50" fmla="*/ 524 w 856"/>
                <a:gd name="T51" fmla="*/ 358 h 1024"/>
                <a:gd name="T52" fmla="*/ 598 w 856"/>
                <a:gd name="T53" fmla="*/ 321 h 1024"/>
                <a:gd name="T54" fmla="*/ 594 w 856"/>
                <a:gd name="T55" fmla="*/ 408 h 1024"/>
                <a:gd name="T56" fmla="*/ 560 w 856"/>
                <a:gd name="T57" fmla="*/ 386 h 1024"/>
                <a:gd name="T58" fmla="*/ 619 w 856"/>
                <a:gd name="T59" fmla="*/ 352 h 1024"/>
                <a:gd name="T60" fmla="*/ 618 w 856"/>
                <a:gd name="T61" fmla="*/ 407 h 1024"/>
                <a:gd name="T62" fmla="*/ 625 w 856"/>
                <a:gd name="T63" fmla="*/ 484 h 1024"/>
                <a:gd name="T64" fmla="*/ 683 w 856"/>
                <a:gd name="T65" fmla="*/ 419 h 1024"/>
                <a:gd name="T66" fmla="*/ 577 w 856"/>
                <a:gd name="T67" fmla="*/ 416 h 1024"/>
                <a:gd name="T68" fmla="*/ 671 w 856"/>
                <a:gd name="T69" fmla="*/ 536 h 1024"/>
                <a:gd name="T70" fmla="*/ 662 w 856"/>
                <a:gd name="T71" fmla="*/ 513 h 1024"/>
                <a:gd name="T72" fmla="*/ 657 w 856"/>
                <a:gd name="T73" fmla="*/ 541 h 1024"/>
                <a:gd name="T74" fmla="*/ 746 w 856"/>
                <a:gd name="T75" fmla="*/ 531 h 1024"/>
                <a:gd name="T76" fmla="*/ 657 w 856"/>
                <a:gd name="T77" fmla="*/ 541 h 1024"/>
                <a:gd name="T78" fmla="*/ 717 w 856"/>
                <a:gd name="T79" fmla="*/ 644 h 1024"/>
                <a:gd name="T80" fmla="*/ 800 w 856"/>
                <a:gd name="T81" fmla="*/ 656 h 1024"/>
                <a:gd name="T82" fmla="*/ 773 w 856"/>
                <a:gd name="T83" fmla="*/ 588 h 1024"/>
                <a:gd name="T84" fmla="*/ 812 w 856"/>
                <a:gd name="T85" fmla="*/ 705 h 1024"/>
                <a:gd name="T86" fmla="*/ 759 w 856"/>
                <a:gd name="T87" fmla="*/ 677 h 1024"/>
                <a:gd name="T88" fmla="*/ 737 w 856"/>
                <a:gd name="T89" fmla="*/ 745 h 1024"/>
                <a:gd name="T90" fmla="*/ 828 w 856"/>
                <a:gd name="T91" fmla="*/ 757 h 1024"/>
                <a:gd name="T92" fmla="*/ 842 w 856"/>
                <a:gd name="T93" fmla="*/ 832 h 1024"/>
                <a:gd name="T94" fmla="*/ 820 w 856"/>
                <a:gd name="T95" fmla="*/ 783 h 1024"/>
                <a:gd name="T96" fmla="*/ 745 w 856"/>
                <a:gd name="T97" fmla="*/ 806 h 1024"/>
                <a:gd name="T98" fmla="*/ 838 w 856"/>
                <a:gd name="T99" fmla="*/ 826 h 1024"/>
                <a:gd name="T100" fmla="*/ 806 w 856"/>
                <a:gd name="T101" fmla="*/ 859 h 1024"/>
                <a:gd name="T102" fmla="*/ 768 w 856"/>
                <a:gd name="T103" fmla="*/ 864 h 1024"/>
                <a:gd name="T104" fmla="*/ 765 w 856"/>
                <a:gd name="T105" fmla="*/ 922 h 1024"/>
                <a:gd name="T106" fmla="*/ 767 w 856"/>
                <a:gd name="T107" fmla="*/ 964 h 1024"/>
                <a:gd name="T108" fmla="*/ 849 w 856"/>
                <a:gd name="T109" fmla="*/ 903 h 1024"/>
                <a:gd name="T110" fmla="*/ 845 w 856"/>
                <a:gd name="T111" fmla="*/ 921 h 1024"/>
                <a:gd name="T112" fmla="*/ 772 w 856"/>
                <a:gd name="T113" fmla="*/ 990 h 1024"/>
                <a:gd name="T114" fmla="*/ 849 w 856"/>
                <a:gd name="T115" fmla="*/ 1021 h 1024"/>
                <a:gd name="T116" fmla="*/ 766 w 856"/>
                <a:gd name="T117" fmla="*/ 99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6" h="1024">
                  <a:moveTo>
                    <a:pt x="77" y="53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4" y="55"/>
                    <a:pt x="72" y="56"/>
                    <a:pt x="70" y="59"/>
                  </a:cubicBezTo>
                  <a:cubicBezTo>
                    <a:pt x="68" y="62"/>
                    <a:pt x="66" y="68"/>
                    <a:pt x="64" y="78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1" y="85"/>
                    <a:pt x="61" y="85"/>
                    <a:pt x="61" y="85"/>
                  </a:cubicBezTo>
                  <a:cubicBezTo>
                    <a:pt x="56" y="88"/>
                    <a:pt x="50" y="89"/>
                    <a:pt x="44" y="89"/>
                  </a:cubicBezTo>
                  <a:cubicBezTo>
                    <a:pt x="39" y="90"/>
                    <a:pt x="33" y="89"/>
                    <a:pt x="27" y="88"/>
                  </a:cubicBezTo>
                  <a:cubicBezTo>
                    <a:pt x="22" y="86"/>
                    <a:pt x="17" y="84"/>
                    <a:pt x="13" y="81"/>
                  </a:cubicBezTo>
                  <a:cubicBezTo>
                    <a:pt x="9" y="78"/>
                    <a:pt x="6" y="74"/>
                    <a:pt x="4" y="69"/>
                  </a:cubicBezTo>
                  <a:cubicBezTo>
                    <a:pt x="2" y="64"/>
                    <a:pt x="0" y="58"/>
                    <a:pt x="0" y="52"/>
                  </a:cubicBezTo>
                  <a:cubicBezTo>
                    <a:pt x="0" y="47"/>
                    <a:pt x="0" y="41"/>
                    <a:pt x="2" y="35"/>
                  </a:cubicBezTo>
                  <a:cubicBezTo>
                    <a:pt x="3" y="30"/>
                    <a:pt x="5" y="25"/>
                    <a:pt x="8" y="20"/>
                  </a:cubicBezTo>
                  <a:cubicBezTo>
                    <a:pt x="11" y="16"/>
                    <a:pt x="15" y="12"/>
                    <a:pt x="19" y="9"/>
                  </a:cubicBezTo>
                  <a:cubicBezTo>
                    <a:pt x="24" y="5"/>
                    <a:pt x="29" y="2"/>
                    <a:pt x="35" y="1"/>
                  </a:cubicBezTo>
                  <a:cubicBezTo>
                    <a:pt x="41" y="0"/>
                    <a:pt x="47" y="0"/>
                    <a:pt x="52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70" y="11"/>
                    <a:pt x="75" y="15"/>
                    <a:pt x="79" y="2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0"/>
                    <a:pt x="67" y="23"/>
                    <a:pt x="65" y="17"/>
                  </a:cubicBezTo>
                  <a:cubicBezTo>
                    <a:pt x="63" y="12"/>
                    <a:pt x="59" y="9"/>
                    <a:pt x="54" y="8"/>
                  </a:cubicBezTo>
                  <a:cubicBezTo>
                    <a:pt x="48" y="6"/>
                    <a:pt x="42" y="8"/>
                    <a:pt x="36" y="14"/>
                  </a:cubicBezTo>
                  <a:cubicBezTo>
                    <a:pt x="31" y="20"/>
                    <a:pt x="26" y="29"/>
                    <a:pt x="23" y="42"/>
                  </a:cubicBezTo>
                  <a:cubicBezTo>
                    <a:pt x="20" y="53"/>
                    <a:pt x="19" y="63"/>
                    <a:pt x="20" y="70"/>
                  </a:cubicBezTo>
                  <a:cubicBezTo>
                    <a:pt x="21" y="77"/>
                    <a:pt x="25" y="82"/>
                    <a:pt x="30" y="83"/>
                  </a:cubicBezTo>
                  <a:cubicBezTo>
                    <a:pt x="33" y="84"/>
                    <a:pt x="36" y="83"/>
                    <a:pt x="39" y="81"/>
                  </a:cubicBezTo>
                  <a:cubicBezTo>
                    <a:pt x="42" y="79"/>
                    <a:pt x="44" y="75"/>
                    <a:pt x="45" y="69"/>
                  </a:cubicBezTo>
                  <a:cubicBezTo>
                    <a:pt x="47" y="61"/>
                    <a:pt x="48" y="55"/>
                    <a:pt x="48" y="52"/>
                  </a:cubicBezTo>
                  <a:cubicBezTo>
                    <a:pt x="47" y="49"/>
                    <a:pt x="46" y="47"/>
                    <a:pt x="43" y="45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6" y="45"/>
                    <a:pt x="49" y="46"/>
                    <a:pt x="51" y="46"/>
                  </a:cubicBezTo>
                  <a:cubicBezTo>
                    <a:pt x="54" y="47"/>
                    <a:pt x="57" y="48"/>
                    <a:pt x="60" y="49"/>
                  </a:cubicBezTo>
                  <a:cubicBezTo>
                    <a:pt x="62" y="49"/>
                    <a:pt x="65" y="50"/>
                    <a:pt x="68" y="51"/>
                  </a:cubicBezTo>
                  <a:cubicBezTo>
                    <a:pt x="71" y="52"/>
                    <a:pt x="74" y="52"/>
                    <a:pt x="77" y="53"/>
                  </a:cubicBezTo>
                  <a:close/>
                  <a:moveTo>
                    <a:pt x="86" y="14"/>
                  </a:moveTo>
                  <a:cubicBezTo>
                    <a:pt x="88" y="17"/>
                    <a:pt x="89" y="20"/>
                    <a:pt x="89" y="24"/>
                  </a:cubicBezTo>
                  <a:cubicBezTo>
                    <a:pt x="89" y="28"/>
                    <a:pt x="86" y="37"/>
                    <a:pt x="82" y="49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2" y="78"/>
                    <a:pt x="72" y="86"/>
                    <a:pt x="75" y="93"/>
                  </a:cubicBezTo>
                  <a:cubicBezTo>
                    <a:pt x="77" y="99"/>
                    <a:pt x="84" y="104"/>
                    <a:pt x="93" y="108"/>
                  </a:cubicBezTo>
                  <a:cubicBezTo>
                    <a:pt x="103" y="111"/>
                    <a:pt x="111" y="111"/>
                    <a:pt x="118" y="107"/>
                  </a:cubicBezTo>
                  <a:cubicBezTo>
                    <a:pt x="124" y="103"/>
                    <a:pt x="130" y="95"/>
                    <a:pt x="134" y="83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42" y="59"/>
                    <a:pt x="146" y="50"/>
                    <a:pt x="149" y="46"/>
                  </a:cubicBezTo>
                  <a:cubicBezTo>
                    <a:pt x="152" y="43"/>
                    <a:pt x="156" y="40"/>
                    <a:pt x="160" y="40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9" y="38"/>
                    <a:pt x="158" y="37"/>
                    <a:pt x="156" y="37"/>
                  </a:cubicBezTo>
                  <a:cubicBezTo>
                    <a:pt x="154" y="36"/>
                    <a:pt x="151" y="35"/>
                    <a:pt x="148" y="34"/>
                  </a:cubicBezTo>
                  <a:cubicBezTo>
                    <a:pt x="144" y="33"/>
                    <a:pt x="142" y="32"/>
                    <a:pt x="140" y="31"/>
                  </a:cubicBezTo>
                  <a:cubicBezTo>
                    <a:pt x="138" y="31"/>
                    <a:pt x="136" y="30"/>
                    <a:pt x="135" y="29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8" y="34"/>
                    <a:pt x="139" y="38"/>
                    <a:pt x="139" y="43"/>
                  </a:cubicBezTo>
                  <a:cubicBezTo>
                    <a:pt x="139" y="48"/>
                    <a:pt x="137" y="57"/>
                    <a:pt x="132" y="7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7" y="87"/>
                    <a:pt x="125" y="91"/>
                    <a:pt x="124" y="93"/>
                  </a:cubicBezTo>
                  <a:cubicBezTo>
                    <a:pt x="123" y="96"/>
                    <a:pt x="121" y="98"/>
                    <a:pt x="119" y="99"/>
                  </a:cubicBezTo>
                  <a:cubicBezTo>
                    <a:pt x="117" y="102"/>
                    <a:pt x="114" y="103"/>
                    <a:pt x="111" y="104"/>
                  </a:cubicBezTo>
                  <a:cubicBezTo>
                    <a:pt x="108" y="105"/>
                    <a:pt x="106" y="105"/>
                    <a:pt x="103" y="104"/>
                  </a:cubicBezTo>
                  <a:cubicBezTo>
                    <a:pt x="97" y="102"/>
                    <a:pt x="94" y="98"/>
                    <a:pt x="93" y="93"/>
                  </a:cubicBezTo>
                  <a:cubicBezTo>
                    <a:pt x="92" y="88"/>
                    <a:pt x="93" y="81"/>
                    <a:pt x="96" y="71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6" y="41"/>
                    <a:pt x="109" y="35"/>
                    <a:pt x="111" y="32"/>
                  </a:cubicBezTo>
                  <a:cubicBezTo>
                    <a:pt x="114" y="28"/>
                    <a:pt x="116" y="26"/>
                    <a:pt x="119" y="26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12" y="22"/>
                    <a:pt x="107" y="20"/>
                    <a:pt x="103" y="19"/>
                  </a:cubicBezTo>
                  <a:cubicBezTo>
                    <a:pt x="101" y="18"/>
                    <a:pt x="99" y="17"/>
                    <a:pt x="97" y="17"/>
                  </a:cubicBezTo>
                  <a:cubicBezTo>
                    <a:pt x="95" y="16"/>
                    <a:pt x="91" y="14"/>
                    <a:pt x="87" y="13"/>
                  </a:cubicBezTo>
                  <a:cubicBezTo>
                    <a:pt x="86" y="14"/>
                    <a:pt x="86" y="14"/>
                    <a:pt x="86" y="14"/>
                  </a:cubicBezTo>
                  <a:close/>
                  <a:moveTo>
                    <a:pt x="165" y="90"/>
                  </a:moveTo>
                  <a:cubicBezTo>
                    <a:pt x="152" y="85"/>
                    <a:pt x="152" y="85"/>
                    <a:pt x="152" y="85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5" y="90"/>
                    <a:pt x="165" y="90"/>
                    <a:pt x="165" y="90"/>
                  </a:cubicBezTo>
                  <a:close/>
                  <a:moveTo>
                    <a:pt x="112" y="112"/>
                  </a:moveTo>
                  <a:cubicBezTo>
                    <a:pt x="113" y="110"/>
                    <a:pt x="113" y="110"/>
                    <a:pt x="113" y="110"/>
                  </a:cubicBezTo>
                  <a:cubicBezTo>
                    <a:pt x="118" y="111"/>
                    <a:pt x="126" y="105"/>
                    <a:pt x="137" y="93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187" y="131"/>
                    <a:pt x="187" y="134"/>
                    <a:pt x="188" y="136"/>
                  </a:cubicBezTo>
                  <a:cubicBezTo>
                    <a:pt x="189" y="138"/>
                    <a:pt x="190" y="140"/>
                    <a:pt x="192" y="141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83" y="139"/>
                    <a:pt x="178" y="137"/>
                    <a:pt x="175" y="136"/>
                  </a:cubicBezTo>
                  <a:cubicBezTo>
                    <a:pt x="172" y="134"/>
                    <a:pt x="166" y="132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7" y="127"/>
                    <a:pt x="159" y="127"/>
                    <a:pt x="160" y="126"/>
                  </a:cubicBezTo>
                  <a:cubicBezTo>
                    <a:pt x="162" y="126"/>
                    <a:pt x="163" y="124"/>
                    <a:pt x="163" y="122"/>
                  </a:cubicBezTo>
                  <a:cubicBezTo>
                    <a:pt x="164" y="121"/>
                    <a:pt x="164" y="120"/>
                    <a:pt x="164" y="119"/>
                  </a:cubicBezTo>
                  <a:cubicBezTo>
                    <a:pt x="165" y="117"/>
                    <a:pt x="165" y="115"/>
                    <a:pt x="165" y="114"/>
                  </a:cubicBezTo>
                  <a:cubicBezTo>
                    <a:pt x="165" y="96"/>
                    <a:pt x="165" y="96"/>
                    <a:pt x="165" y="96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5" y="94"/>
                    <a:pt x="142" y="97"/>
                    <a:pt x="140" y="100"/>
                  </a:cubicBezTo>
                  <a:cubicBezTo>
                    <a:pt x="137" y="103"/>
                    <a:pt x="136" y="106"/>
                    <a:pt x="135" y="108"/>
                  </a:cubicBezTo>
                  <a:cubicBezTo>
                    <a:pt x="134" y="111"/>
                    <a:pt x="134" y="113"/>
                    <a:pt x="134" y="115"/>
                  </a:cubicBezTo>
                  <a:cubicBezTo>
                    <a:pt x="135" y="117"/>
                    <a:pt x="136" y="119"/>
                    <a:pt x="138" y="120"/>
                  </a:cubicBezTo>
                  <a:cubicBezTo>
                    <a:pt x="137" y="122"/>
                    <a:pt x="137" y="122"/>
                    <a:pt x="137" y="122"/>
                  </a:cubicBezTo>
                  <a:cubicBezTo>
                    <a:pt x="135" y="121"/>
                    <a:pt x="133" y="120"/>
                    <a:pt x="131" y="119"/>
                  </a:cubicBezTo>
                  <a:cubicBezTo>
                    <a:pt x="129" y="118"/>
                    <a:pt x="127" y="117"/>
                    <a:pt x="125" y="117"/>
                  </a:cubicBezTo>
                  <a:cubicBezTo>
                    <a:pt x="123" y="116"/>
                    <a:pt x="121" y="115"/>
                    <a:pt x="119" y="115"/>
                  </a:cubicBezTo>
                  <a:cubicBezTo>
                    <a:pt x="117" y="114"/>
                    <a:pt x="115" y="113"/>
                    <a:pt x="112" y="112"/>
                  </a:cubicBezTo>
                  <a:close/>
                  <a:moveTo>
                    <a:pt x="217" y="81"/>
                  </a:moveTo>
                  <a:cubicBezTo>
                    <a:pt x="236" y="164"/>
                    <a:pt x="236" y="164"/>
                    <a:pt x="236" y="164"/>
                  </a:cubicBezTo>
                  <a:cubicBezTo>
                    <a:pt x="239" y="165"/>
                    <a:pt x="239" y="165"/>
                    <a:pt x="239" y="165"/>
                  </a:cubicBezTo>
                  <a:cubicBezTo>
                    <a:pt x="257" y="121"/>
                    <a:pt x="257" y="121"/>
                    <a:pt x="257" y="121"/>
                  </a:cubicBezTo>
                  <a:cubicBezTo>
                    <a:pt x="263" y="108"/>
                    <a:pt x="267" y="99"/>
                    <a:pt x="271" y="96"/>
                  </a:cubicBezTo>
                  <a:cubicBezTo>
                    <a:pt x="274" y="92"/>
                    <a:pt x="278" y="90"/>
                    <a:pt x="283" y="90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2" y="88"/>
                    <a:pt x="280" y="87"/>
                    <a:pt x="278" y="87"/>
                  </a:cubicBezTo>
                  <a:cubicBezTo>
                    <a:pt x="277" y="86"/>
                    <a:pt x="274" y="85"/>
                    <a:pt x="271" y="84"/>
                  </a:cubicBezTo>
                  <a:cubicBezTo>
                    <a:pt x="267" y="82"/>
                    <a:pt x="264" y="81"/>
                    <a:pt x="263" y="80"/>
                  </a:cubicBezTo>
                  <a:cubicBezTo>
                    <a:pt x="261" y="79"/>
                    <a:pt x="259" y="79"/>
                    <a:pt x="258" y="78"/>
                  </a:cubicBezTo>
                  <a:cubicBezTo>
                    <a:pt x="257" y="80"/>
                    <a:pt x="257" y="80"/>
                    <a:pt x="257" y="80"/>
                  </a:cubicBezTo>
                  <a:cubicBezTo>
                    <a:pt x="260" y="83"/>
                    <a:pt x="262" y="87"/>
                    <a:pt x="262" y="92"/>
                  </a:cubicBezTo>
                  <a:cubicBezTo>
                    <a:pt x="261" y="96"/>
                    <a:pt x="258" y="105"/>
                    <a:pt x="253" y="119"/>
                  </a:cubicBezTo>
                  <a:cubicBezTo>
                    <a:pt x="249" y="127"/>
                    <a:pt x="249" y="127"/>
                    <a:pt x="249" y="127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4" y="68"/>
                    <a:pt x="233" y="67"/>
                    <a:pt x="231" y="66"/>
                  </a:cubicBezTo>
                  <a:cubicBezTo>
                    <a:pt x="229" y="66"/>
                    <a:pt x="227" y="65"/>
                    <a:pt x="226" y="65"/>
                  </a:cubicBezTo>
                  <a:cubicBezTo>
                    <a:pt x="224" y="64"/>
                    <a:pt x="221" y="63"/>
                    <a:pt x="218" y="61"/>
                  </a:cubicBezTo>
                  <a:cubicBezTo>
                    <a:pt x="215" y="59"/>
                    <a:pt x="212" y="58"/>
                    <a:pt x="211" y="58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3" y="62"/>
                    <a:pt x="215" y="64"/>
                    <a:pt x="215" y="67"/>
                  </a:cubicBezTo>
                  <a:cubicBezTo>
                    <a:pt x="215" y="69"/>
                    <a:pt x="214" y="73"/>
                    <a:pt x="212" y="78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196" y="117"/>
                    <a:pt x="191" y="125"/>
                    <a:pt x="188" y="129"/>
                  </a:cubicBezTo>
                  <a:cubicBezTo>
                    <a:pt x="185" y="132"/>
                    <a:pt x="181" y="134"/>
                    <a:pt x="176" y="134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6"/>
                    <a:pt x="180" y="137"/>
                    <a:pt x="182" y="138"/>
                  </a:cubicBezTo>
                  <a:cubicBezTo>
                    <a:pt x="184" y="139"/>
                    <a:pt x="186" y="140"/>
                    <a:pt x="189" y="141"/>
                  </a:cubicBezTo>
                  <a:cubicBezTo>
                    <a:pt x="191" y="142"/>
                    <a:pt x="193" y="143"/>
                    <a:pt x="195" y="144"/>
                  </a:cubicBezTo>
                  <a:cubicBezTo>
                    <a:pt x="197" y="145"/>
                    <a:pt x="199" y="145"/>
                    <a:pt x="201" y="146"/>
                  </a:cubicBezTo>
                  <a:cubicBezTo>
                    <a:pt x="202" y="145"/>
                    <a:pt x="202" y="145"/>
                    <a:pt x="202" y="145"/>
                  </a:cubicBezTo>
                  <a:cubicBezTo>
                    <a:pt x="199" y="141"/>
                    <a:pt x="197" y="137"/>
                    <a:pt x="197" y="132"/>
                  </a:cubicBezTo>
                  <a:cubicBezTo>
                    <a:pt x="198" y="127"/>
                    <a:pt x="201" y="119"/>
                    <a:pt x="206" y="105"/>
                  </a:cubicBezTo>
                  <a:cubicBezTo>
                    <a:pt x="217" y="81"/>
                    <a:pt x="217" y="81"/>
                    <a:pt x="217" y="81"/>
                  </a:cubicBezTo>
                  <a:close/>
                  <a:moveTo>
                    <a:pt x="330" y="159"/>
                  </a:moveTo>
                  <a:cubicBezTo>
                    <a:pt x="330" y="161"/>
                    <a:pt x="330" y="161"/>
                    <a:pt x="330" y="161"/>
                  </a:cubicBezTo>
                  <a:cubicBezTo>
                    <a:pt x="327" y="161"/>
                    <a:pt x="325" y="162"/>
                    <a:pt x="322" y="164"/>
                  </a:cubicBezTo>
                  <a:cubicBezTo>
                    <a:pt x="320" y="166"/>
                    <a:pt x="317" y="172"/>
                    <a:pt x="312" y="181"/>
                  </a:cubicBezTo>
                  <a:cubicBezTo>
                    <a:pt x="311" y="184"/>
                    <a:pt x="311" y="184"/>
                    <a:pt x="311" y="184"/>
                  </a:cubicBezTo>
                  <a:cubicBezTo>
                    <a:pt x="309" y="188"/>
                    <a:pt x="309" y="188"/>
                    <a:pt x="309" y="188"/>
                  </a:cubicBezTo>
                  <a:cubicBezTo>
                    <a:pt x="303" y="189"/>
                    <a:pt x="297" y="190"/>
                    <a:pt x="291" y="189"/>
                  </a:cubicBezTo>
                  <a:cubicBezTo>
                    <a:pt x="286" y="188"/>
                    <a:pt x="280" y="187"/>
                    <a:pt x="275" y="184"/>
                  </a:cubicBezTo>
                  <a:cubicBezTo>
                    <a:pt x="270" y="182"/>
                    <a:pt x="266" y="178"/>
                    <a:pt x="262" y="175"/>
                  </a:cubicBezTo>
                  <a:cubicBezTo>
                    <a:pt x="259" y="171"/>
                    <a:pt x="257" y="166"/>
                    <a:pt x="256" y="161"/>
                  </a:cubicBezTo>
                  <a:cubicBezTo>
                    <a:pt x="254" y="156"/>
                    <a:pt x="254" y="150"/>
                    <a:pt x="255" y="144"/>
                  </a:cubicBezTo>
                  <a:cubicBezTo>
                    <a:pt x="255" y="139"/>
                    <a:pt x="257" y="133"/>
                    <a:pt x="260" y="128"/>
                  </a:cubicBezTo>
                  <a:cubicBezTo>
                    <a:pt x="262" y="123"/>
                    <a:pt x="265" y="118"/>
                    <a:pt x="269" y="114"/>
                  </a:cubicBezTo>
                  <a:cubicBezTo>
                    <a:pt x="273" y="110"/>
                    <a:pt x="277" y="107"/>
                    <a:pt x="282" y="105"/>
                  </a:cubicBezTo>
                  <a:cubicBezTo>
                    <a:pt x="287" y="102"/>
                    <a:pt x="293" y="101"/>
                    <a:pt x="299" y="101"/>
                  </a:cubicBezTo>
                  <a:cubicBezTo>
                    <a:pt x="305" y="100"/>
                    <a:pt x="311" y="102"/>
                    <a:pt x="316" y="104"/>
                  </a:cubicBezTo>
                  <a:cubicBezTo>
                    <a:pt x="320" y="107"/>
                    <a:pt x="324" y="109"/>
                    <a:pt x="328" y="113"/>
                  </a:cubicBezTo>
                  <a:cubicBezTo>
                    <a:pt x="332" y="117"/>
                    <a:pt x="335" y="121"/>
                    <a:pt x="339" y="127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2" y="144"/>
                    <a:pt x="322" y="144"/>
                    <a:pt x="322" y="144"/>
                  </a:cubicBezTo>
                  <a:cubicBezTo>
                    <a:pt x="325" y="135"/>
                    <a:pt x="326" y="128"/>
                    <a:pt x="325" y="122"/>
                  </a:cubicBezTo>
                  <a:cubicBezTo>
                    <a:pt x="324" y="117"/>
                    <a:pt x="321" y="113"/>
                    <a:pt x="317" y="111"/>
                  </a:cubicBezTo>
                  <a:cubicBezTo>
                    <a:pt x="311" y="108"/>
                    <a:pt x="305" y="109"/>
                    <a:pt x="298" y="114"/>
                  </a:cubicBezTo>
                  <a:cubicBezTo>
                    <a:pt x="291" y="119"/>
                    <a:pt x="285" y="127"/>
                    <a:pt x="280" y="138"/>
                  </a:cubicBezTo>
                  <a:cubicBezTo>
                    <a:pt x="274" y="149"/>
                    <a:pt x="272" y="158"/>
                    <a:pt x="271" y="165"/>
                  </a:cubicBezTo>
                  <a:cubicBezTo>
                    <a:pt x="271" y="173"/>
                    <a:pt x="273" y="178"/>
                    <a:pt x="278" y="180"/>
                  </a:cubicBezTo>
                  <a:cubicBezTo>
                    <a:pt x="282" y="182"/>
                    <a:pt x="285" y="182"/>
                    <a:pt x="288" y="180"/>
                  </a:cubicBezTo>
                  <a:cubicBezTo>
                    <a:pt x="291" y="178"/>
                    <a:pt x="294" y="174"/>
                    <a:pt x="296" y="169"/>
                  </a:cubicBezTo>
                  <a:cubicBezTo>
                    <a:pt x="300" y="162"/>
                    <a:pt x="302" y="156"/>
                    <a:pt x="302" y="153"/>
                  </a:cubicBezTo>
                  <a:cubicBezTo>
                    <a:pt x="302" y="150"/>
                    <a:pt x="301" y="148"/>
                    <a:pt x="298" y="145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301" y="145"/>
                    <a:pt x="304" y="147"/>
                    <a:pt x="306" y="148"/>
                  </a:cubicBezTo>
                  <a:cubicBezTo>
                    <a:pt x="309" y="149"/>
                    <a:pt x="311" y="151"/>
                    <a:pt x="314" y="152"/>
                  </a:cubicBezTo>
                  <a:cubicBezTo>
                    <a:pt x="317" y="153"/>
                    <a:pt x="319" y="154"/>
                    <a:pt x="322" y="156"/>
                  </a:cubicBezTo>
                  <a:cubicBezTo>
                    <a:pt x="325" y="157"/>
                    <a:pt x="328" y="158"/>
                    <a:pt x="330" y="159"/>
                  </a:cubicBezTo>
                  <a:close/>
                  <a:moveTo>
                    <a:pt x="323" y="206"/>
                  </a:moveTo>
                  <a:cubicBezTo>
                    <a:pt x="322" y="204"/>
                    <a:pt x="321" y="203"/>
                    <a:pt x="321" y="201"/>
                  </a:cubicBezTo>
                  <a:cubicBezTo>
                    <a:pt x="321" y="199"/>
                    <a:pt x="322" y="198"/>
                    <a:pt x="323" y="196"/>
                  </a:cubicBezTo>
                  <a:cubicBezTo>
                    <a:pt x="323" y="195"/>
                    <a:pt x="324" y="194"/>
                    <a:pt x="325" y="193"/>
                  </a:cubicBezTo>
                  <a:cubicBezTo>
                    <a:pt x="327" y="192"/>
                    <a:pt x="328" y="190"/>
                    <a:pt x="330" y="189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42" y="198"/>
                    <a:pt x="342" y="198"/>
                    <a:pt x="342" y="198"/>
                  </a:cubicBezTo>
                  <a:cubicBezTo>
                    <a:pt x="341" y="200"/>
                    <a:pt x="341" y="202"/>
                    <a:pt x="341" y="204"/>
                  </a:cubicBezTo>
                  <a:cubicBezTo>
                    <a:pt x="340" y="205"/>
                    <a:pt x="340" y="207"/>
                    <a:pt x="339" y="208"/>
                  </a:cubicBezTo>
                  <a:cubicBezTo>
                    <a:pt x="338" y="209"/>
                    <a:pt x="337" y="210"/>
                    <a:pt x="336" y="211"/>
                  </a:cubicBezTo>
                  <a:cubicBezTo>
                    <a:pt x="335" y="211"/>
                    <a:pt x="333" y="211"/>
                    <a:pt x="331" y="210"/>
                  </a:cubicBezTo>
                  <a:cubicBezTo>
                    <a:pt x="330" y="212"/>
                    <a:pt x="330" y="212"/>
                    <a:pt x="330" y="212"/>
                  </a:cubicBezTo>
                  <a:cubicBezTo>
                    <a:pt x="332" y="213"/>
                    <a:pt x="335" y="215"/>
                    <a:pt x="338" y="216"/>
                  </a:cubicBezTo>
                  <a:cubicBezTo>
                    <a:pt x="341" y="218"/>
                    <a:pt x="344" y="220"/>
                    <a:pt x="347" y="222"/>
                  </a:cubicBezTo>
                  <a:cubicBezTo>
                    <a:pt x="350" y="224"/>
                    <a:pt x="353" y="225"/>
                    <a:pt x="356" y="227"/>
                  </a:cubicBezTo>
                  <a:cubicBezTo>
                    <a:pt x="358" y="229"/>
                    <a:pt x="361" y="230"/>
                    <a:pt x="363" y="232"/>
                  </a:cubicBezTo>
                  <a:cubicBezTo>
                    <a:pt x="364" y="230"/>
                    <a:pt x="364" y="230"/>
                    <a:pt x="364" y="230"/>
                  </a:cubicBezTo>
                  <a:cubicBezTo>
                    <a:pt x="363" y="229"/>
                    <a:pt x="362" y="226"/>
                    <a:pt x="361" y="222"/>
                  </a:cubicBezTo>
                  <a:cubicBezTo>
                    <a:pt x="361" y="218"/>
                    <a:pt x="361" y="213"/>
                    <a:pt x="362" y="205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375" y="168"/>
                    <a:pt x="375" y="168"/>
                    <a:pt x="375" y="168"/>
                  </a:cubicBezTo>
                  <a:cubicBezTo>
                    <a:pt x="382" y="165"/>
                    <a:pt x="388" y="162"/>
                    <a:pt x="393" y="160"/>
                  </a:cubicBezTo>
                  <a:cubicBezTo>
                    <a:pt x="399" y="159"/>
                    <a:pt x="402" y="158"/>
                    <a:pt x="405" y="159"/>
                  </a:cubicBezTo>
                  <a:cubicBezTo>
                    <a:pt x="406" y="157"/>
                    <a:pt x="406" y="157"/>
                    <a:pt x="406" y="157"/>
                  </a:cubicBezTo>
                  <a:cubicBezTo>
                    <a:pt x="402" y="156"/>
                    <a:pt x="400" y="154"/>
                    <a:pt x="398" y="153"/>
                  </a:cubicBezTo>
                  <a:cubicBezTo>
                    <a:pt x="397" y="153"/>
                    <a:pt x="395" y="152"/>
                    <a:pt x="394" y="151"/>
                  </a:cubicBezTo>
                  <a:cubicBezTo>
                    <a:pt x="391" y="149"/>
                    <a:pt x="387" y="147"/>
                    <a:pt x="382" y="143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1" y="145"/>
                    <a:pt x="381" y="145"/>
                    <a:pt x="381" y="145"/>
                  </a:cubicBezTo>
                  <a:cubicBezTo>
                    <a:pt x="382" y="146"/>
                    <a:pt x="383" y="148"/>
                    <a:pt x="383" y="149"/>
                  </a:cubicBezTo>
                  <a:cubicBezTo>
                    <a:pt x="383" y="151"/>
                    <a:pt x="383" y="152"/>
                    <a:pt x="382" y="154"/>
                  </a:cubicBezTo>
                  <a:cubicBezTo>
                    <a:pt x="381" y="155"/>
                    <a:pt x="380" y="156"/>
                    <a:pt x="380" y="157"/>
                  </a:cubicBezTo>
                  <a:cubicBezTo>
                    <a:pt x="379" y="158"/>
                    <a:pt x="378" y="159"/>
                    <a:pt x="376" y="160"/>
                  </a:cubicBezTo>
                  <a:cubicBezTo>
                    <a:pt x="365" y="167"/>
                    <a:pt x="365" y="167"/>
                    <a:pt x="365" y="167"/>
                  </a:cubicBezTo>
                  <a:cubicBezTo>
                    <a:pt x="366" y="153"/>
                    <a:pt x="366" y="153"/>
                    <a:pt x="366" y="153"/>
                  </a:cubicBezTo>
                  <a:cubicBezTo>
                    <a:pt x="366" y="151"/>
                    <a:pt x="366" y="149"/>
                    <a:pt x="367" y="148"/>
                  </a:cubicBezTo>
                  <a:cubicBezTo>
                    <a:pt x="367" y="146"/>
                    <a:pt x="367" y="145"/>
                    <a:pt x="368" y="144"/>
                  </a:cubicBezTo>
                  <a:cubicBezTo>
                    <a:pt x="369" y="143"/>
                    <a:pt x="370" y="142"/>
                    <a:pt x="371" y="142"/>
                  </a:cubicBezTo>
                  <a:cubicBezTo>
                    <a:pt x="372" y="141"/>
                    <a:pt x="374" y="141"/>
                    <a:pt x="376" y="142"/>
                  </a:cubicBezTo>
                  <a:cubicBezTo>
                    <a:pt x="377" y="140"/>
                    <a:pt x="377" y="140"/>
                    <a:pt x="377" y="140"/>
                  </a:cubicBezTo>
                  <a:cubicBezTo>
                    <a:pt x="372" y="138"/>
                    <a:pt x="369" y="136"/>
                    <a:pt x="367" y="135"/>
                  </a:cubicBezTo>
                  <a:cubicBezTo>
                    <a:pt x="365" y="133"/>
                    <a:pt x="363" y="132"/>
                    <a:pt x="361" y="131"/>
                  </a:cubicBezTo>
                  <a:cubicBezTo>
                    <a:pt x="357" y="129"/>
                    <a:pt x="352" y="126"/>
                    <a:pt x="345" y="121"/>
                  </a:cubicBezTo>
                  <a:cubicBezTo>
                    <a:pt x="345" y="121"/>
                    <a:pt x="345" y="121"/>
                    <a:pt x="345" y="12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7" y="127"/>
                    <a:pt x="348" y="135"/>
                    <a:pt x="347" y="146"/>
                  </a:cubicBezTo>
                  <a:cubicBezTo>
                    <a:pt x="347" y="147"/>
                    <a:pt x="347" y="147"/>
                    <a:pt x="347" y="147"/>
                  </a:cubicBezTo>
                  <a:cubicBezTo>
                    <a:pt x="344" y="174"/>
                    <a:pt x="344" y="174"/>
                    <a:pt x="344" y="174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23" y="185"/>
                    <a:pt x="317" y="187"/>
                    <a:pt x="312" y="189"/>
                  </a:cubicBezTo>
                  <a:cubicBezTo>
                    <a:pt x="307" y="191"/>
                    <a:pt x="303" y="191"/>
                    <a:pt x="299" y="191"/>
                  </a:cubicBezTo>
                  <a:cubicBezTo>
                    <a:pt x="298" y="193"/>
                    <a:pt x="298" y="193"/>
                    <a:pt x="298" y="193"/>
                  </a:cubicBezTo>
                  <a:cubicBezTo>
                    <a:pt x="300" y="194"/>
                    <a:pt x="302" y="195"/>
                    <a:pt x="304" y="196"/>
                  </a:cubicBezTo>
                  <a:cubicBezTo>
                    <a:pt x="306" y="197"/>
                    <a:pt x="308" y="198"/>
                    <a:pt x="310" y="200"/>
                  </a:cubicBezTo>
                  <a:cubicBezTo>
                    <a:pt x="313" y="201"/>
                    <a:pt x="315" y="202"/>
                    <a:pt x="317" y="204"/>
                  </a:cubicBezTo>
                  <a:cubicBezTo>
                    <a:pt x="319" y="205"/>
                    <a:pt x="321" y="206"/>
                    <a:pt x="322" y="207"/>
                  </a:cubicBezTo>
                  <a:cubicBezTo>
                    <a:pt x="323" y="206"/>
                    <a:pt x="323" y="206"/>
                    <a:pt x="323" y="206"/>
                  </a:cubicBezTo>
                  <a:close/>
                  <a:moveTo>
                    <a:pt x="352" y="225"/>
                  </a:moveTo>
                  <a:cubicBezTo>
                    <a:pt x="353" y="224"/>
                    <a:pt x="353" y="224"/>
                    <a:pt x="353" y="224"/>
                  </a:cubicBezTo>
                  <a:cubicBezTo>
                    <a:pt x="356" y="224"/>
                    <a:pt x="360" y="222"/>
                    <a:pt x="362" y="220"/>
                  </a:cubicBezTo>
                  <a:cubicBezTo>
                    <a:pt x="365" y="217"/>
                    <a:pt x="370" y="211"/>
                    <a:pt x="376" y="202"/>
                  </a:cubicBezTo>
                  <a:cubicBezTo>
                    <a:pt x="379" y="198"/>
                    <a:pt x="379" y="198"/>
                    <a:pt x="379" y="198"/>
                  </a:cubicBezTo>
                  <a:cubicBezTo>
                    <a:pt x="398" y="167"/>
                    <a:pt x="398" y="167"/>
                    <a:pt x="398" y="167"/>
                  </a:cubicBezTo>
                  <a:cubicBezTo>
                    <a:pt x="400" y="164"/>
                    <a:pt x="401" y="162"/>
                    <a:pt x="402" y="161"/>
                  </a:cubicBezTo>
                  <a:cubicBezTo>
                    <a:pt x="402" y="159"/>
                    <a:pt x="401" y="158"/>
                    <a:pt x="401" y="156"/>
                  </a:cubicBezTo>
                  <a:cubicBezTo>
                    <a:pt x="402" y="155"/>
                    <a:pt x="402" y="155"/>
                    <a:pt x="402" y="155"/>
                  </a:cubicBezTo>
                  <a:cubicBezTo>
                    <a:pt x="405" y="157"/>
                    <a:pt x="407" y="159"/>
                    <a:pt x="409" y="160"/>
                  </a:cubicBezTo>
                  <a:cubicBezTo>
                    <a:pt x="410" y="161"/>
                    <a:pt x="412" y="162"/>
                    <a:pt x="413" y="163"/>
                  </a:cubicBezTo>
                  <a:cubicBezTo>
                    <a:pt x="415" y="164"/>
                    <a:pt x="416" y="165"/>
                    <a:pt x="418" y="166"/>
                  </a:cubicBezTo>
                  <a:cubicBezTo>
                    <a:pt x="420" y="167"/>
                    <a:pt x="422" y="169"/>
                    <a:pt x="426" y="171"/>
                  </a:cubicBezTo>
                  <a:cubicBezTo>
                    <a:pt x="425" y="172"/>
                    <a:pt x="425" y="172"/>
                    <a:pt x="425" y="172"/>
                  </a:cubicBezTo>
                  <a:cubicBezTo>
                    <a:pt x="423" y="172"/>
                    <a:pt x="422" y="172"/>
                    <a:pt x="421" y="173"/>
                  </a:cubicBezTo>
                  <a:cubicBezTo>
                    <a:pt x="419" y="174"/>
                    <a:pt x="418" y="175"/>
                    <a:pt x="416" y="179"/>
                  </a:cubicBezTo>
                  <a:cubicBezTo>
                    <a:pt x="393" y="214"/>
                    <a:pt x="393" y="214"/>
                    <a:pt x="393" y="214"/>
                  </a:cubicBezTo>
                  <a:cubicBezTo>
                    <a:pt x="387" y="223"/>
                    <a:pt x="383" y="229"/>
                    <a:pt x="382" y="233"/>
                  </a:cubicBezTo>
                  <a:cubicBezTo>
                    <a:pt x="381" y="237"/>
                    <a:pt x="381" y="240"/>
                    <a:pt x="383" y="243"/>
                  </a:cubicBezTo>
                  <a:cubicBezTo>
                    <a:pt x="382" y="244"/>
                    <a:pt x="382" y="244"/>
                    <a:pt x="382" y="244"/>
                  </a:cubicBezTo>
                  <a:cubicBezTo>
                    <a:pt x="380" y="243"/>
                    <a:pt x="377" y="241"/>
                    <a:pt x="375" y="239"/>
                  </a:cubicBezTo>
                  <a:cubicBezTo>
                    <a:pt x="373" y="238"/>
                    <a:pt x="370" y="236"/>
                    <a:pt x="367" y="234"/>
                  </a:cubicBezTo>
                  <a:cubicBezTo>
                    <a:pt x="364" y="232"/>
                    <a:pt x="362" y="231"/>
                    <a:pt x="359" y="229"/>
                  </a:cubicBezTo>
                  <a:cubicBezTo>
                    <a:pt x="357" y="228"/>
                    <a:pt x="355" y="226"/>
                    <a:pt x="352" y="225"/>
                  </a:cubicBezTo>
                  <a:close/>
                  <a:moveTo>
                    <a:pt x="480" y="233"/>
                  </a:moveTo>
                  <a:cubicBezTo>
                    <a:pt x="476" y="319"/>
                    <a:pt x="476" y="319"/>
                    <a:pt x="476" y="319"/>
                  </a:cubicBezTo>
                  <a:cubicBezTo>
                    <a:pt x="478" y="321"/>
                    <a:pt x="478" y="321"/>
                    <a:pt x="478" y="321"/>
                  </a:cubicBezTo>
                  <a:cubicBezTo>
                    <a:pt x="508" y="283"/>
                    <a:pt x="508" y="283"/>
                    <a:pt x="508" y="283"/>
                  </a:cubicBezTo>
                  <a:cubicBezTo>
                    <a:pt x="517" y="272"/>
                    <a:pt x="524" y="265"/>
                    <a:pt x="528" y="263"/>
                  </a:cubicBezTo>
                  <a:cubicBezTo>
                    <a:pt x="532" y="260"/>
                    <a:pt x="537" y="260"/>
                    <a:pt x="541" y="261"/>
                  </a:cubicBezTo>
                  <a:cubicBezTo>
                    <a:pt x="542" y="260"/>
                    <a:pt x="542" y="260"/>
                    <a:pt x="542" y="260"/>
                  </a:cubicBezTo>
                  <a:cubicBezTo>
                    <a:pt x="541" y="259"/>
                    <a:pt x="539" y="258"/>
                    <a:pt x="538" y="256"/>
                  </a:cubicBezTo>
                  <a:cubicBezTo>
                    <a:pt x="536" y="255"/>
                    <a:pt x="534" y="253"/>
                    <a:pt x="531" y="251"/>
                  </a:cubicBezTo>
                  <a:cubicBezTo>
                    <a:pt x="528" y="249"/>
                    <a:pt x="526" y="247"/>
                    <a:pt x="525" y="246"/>
                  </a:cubicBezTo>
                  <a:cubicBezTo>
                    <a:pt x="523" y="244"/>
                    <a:pt x="522" y="243"/>
                    <a:pt x="521" y="242"/>
                  </a:cubicBezTo>
                  <a:cubicBezTo>
                    <a:pt x="520" y="244"/>
                    <a:pt x="520" y="244"/>
                    <a:pt x="520" y="244"/>
                  </a:cubicBezTo>
                  <a:cubicBezTo>
                    <a:pt x="522" y="248"/>
                    <a:pt x="522" y="252"/>
                    <a:pt x="520" y="256"/>
                  </a:cubicBezTo>
                  <a:cubicBezTo>
                    <a:pt x="519" y="261"/>
                    <a:pt x="513" y="269"/>
                    <a:pt x="504" y="280"/>
                  </a:cubicBezTo>
                  <a:cubicBezTo>
                    <a:pt x="499" y="287"/>
                    <a:pt x="499" y="287"/>
                    <a:pt x="499" y="287"/>
                  </a:cubicBezTo>
                  <a:cubicBezTo>
                    <a:pt x="502" y="227"/>
                    <a:pt x="502" y="227"/>
                    <a:pt x="502" y="227"/>
                  </a:cubicBezTo>
                  <a:cubicBezTo>
                    <a:pt x="501" y="226"/>
                    <a:pt x="500" y="225"/>
                    <a:pt x="498" y="224"/>
                  </a:cubicBezTo>
                  <a:cubicBezTo>
                    <a:pt x="496" y="222"/>
                    <a:pt x="495" y="221"/>
                    <a:pt x="494" y="221"/>
                  </a:cubicBezTo>
                  <a:cubicBezTo>
                    <a:pt x="492" y="219"/>
                    <a:pt x="490" y="217"/>
                    <a:pt x="487" y="215"/>
                  </a:cubicBezTo>
                  <a:cubicBezTo>
                    <a:pt x="484" y="213"/>
                    <a:pt x="482" y="211"/>
                    <a:pt x="481" y="210"/>
                  </a:cubicBezTo>
                  <a:cubicBezTo>
                    <a:pt x="480" y="211"/>
                    <a:pt x="480" y="211"/>
                    <a:pt x="480" y="211"/>
                  </a:cubicBezTo>
                  <a:cubicBezTo>
                    <a:pt x="482" y="214"/>
                    <a:pt x="483" y="217"/>
                    <a:pt x="483" y="220"/>
                  </a:cubicBezTo>
                  <a:cubicBezTo>
                    <a:pt x="482" y="222"/>
                    <a:pt x="480" y="225"/>
                    <a:pt x="477" y="230"/>
                  </a:cubicBezTo>
                  <a:cubicBezTo>
                    <a:pt x="459" y="251"/>
                    <a:pt x="459" y="251"/>
                    <a:pt x="459" y="251"/>
                  </a:cubicBezTo>
                  <a:cubicBezTo>
                    <a:pt x="450" y="262"/>
                    <a:pt x="444" y="269"/>
                    <a:pt x="439" y="272"/>
                  </a:cubicBezTo>
                  <a:cubicBezTo>
                    <a:pt x="435" y="274"/>
                    <a:pt x="431" y="275"/>
                    <a:pt x="427" y="274"/>
                  </a:cubicBezTo>
                  <a:cubicBezTo>
                    <a:pt x="426" y="275"/>
                    <a:pt x="426" y="275"/>
                    <a:pt x="426" y="275"/>
                  </a:cubicBezTo>
                  <a:cubicBezTo>
                    <a:pt x="427" y="276"/>
                    <a:pt x="429" y="277"/>
                    <a:pt x="431" y="279"/>
                  </a:cubicBezTo>
                  <a:cubicBezTo>
                    <a:pt x="433" y="280"/>
                    <a:pt x="435" y="282"/>
                    <a:pt x="437" y="283"/>
                  </a:cubicBezTo>
                  <a:cubicBezTo>
                    <a:pt x="439" y="285"/>
                    <a:pt x="441" y="287"/>
                    <a:pt x="442" y="288"/>
                  </a:cubicBezTo>
                  <a:cubicBezTo>
                    <a:pt x="444" y="290"/>
                    <a:pt x="446" y="291"/>
                    <a:pt x="447" y="292"/>
                  </a:cubicBezTo>
                  <a:cubicBezTo>
                    <a:pt x="448" y="291"/>
                    <a:pt x="448" y="291"/>
                    <a:pt x="448" y="291"/>
                  </a:cubicBezTo>
                  <a:cubicBezTo>
                    <a:pt x="446" y="287"/>
                    <a:pt x="446" y="282"/>
                    <a:pt x="447" y="278"/>
                  </a:cubicBezTo>
                  <a:cubicBezTo>
                    <a:pt x="449" y="273"/>
                    <a:pt x="454" y="265"/>
                    <a:pt x="463" y="254"/>
                  </a:cubicBezTo>
                  <a:cubicBezTo>
                    <a:pt x="480" y="233"/>
                    <a:pt x="480" y="233"/>
                    <a:pt x="480" y="233"/>
                  </a:cubicBezTo>
                  <a:close/>
                  <a:moveTo>
                    <a:pt x="510" y="346"/>
                  </a:moveTo>
                  <a:cubicBezTo>
                    <a:pt x="506" y="341"/>
                    <a:pt x="506" y="336"/>
                    <a:pt x="508" y="329"/>
                  </a:cubicBezTo>
                  <a:cubicBezTo>
                    <a:pt x="511" y="323"/>
                    <a:pt x="517" y="314"/>
                    <a:pt x="527" y="305"/>
                  </a:cubicBezTo>
                  <a:cubicBezTo>
                    <a:pt x="537" y="295"/>
                    <a:pt x="545" y="289"/>
                    <a:pt x="552" y="286"/>
                  </a:cubicBezTo>
                  <a:cubicBezTo>
                    <a:pt x="558" y="283"/>
                    <a:pt x="564" y="284"/>
                    <a:pt x="568" y="288"/>
                  </a:cubicBezTo>
                  <a:cubicBezTo>
                    <a:pt x="572" y="292"/>
                    <a:pt x="573" y="298"/>
                    <a:pt x="570" y="305"/>
                  </a:cubicBezTo>
                  <a:cubicBezTo>
                    <a:pt x="567" y="311"/>
                    <a:pt x="561" y="319"/>
                    <a:pt x="551" y="329"/>
                  </a:cubicBezTo>
                  <a:cubicBezTo>
                    <a:pt x="542" y="339"/>
                    <a:pt x="534" y="345"/>
                    <a:pt x="527" y="348"/>
                  </a:cubicBezTo>
                  <a:cubicBezTo>
                    <a:pt x="520" y="350"/>
                    <a:pt x="515" y="350"/>
                    <a:pt x="510" y="346"/>
                  </a:cubicBezTo>
                  <a:close/>
                  <a:moveTo>
                    <a:pt x="512" y="289"/>
                  </a:moveTo>
                  <a:cubicBezTo>
                    <a:pt x="516" y="284"/>
                    <a:pt x="521" y="281"/>
                    <a:pt x="527" y="278"/>
                  </a:cubicBezTo>
                  <a:cubicBezTo>
                    <a:pt x="532" y="276"/>
                    <a:pt x="538" y="274"/>
                    <a:pt x="544" y="274"/>
                  </a:cubicBezTo>
                  <a:cubicBezTo>
                    <a:pt x="549" y="274"/>
                    <a:pt x="554" y="275"/>
                    <a:pt x="558" y="277"/>
                  </a:cubicBezTo>
                  <a:cubicBezTo>
                    <a:pt x="563" y="279"/>
                    <a:pt x="567" y="282"/>
                    <a:pt x="571" y="285"/>
                  </a:cubicBezTo>
                  <a:cubicBezTo>
                    <a:pt x="575" y="289"/>
                    <a:pt x="578" y="293"/>
                    <a:pt x="579" y="298"/>
                  </a:cubicBezTo>
                  <a:cubicBezTo>
                    <a:pt x="581" y="302"/>
                    <a:pt x="582" y="307"/>
                    <a:pt x="582" y="313"/>
                  </a:cubicBezTo>
                  <a:cubicBezTo>
                    <a:pt x="582" y="319"/>
                    <a:pt x="580" y="324"/>
                    <a:pt x="578" y="330"/>
                  </a:cubicBezTo>
                  <a:cubicBezTo>
                    <a:pt x="576" y="335"/>
                    <a:pt x="572" y="340"/>
                    <a:pt x="567" y="345"/>
                  </a:cubicBezTo>
                  <a:cubicBezTo>
                    <a:pt x="564" y="348"/>
                    <a:pt x="560" y="351"/>
                    <a:pt x="556" y="353"/>
                  </a:cubicBezTo>
                  <a:cubicBezTo>
                    <a:pt x="553" y="355"/>
                    <a:pt x="549" y="357"/>
                    <a:pt x="544" y="358"/>
                  </a:cubicBezTo>
                  <a:cubicBezTo>
                    <a:pt x="537" y="360"/>
                    <a:pt x="531" y="360"/>
                    <a:pt x="524" y="358"/>
                  </a:cubicBezTo>
                  <a:cubicBezTo>
                    <a:pt x="518" y="357"/>
                    <a:pt x="512" y="354"/>
                    <a:pt x="508" y="349"/>
                  </a:cubicBezTo>
                  <a:cubicBezTo>
                    <a:pt x="504" y="345"/>
                    <a:pt x="501" y="341"/>
                    <a:pt x="499" y="336"/>
                  </a:cubicBezTo>
                  <a:cubicBezTo>
                    <a:pt x="497" y="331"/>
                    <a:pt x="496" y="326"/>
                    <a:pt x="497" y="321"/>
                  </a:cubicBezTo>
                  <a:cubicBezTo>
                    <a:pt x="497" y="315"/>
                    <a:pt x="498" y="309"/>
                    <a:pt x="501" y="304"/>
                  </a:cubicBezTo>
                  <a:cubicBezTo>
                    <a:pt x="503" y="299"/>
                    <a:pt x="507" y="294"/>
                    <a:pt x="512" y="289"/>
                  </a:cubicBezTo>
                  <a:close/>
                  <a:moveTo>
                    <a:pt x="533" y="371"/>
                  </a:moveTo>
                  <a:cubicBezTo>
                    <a:pt x="535" y="369"/>
                    <a:pt x="535" y="369"/>
                    <a:pt x="535" y="369"/>
                  </a:cubicBezTo>
                  <a:cubicBezTo>
                    <a:pt x="538" y="370"/>
                    <a:pt x="541" y="370"/>
                    <a:pt x="544" y="368"/>
                  </a:cubicBezTo>
                  <a:cubicBezTo>
                    <a:pt x="548" y="366"/>
                    <a:pt x="554" y="362"/>
                    <a:pt x="562" y="355"/>
                  </a:cubicBezTo>
                  <a:cubicBezTo>
                    <a:pt x="566" y="351"/>
                    <a:pt x="566" y="351"/>
                    <a:pt x="566" y="351"/>
                  </a:cubicBezTo>
                  <a:cubicBezTo>
                    <a:pt x="593" y="327"/>
                    <a:pt x="593" y="327"/>
                    <a:pt x="593" y="327"/>
                  </a:cubicBezTo>
                  <a:cubicBezTo>
                    <a:pt x="595" y="324"/>
                    <a:pt x="597" y="322"/>
                    <a:pt x="598" y="321"/>
                  </a:cubicBezTo>
                  <a:cubicBezTo>
                    <a:pt x="598" y="320"/>
                    <a:pt x="598" y="318"/>
                    <a:pt x="598" y="317"/>
                  </a:cubicBezTo>
                  <a:cubicBezTo>
                    <a:pt x="599" y="315"/>
                    <a:pt x="599" y="315"/>
                    <a:pt x="599" y="315"/>
                  </a:cubicBezTo>
                  <a:cubicBezTo>
                    <a:pt x="601" y="318"/>
                    <a:pt x="603" y="320"/>
                    <a:pt x="605" y="322"/>
                  </a:cubicBezTo>
                  <a:cubicBezTo>
                    <a:pt x="607" y="324"/>
                    <a:pt x="609" y="328"/>
                    <a:pt x="613" y="332"/>
                  </a:cubicBezTo>
                  <a:cubicBezTo>
                    <a:pt x="619" y="339"/>
                    <a:pt x="619" y="339"/>
                    <a:pt x="619" y="339"/>
                  </a:cubicBezTo>
                  <a:cubicBezTo>
                    <a:pt x="628" y="348"/>
                    <a:pt x="633" y="356"/>
                    <a:pt x="634" y="362"/>
                  </a:cubicBezTo>
                  <a:cubicBezTo>
                    <a:pt x="635" y="368"/>
                    <a:pt x="633" y="374"/>
                    <a:pt x="628" y="379"/>
                  </a:cubicBezTo>
                  <a:cubicBezTo>
                    <a:pt x="624" y="382"/>
                    <a:pt x="619" y="384"/>
                    <a:pt x="614" y="383"/>
                  </a:cubicBezTo>
                  <a:cubicBezTo>
                    <a:pt x="609" y="382"/>
                    <a:pt x="603" y="380"/>
                    <a:pt x="597" y="375"/>
                  </a:cubicBezTo>
                  <a:cubicBezTo>
                    <a:pt x="599" y="379"/>
                    <a:pt x="601" y="383"/>
                    <a:pt x="601" y="387"/>
                  </a:cubicBezTo>
                  <a:cubicBezTo>
                    <a:pt x="601" y="392"/>
                    <a:pt x="600" y="396"/>
                    <a:pt x="598" y="401"/>
                  </a:cubicBezTo>
                  <a:cubicBezTo>
                    <a:pt x="597" y="402"/>
                    <a:pt x="595" y="405"/>
                    <a:pt x="594" y="408"/>
                  </a:cubicBezTo>
                  <a:cubicBezTo>
                    <a:pt x="588" y="419"/>
                    <a:pt x="586" y="425"/>
                    <a:pt x="588" y="429"/>
                  </a:cubicBezTo>
                  <a:cubicBezTo>
                    <a:pt x="587" y="430"/>
                    <a:pt x="587" y="430"/>
                    <a:pt x="587" y="430"/>
                  </a:cubicBezTo>
                  <a:cubicBezTo>
                    <a:pt x="584" y="426"/>
                    <a:pt x="581" y="424"/>
                    <a:pt x="580" y="422"/>
                  </a:cubicBezTo>
                  <a:cubicBezTo>
                    <a:pt x="578" y="420"/>
                    <a:pt x="576" y="418"/>
                    <a:pt x="575" y="416"/>
                  </a:cubicBezTo>
                  <a:cubicBezTo>
                    <a:pt x="573" y="414"/>
                    <a:pt x="571" y="412"/>
                    <a:pt x="570" y="411"/>
                  </a:cubicBezTo>
                  <a:cubicBezTo>
                    <a:pt x="569" y="410"/>
                    <a:pt x="568" y="409"/>
                    <a:pt x="567" y="408"/>
                  </a:cubicBezTo>
                  <a:cubicBezTo>
                    <a:pt x="568" y="407"/>
                    <a:pt x="570" y="404"/>
                    <a:pt x="572" y="401"/>
                  </a:cubicBezTo>
                  <a:cubicBezTo>
                    <a:pt x="585" y="382"/>
                    <a:pt x="590" y="370"/>
                    <a:pt x="585" y="365"/>
                  </a:cubicBezTo>
                  <a:cubicBezTo>
                    <a:pt x="585" y="364"/>
                    <a:pt x="584" y="364"/>
                    <a:pt x="584" y="363"/>
                  </a:cubicBezTo>
                  <a:cubicBezTo>
                    <a:pt x="583" y="363"/>
                    <a:pt x="583" y="363"/>
                    <a:pt x="583" y="363"/>
                  </a:cubicBezTo>
                  <a:cubicBezTo>
                    <a:pt x="576" y="370"/>
                    <a:pt x="576" y="370"/>
                    <a:pt x="576" y="370"/>
                  </a:cubicBezTo>
                  <a:cubicBezTo>
                    <a:pt x="568" y="377"/>
                    <a:pt x="562" y="383"/>
                    <a:pt x="560" y="386"/>
                  </a:cubicBezTo>
                  <a:cubicBezTo>
                    <a:pt x="558" y="389"/>
                    <a:pt x="557" y="392"/>
                    <a:pt x="558" y="395"/>
                  </a:cubicBezTo>
                  <a:cubicBezTo>
                    <a:pt x="557" y="397"/>
                    <a:pt x="557" y="397"/>
                    <a:pt x="557" y="397"/>
                  </a:cubicBezTo>
                  <a:cubicBezTo>
                    <a:pt x="555" y="395"/>
                    <a:pt x="553" y="392"/>
                    <a:pt x="551" y="390"/>
                  </a:cubicBezTo>
                  <a:cubicBezTo>
                    <a:pt x="550" y="388"/>
                    <a:pt x="547" y="386"/>
                    <a:pt x="545" y="383"/>
                  </a:cubicBezTo>
                  <a:cubicBezTo>
                    <a:pt x="543" y="381"/>
                    <a:pt x="541" y="379"/>
                    <a:pt x="539" y="377"/>
                  </a:cubicBezTo>
                  <a:cubicBezTo>
                    <a:pt x="537" y="374"/>
                    <a:pt x="535" y="372"/>
                    <a:pt x="533" y="371"/>
                  </a:cubicBezTo>
                  <a:close/>
                  <a:moveTo>
                    <a:pt x="587" y="359"/>
                  </a:moveTo>
                  <a:cubicBezTo>
                    <a:pt x="588" y="360"/>
                    <a:pt x="588" y="361"/>
                    <a:pt x="588" y="361"/>
                  </a:cubicBezTo>
                  <a:cubicBezTo>
                    <a:pt x="589" y="362"/>
                    <a:pt x="589" y="362"/>
                    <a:pt x="590" y="363"/>
                  </a:cubicBezTo>
                  <a:cubicBezTo>
                    <a:pt x="594" y="367"/>
                    <a:pt x="597" y="369"/>
                    <a:pt x="601" y="369"/>
                  </a:cubicBezTo>
                  <a:cubicBezTo>
                    <a:pt x="604" y="369"/>
                    <a:pt x="608" y="367"/>
                    <a:pt x="612" y="363"/>
                  </a:cubicBezTo>
                  <a:cubicBezTo>
                    <a:pt x="616" y="359"/>
                    <a:pt x="619" y="356"/>
                    <a:pt x="619" y="352"/>
                  </a:cubicBezTo>
                  <a:cubicBezTo>
                    <a:pt x="620" y="349"/>
                    <a:pt x="618" y="345"/>
                    <a:pt x="615" y="342"/>
                  </a:cubicBezTo>
                  <a:cubicBezTo>
                    <a:pt x="614" y="341"/>
                    <a:pt x="614" y="340"/>
                    <a:pt x="613" y="339"/>
                  </a:cubicBezTo>
                  <a:cubicBezTo>
                    <a:pt x="612" y="339"/>
                    <a:pt x="612" y="338"/>
                    <a:pt x="611" y="338"/>
                  </a:cubicBezTo>
                  <a:cubicBezTo>
                    <a:pt x="587" y="359"/>
                    <a:pt x="587" y="359"/>
                    <a:pt x="587" y="359"/>
                  </a:cubicBezTo>
                  <a:close/>
                  <a:moveTo>
                    <a:pt x="576" y="417"/>
                  </a:moveTo>
                  <a:cubicBezTo>
                    <a:pt x="577" y="419"/>
                    <a:pt x="579" y="420"/>
                    <a:pt x="580" y="422"/>
                  </a:cubicBezTo>
                  <a:cubicBezTo>
                    <a:pt x="581" y="424"/>
                    <a:pt x="583" y="426"/>
                    <a:pt x="584" y="428"/>
                  </a:cubicBezTo>
                  <a:cubicBezTo>
                    <a:pt x="586" y="430"/>
                    <a:pt x="587" y="432"/>
                    <a:pt x="588" y="434"/>
                  </a:cubicBezTo>
                  <a:cubicBezTo>
                    <a:pt x="590" y="436"/>
                    <a:pt x="591" y="438"/>
                    <a:pt x="592" y="439"/>
                  </a:cubicBezTo>
                  <a:cubicBezTo>
                    <a:pt x="593" y="438"/>
                    <a:pt x="593" y="438"/>
                    <a:pt x="593" y="438"/>
                  </a:cubicBezTo>
                  <a:cubicBezTo>
                    <a:pt x="592" y="434"/>
                    <a:pt x="593" y="430"/>
                    <a:pt x="596" y="426"/>
                  </a:cubicBezTo>
                  <a:cubicBezTo>
                    <a:pt x="599" y="422"/>
                    <a:pt x="606" y="415"/>
                    <a:pt x="618" y="407"/>
                  </a:cubicBezTo>
                  <a:cubicBezTo>
                    <a:pt x="639" y="392"/>
                    <a:pt x="639" y="392"/>
                    <a:pt x="639" y="392"/>
                  </a:cubicBezTo>
                  <a:cubicBezTo>
                    <a:pt x="597" y="449"/>
                    <a:pt x="597" y="449"/>
                    <a:pt x="597" y="449"/>
                  </a:cubicBezTo>
                  <a:cubicBezTo>
                    <a:pt x="598" y="450"/>
                    <a:pt x="598" y="450"/>
                    <a:pt x="598" y="450"/>
                  </a:cubicBezTo>
                  <a:cubicBezTo>
                    <a:pt x="668" y="428"/>
                    <a:pt x="668" y="428"/>
                    <a:pt x="668" y="428"/>
                  </a:cubicBezTo>
                  <a:cubicBezTo>
                    <a:pt x="643" y="447"/>
                    <a:pt x="643" y="447"/>
                    <a:pt x="643" y="447"/>
                  </a:cubicBezTo>
                  <a:cubicBezTo>
                    <a:pt x="640" y="449"/>
                    <a:pt x="640" y="449"/>
                    <a:pt x="640" y="449"/>
                  </a:cubicBezTo>
                  <a:cubicBezTo>
                    <a:pt x="631" y="456"/>
                    <a:pt x="624" y="460"/>
                    <a:pt x="620" y="461"/>
                  </a:cubicBezTo>
                  <a:cubicBezTo>
                    <a:pt x="617" y="463"/>
                    <a:pt x="613" y="463"/>
                    <a:pt x="610" y="461"/>
                  </a:cubicBezTo>
                  <a:cubicBezTo>
                    <a:pt x="609" y="463"/>
                    <a:pt x="609" y="463"/>
                    <a:pt x="609" y="463"/>
                  </a:cubicBezTo>
                  <a:cubicBezTo>
                    <a:pt x="610" y="465"/>
                    <a:pt x="612" y="467"/>
                    <a:pt x="614" y="469"/>
                  </a:cubicBezTo>
                  <a:cubicBezTo>
                    <a:pt x="616" y="471"/>
                    <a:pt x="618" y="474"/>
                    <a:pt x="619" y="476"/>
                  </a:cubicBezTo>
                  <a:cubicBezTo>
                    <a:pt x="621" y="479"/>
                    <a:pt x="623" y="482"/>
                    <a:pt x="625" y="484"/>
                  </a:cubicBezTo>
                  <a:cubicBezTo>
                    <a:pt x="627" y="487"/>
                    <a:pt x="628" y="489"/>
                    <a:pt x="629" y="491"/>
                  </a:cubicBezTo>
                  <a:cubicBezTo>
                    <a:pt x="631" y="490"/>
                    <a:pt x="631" y="490"/>
                    <a:pt x="631" y="490"/>
                  </a:cubicBezTo>
                  <a:cubicBezTo>
                    <a:pt x="631" y="487"/>
                    <a:pt x="632" y="484"/>
                    <a:pt x="634" y="480"/>
                  </a:cubicBezTo>
                  <a:cubicBezTo>
                    <a:pt x="637" y="477"/>
                    <a:pt x="643" y="472"/>
                    <a:pt x="652" y="465"/>
                  </a:cubicBezTo>
                  <a:cubicBezTo>
                    <a:pt x="685" y="442"/>
                    <a:pt x="685" y="442"/>
                    <a:pt x="685" y="442"/>
                  </a:cubicBezTo>
                  <a:cubicBezTo>
                    <a:pt x="688" y="440"/>
                    <a:pt x="690" y="438"/>
                    <a:pt x="691" y="438"/>
                  </a:cubicBezTo>
                  <a:cubicBezTo>
                    <a:pt x="693" y="438"/>
                    <a:pt x="694" y="438"/>
                    <a:pt x="696" y="439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3" y="433"/>
                    <a:pt x="690" y="429"/>
                    <a:pt x="688" y="426"/>
                  </a:cubicBezTo>
                  <a:cubicBezTo>
                    <a:pt x="687" y="426"/>
                    <a:pt x="687" y="425"/>
                    <a:pt x="686" y="424"/>
                  </a:cubicBezTo>
                  <a:cubicBezTo>
                    <a:pt x="685" y="422"/>
                    <a:pt x="684" y="421"/>
                    <a:pt x="683" y="419"/>
                  </a:cubicBezTo>
                  <a:cubicBezTo>
                    <a:pt x="633" y="434"/>
                    <a:pt x="633" y="434"/>
                    <a:pt x="633" y="434"/>
                  </a:cubicBezTo>
                  <a:cubicBezTo>
                    <a:pt x="664" y="393"/>
                    <a:pt x="664" y="393"/>
                    <a:pt x="664" y="393"/>
                  </a:cubicBezTo>
                  <a:cubicBezTo>
                    <a:pt x="663" y="391"/>
                    <a:pt x="662" y="390"/>
                    <a:pt x="660" y="388"/>
                  </a:cubicBezTo>
                  <a:cubicBezTo>
                    <a:pt x="659" y="387"/>
                    <a:pt x="657" y="384"/>
                    <a:pt x="655" y="381"/>
                  </a:cubicBezTo>
                  <a:cubicBezTo>
                    <a:pt x="653" y="378"/>
                    <a:pt x="651" y="375"/>
                    <a:pt x="650" y="374"/>
                  </a:cubicBezTo>
                  <a:cubicBezTo>
                    <a:pt x="649" y="372"/>
                    <a:pt x="647" y="370"/>
                    <a:pt x="646" y="369"/>
                  </a:cubicBezTo>
                  <a:cubicBezTo>
                    <a:pt x="645" y="370"/>
                    <a:pt x="645" y="370"/>
                    <a:pt x="645" y="370"/>
                  </a:cubicBezTo>
                  <a:cubicBezTo>
                    <a:pt x="646" y="373"/>
                    <a:pt x="646" y="376"/>
                    <a:pt x="645" y="378"/>
                  </a:cubicBezTo>
                  <a:cubicBezTo>
                    <a:pt x="644" y="381"/>
                    <a:pt x="642" y="383"/>
                    <a:pt x="637" y="387"/>
                  </a:cubicBezTo>
                  <a:cubicBezTo>
                    <a:pt x="615" y="403"/>
                    <a:pt x="615" y="403"/>
                    <a:pt x="615" y="403"/>
                  </a:cubicBezTo>
                  <a:cubicBezTo>
                    <a:pt x="603" y="411"/>
                    <a:pt x="595" y="416"/>
                    <a:pt x="590" y="418"/>
                  </a:cubicBezTo>
                  <a:cubicBezTo>
                    <a:pt x="585" y="419"/>
                    <a:pt x="581" y="419"/>
                    <a:pt x="577" y="416"/>
                  </a:cubicBezTo>
                  <a:cubicBezTo>
                    <a:pt x="576" y="417"/>
                    <a:pt x="576" y="417"/>
                    <a:pt x="576" y="417"/>
                  </a:cubicBezTo>
                  <a:close/>
                  <a:moveTo>
                    <a:pt x="677" y="496"/>
                  </a:moveTo>
                  <a:cubicBezTo>
                    <a:pt x="670" y="483"/>
                    <a:pt x="670" y="483"/>
                    <a:pt x="670" y="483"/>
                  </a:cubicBezTo>
                  <a:cubicBezTo>
                    <a:pt x="690" y="480"/>
                    <a:pt x="690" y="480"/>
                    <a:pt x="690" y="480"/>
                  </a:cubicBezTo>
                  <a:cubicBezTo>
                    <a:pt x="677" y="496"/>
                    <a:pt x="677" y="496"/>
                    <a:pt x="677" y="496"/>
                  </a:cubicBezTo>
                  <a:close/>
                  <a:moveTo>
                    <a:pt x="622" y="479"/>
                  </a:moveTo>
                  <a:cubicBezTo>
                    <a:pt x="623" y="478"/>
                    <a:pt x="623" y="478"/>
                    <a:pt x="623" y="478"/>
                  </a:cubicBezTo>
                  <a:cubicBezTo>
                    <a:pt x="627" y="481"/>
                    <a:pt x="637" y="482"/>
                    <a:pt x="653" y="480"/>
                  </a:cubicBezTo>
                  <a:cubicBezTo>
                    <a:pt x="655" y="480"/>
                    <a:pt x="655" y="480"/>
                    <a:pt x="655" y="480"/>
                  </a:cubicBezTo>
                  <a:cubicBezTo>
                    <a:pt x="719" y="471"/>
                    <a:pt x="719" y="471"/>
                    <a:pt x="719" y="471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671" y="536"/>
                    <a:pt x="671" y="536"/>
                    <a:pt x="671" y="536"/>
                  </a:cubicBezTo>
                  <a:cubicBezTo>
                    <a:pt x="668" y="541"/>
                    <a:pt x="666" y="544"/>
                    <a:pt x="665" y="546"/>
                  </a:cubicBezTo>
                  <a:cubicBezTo>
                    <a:pt x="665" y="548"/>
                    <a:pt x="665" y="550"/>
                    <a:pt x="666" y="551"/>
                  </a:cubicBezTo>
                  <a:cubicBezTo>
                    <a:pt x="664" y="552"/>
                    <a:pt x="664" y="552"/>
                    <a:pt x="664" y="552"/>
                  </a:cubicBezTo>
                  <a:cubicBezTo>
                    <a:pt x="664" y="551"/>
                    <a:pt x="664" y="551"/>
                    <a:pt x="664" y="551"/>
                  </a:cubicBezTo>
                  <a:cubicBezTo>
                    <a:pt x="660" y="545"/>
                    <a:pt x="658" y="540"/>
                    <a:pt x="656" y="537"/>
                  </a:cubicBezTo>
                  <a:cubicBezTo>
                    <a:pt x="654" y="534"/>
                    <a:pt x="651" y="528"/>
                    <a:pt x="646" y="521"/>
                  </a:cubicBezTo>
                  <a:cubicBezTo>
                    <a:pt x="645" y="520"/>
                    <a:pt x="645" y="519"/>
                    <a:pt x="645" y="519"/>
                  </a:cubicBezTo>
                  <a:cubicBezTo>
                    <a:pt x="646" y="518"/>
                    <a:pt x="646" y="518"/>
                    <a:pt x="646" y="518"/>
                  </a:cubicBezTo>
                  <a:cubicBezTo>
                    <a:pt x="647" y="519"/>
                    <a:pt x="649" y="520"/>
                    <a:pt x="650" y="520"/>
                  </a:cubicBezTo>
                  <a:cubicBezTo>
                    <a:pt x="652" y="521"/>
                    <a:pt x="653" y="520"/>
                    <a:pt x="655" y="519"/>
                  </a:cubicBezTo>
                  <a:cubicBezTo>
                    <a:pt x="656" y="519"/>
                    <a:pt x="657" y="518"/>
                    <a:pt x="658" y="517"/>
                  </a:cubicBezTo>
                  <a:cubicBezTo>
                    <a:pt x="659" y="516"/>
                    <a:pt x="661" y="515"/>
                    <a:pt x="662" y="513"/>
                  </a:cubicBezTo>
                  <a:cubicBezTo>
                    <a:pt x="673" y="499"/>
                    <a:pt x="673" y="499"/>
                    <a:pt x="673" y="499"/>
                  </a:cubicBezTo>
                  <a:cubicBezTo>
                    <a:pt x="664" y="484"/>
                    <a:pt x="664" y="484"/>
                    <a:pt x="664" y="484"/>
                  </a:cubicBezTo>
                  <a:cubicBezTo>
                    <a:pt x="659" y="485"/>
                    <a:pt x="654" y="486"/>
                    <a:pt x="651" y="487"/>
                  </a:cubicBezTo>
                  <a:cubicBezTo>
                    <a:pt x="647" y="488"/>
                    <a:pt x="644" y="489"/>
                    <a:pt x="642" y="490"/>
                  </a:cubicBezTo>
                  <a:cubicBezTo>
                    <a:pt x="639" y="492"/>
                    <a:pt x="638" y="494"/>
                    <a:pt x="637" y="495"/>
                  </a:cubicBezTo>
                  <a:cubicBezTo>
                    <a:pt x="636" y="497"/>
                    <a:pt x="636" y="499"/>
                    <a:pt x="637" y="501"/>
                  </a:cubicBezTo>
                  <a:cubicBezTo>
                    <a:pt x="635" y="502"/>
                    <a:pt x="635" y="502"/>
                    <a:pt x="635" y="502"/>
                  </a:cubicBezTo>
                  <a:cubicBezTo>
                    <a:pt x="634" y="500"/>
                    <a:pt x="633" y="498"/>
                    <a:pt x="632" y="496"/>
                  </a:cubicBezTo>
                  <a:cubicBezTo>
                    <a:pt x="631" y="494"/>
                    <a:pt x="630" y="492"/>
                    <a:pt x="629" y="491"/>
                  </a:cubicBezTo>
                  <a:cubicBezTo>
                    <a:pt x="628" y="489"/>
                    <a:pt x="627" y="487"/>
                    <a:pt x="626" y="485"/>
                  </a:cubicBezTo>
                  <a:cubicBezTo>
                    <a:pt x="625" y="483"/>
                    <a:pt x="623" y="481"/>
                    <a:pt x="622" y="479"/>
                  </a:cubicBezTo>
                  <a:close/>
                  <a:moveTo>
                    <a:pt x="657" y="541"/>
                  </a:moveTo>
                  <a:cubicBezTo>
                    <a:pt x="660" y="546"/>
                    <a:pt x="662" y="552"/>
                    <a:pt x="665" y="556"/>
                  </a:cubicBezTo>
                  <a:cubicBezTo>
                    <a:pt x="667" y="561"/>
                    <a:pt x="669" y="564"/>
                    <a:pt x="670" y="566"/>
                  </a:cubicBezTo>
                  <a:cubicBezTo>
                    <a:pt x="685" y="595"/>
                    <a:pt x="685" y="595"/>
                    <a:pt x="685" y="595"/>
                  </a:cubicBezTo>
                  <a:cubicBezTo>
                    <a:pt x="713" y="587"/>
                    <a:pt x="713" y="587"/>
                    <a:pt x="713" y="587"/>
                  </a:cubicBezTo>
                  <a:cubicBezTo>
                    <a:pt x="713" y="586"/>
                    <a:pt x="713" y="586"/>
                    <a:pt x="713" y="586"/>
                  </a:cubicBezTo>
                  <a:cubicBezTo>
                    <a:pt x="704" y="585"/>
                    <a:pt x="696" y="583"/>
                    <a:pt x="690" y="581"/>
                  </a:cubicBezTo>
                  <a:cubicBezTo>
                    <a:pt x="685" y="579"/>
                    <a:pt x="681" y="576"/>
                    <a:pt x="679" y="572"/>
                  </a:cubicBezTo>
                  <a:cubicBezTo>
                    <a:pt x="677" y="569"/>
                    <a:pt x="677" y="566"/>
                    <a:pt x="679" y="563"/>
                  </a:cubicBezTo>
                  <a:cubicBezTo>
                    <a:pt x="681" y="561"/>
                    <a:pt x="684" y="558"/>
                    <a:pt x="690" y="555"/>
                  </a:cubicBezTo>
                  <a:cubicBezTo>
                    <a:pt x="735" y="532"/>
                    <a:pt x="735" y="532"/>
                    <a:pt x="735" y="532"/>
                  </a:cubicBezTo>
                  <a:cubicBezTo>
                    <a:pt x="738" y="531"/>
                    <a:pt x="741" y="530"/>
                    <a:pt x="742" y="530"/>
                  </a:cubicBezTo>
                  <a:cubicBezTo>
                    <a:pt x="743" y="530"/>
                    <a:pt x="745" y="530"/>
                    <a:pt x="746" y="531"/>
                  </a:cubicBezTo>
                  <a:cubicBezTo>
                    <a:pt x="748" y="530"/>
                    <a:pt x="748" y="530"/>
                    <a:pt x="748" y="530"/>
                  </a:cubicBezTo>
                  <a:cubicBezTo>
                    <a:pt x="746" y="527"/>
                    <a:pt x="744" y="524"/>
                    <a:pt x="743" y="523"/>
                  </a:cubicBezTo>
                  <a:cubicBezTo>
                    <a:pt x="742" y="521"/>
                    <a:pt x="741" y="519"/>
                    <a:pt x="741" y="518"/>
                  </a:cubicBezTo>
                  <a:cubicBezTo>
                    <a:pt x="740" y="516"/>
                    <a:pt x="739" y="515"/>
                    <a:pt x="738" y="513"/>
                  </a:cubicBezTo>
                  <a:cubicBezTo>
                    <a:pt x="737" y="511"/>
                    <a:pt x="736" y="508"/>
                    <a:pt x="734" y="505"/>
                  </a:cubicBezTo>
                  <a:cubicBezTo>
                    <a:pt x="733" y="505"/>
                    <a:pt x="733" y="505"/>
                    <a:pt x="733" y="505"/>
                  </a:cubicBezTo>
                  <a:cubicBezTo>
                    <a:pt x="733" y="507"/>
                    <a:pt x="733" y="509"/>
                    <a:pt x="732" y="510"/>
                  </a:cubicBezTo>
                  <a:cubicBezTo>
                    <a:pt x="731" y="511"/>
                    <a:pt x="729" y="512"/>
                    <a:pt x="725" y="514"/>
                  </a:cubicBezTo>
                  <a:cubicBezTo>
                    <a:pt x="684" y="535"/>
                    <a:pt x="684" y="535"/>
                    <a:pt x="684" y="535"/>
                  </a:cubicBezTo>
                  <a:cubicBezTo>
                    <a:pt x="677" y="539"/>
                    <a:pt x="672" y="541"/>
                    <a:pt x="668" y="541"/>
                  </a:cubicBezTo>
                  <a:cubicBezTo>
                    <a:pt x="664" y="542"/>
                    <a:pt x="661" y="542"/>
                    <a:pt x="658" y="540"/>
                  </a:cubicBezTo>
                  <a:cubicBezTo>
                    <a:pt x="657" y="541"/>
                    <a:pt x="657" y="541"/>
                    <a:pt x="657" y="541"/>
                  </a:cubicBezTo>
                  <a:close/>
                  <a:moveTo>
                    <a:pt x="773" y="588"/>
                  </a:moveTo>
                  <a:cubicBezTo>
                    <a:pt x="774" y="588"/>
                    <a:pt x="774" y="588"/>
                    <a:pt x="774" y="588"/>
                  </a:cubicBezTo>
                  <a:cubicBezTo>
                    <a:pt x="776" y="592"/>
                    <a:pt x="777" y="596"/>
                    <a:pt x="778" y="598"/>
                  </a:cubicBezTo>
                  <a:cubicBezTo>
                    <a:pt x="779" y="600"/>
                    <a:pt x="779" y="602"/>
                    <a:pt x="780" y="604"/>
                  </a:cubicBezTo>
                  <a:cubicBezTo>
                    <a:pt x="781" y="608"/>
                    <a:pt x="784" y="613"/>
                    <a:pt x="787" y="620"/>
                  </a:cubicBezTo>
                  <a:cubicBezTo>
                    <a:pt x="787" y="620"/>
                    <a:pt x="787" y="620"/>
                    <a:pt x="787" y="620"/>
                  </a:cubicBezTo>
                  <a:cubicBezTo>
                    <a:pt x="785" y="621"/>
                    <a:pt x="785" y="621"/>
                    <a:pt x="785" y="621"/>
                  </a:cubicBezTo>
                  <a:cubicBezTo>
                    <a:pt x="783" y="619"/>
                    <a:pt x="779" y="618"/>
                    <a:pt x="776" y="619"/>
                  </a:cubicBezTo>
                  <a:cubicBezTo>
                    <a:pt x="772" y="619"/>
                    <a:pt x="765" y="621"/>
                    <a:pt x="755" y="625"/>
                  </a:cubicBezTo>
                  <a:cubicBezTo>
                    <a:pt x="750" y="627"/>
                    <a:pt x="750" y="627"/>
                    <a:pt x="750" y="627"/>
                  </a:cubicBezTo>
                  <a:cubicBezTo>
                    <a:pt x="735" y="633"/>
                    <a:pt x="735" y="633"/>
                    <a:pt x="735" y="633"/>
                  </a:cubicBezTo>
                  <a:cubicBezTo>
                    <a:pt x="726" y="636"/>
                    <a:pt x="720" y="640"/>
                    <a:pt x="717" y="644"/>
                  </a:cubicBezTo>
                  <a:cubicBezTo>
                    <a:pt x="713" y="648"/>
                    <a:pt x="713" y="653"/>
                    <a:pt x="715" y="659"/>
                  </a:cubicBezTo>
                  <a:cubicBezTo>
                    <a:pt x="716" y="661"/>
                    <a:pt x="718" y="663"/>
                    <a:pt x="720" y="665"/>
                  </a:cubicBezTo>
                  <a:cubicBezTo>
                    <a:pt x="723" y="667"/>
                    <a:pt x="726" y="668"/>
                    <a:pt x="729" y="668"/>
                  </a:cubicBezTo>
                  <a:cubicBezTo>
                    <a:pt x="731" y="669"/>
                    <a:pt x="734" y="668"/>
                    <a:pt x="736" y="668"/>
                  </a:cubicBezTo>
                  <a:cubicBezTo>
                    <a:pt x="739" y="667"/>
                    <a:pt x="743" y="666"/>
                    <a:pt x="749" y="664"/>
                  </a:cubicBezTo>
                  <a:cubicBezTo>
                    <a:pt x="759" y="660"/>
                    <a:pt x="759" y="660"/>
                    <a:pt x="759" y="660"/>
                  </a:cubicBezTo>
                  <a:cubicBezTo>
                    <a:pt x="773" y="655"/>
                    <a:pt x="781" y="651"/>
                    <a:pt x="785" y="648"/>
                  </a:cubicBezTo>
                  <a:cubicBezTo>
                    <a:pt x="788" y="644"/>
                    <a:pt x="790" y="641"/>
                    <a:pt x="791" y="636"/>
                  </a:cubicBezTo>
                  <a:cubicBezTo>
                    <a:pt x="792" y="635"/>
                    <a:pt x="792" y="635"/>
                    <a:pt x="792" y="635"/>
                  </a:cubicBezTo>
                  <a:cubicBezTo>
                    <a:pt x="793" y="637"/>
                    <a:pt x="793" y="639"/>
                    <a:pt x="794" y="640"/>
                  </a:cubicBezTo>
                  <a:cubicBezTo>
                    <a:pt x="795" y="642"/>
                    <a:pt x="796" y="645"/>
                    <a:pt x="797" y="648"/>
                  </a:cubicBezTo>
                  <a:cubicBezTo>
                    <a:pt x="798" y="652"/>
                    <a:pt x="799" y="655"/>
                    <a:pt x="800" y="656"/>
                  </a:cubicBezTo>
                  <a:cubicBezTo>
                    <a:pt x="801" y="658"/>
                    <a:pt x="802" y="660"/>
                    <a:pt x="802" y="661"/>
                  </a:cubicBezTo>
                  <a:cubicBezTo>
                    <a:pt x="801" y="662"/>
                    <a:pt x="801" y="662"/>
                    <a:pt x="801" y="662"/>
                  </a:cubicBezTo>
                  <a:cubicBezTo>
                    <a:pt x="797" y="658"/>
                    <a:pt x="793" y="657"/>
                    <a:pt x="788" y="657"/>
                  </a:cubicBezTo>
                  <a:cubicBezTo>
                    <a:pt x="783" y="657"/>
                    <a:pt x="774" y="660"/>
                    <a:pt x="761" y="665"/>
                  </a:cubicBezTo>
                  <a:cubicBezTo>
                    <a:pt x="750" y="669"/>
                    <a:pt x="750" y="669"/>
                    <a:pt x="750" y="669"/>
                  </a:cubicBezTo>
                  <a:cubicBezTo>
                    <a:pt x="738" y="674"/>
                    <a:pt x="729" y="675"/>
                    <a:pt x="722" y="672"/>
                  </a:cubicBezTo>
                  <a:cubicBezTo>
                    <a:pt x="715" y="670"/>
                    <a:pt x="709" y="664"/>
                    <a:pt x="706" y="654"/>
                  </a:cubicBezTo>
                  <a:cubicBezTo>
                    <a:pt x="702" y="644"/>
                    <a:pt x="702" y="636"/>
                    <a:pt x="705" y="630"/>
                  </a:cubicBezTo>
                  <a:cubicBezTo>
                    <a:pt x="708" y="624"/>
                    <a:pt x="715" y="618"/>
                    <a:pt x="726" y="614"/>
                  </a:cubicBezTo>
                  <a:cubicBezTo>
                    <a:pt x="743" y="608"/>
                    <a:pt x="743" y="608"/>
                    <a:pt x="743" y="608"/>
                  </a:cubicBezTo>
                  <a:cubicBezTo>
                    <a:pt x="756" y="603"/>
                    <a:pt x="763" y="599"/>
                    <a:pt x="767" y="597"/>
                  </a:cubicBezTo>
                  <a:cubicBezTo>
                    <a:pt x="770" y="594"/>
                    <a:pt x="772" y="592"/>
                    <a:pt x="773" y="588"/>
                  </a:cubicBezTo>
                  <a:close/>
                  <a:moveTo>
                    <a:pt x="786" y="674"/>
                  </a:moveTo>
                  <a:cubicBezTo>
                    <a:pt x="733" y="742"/>
                    <a:pt x="733" y="742"/>
                    <a:pt x="733" y="742"/>
                  </a:cubicBezTo>
                  <a:cubicBezTo>
                    <a:pt x="734" y="744"/>
                    <a:pt x="734" y="744"/>
                    <a:pt x="734" y="744"/>
                  </a:cubicBezTo>
                  <a:cubicBezTo>
                    <a:pt x="780" y="731"/>
                    <a:pt x="780" y="731"/>
                    <a:pt x="780" y="731"/>
                  </a:cubicBezTo>
                  <a:cubicBezTo>
                    <a:pt x="794" y="727"/>
                    <a:pt x="803" y="725"/>
                    <a:pt x="808" y="726"/>
                  </a:cubicBezTo>
                  <a:cubicBezTo>
                    <a:pt x="813" y="726"/>
                    <a:pt x="817" y="728"/>
                    <a:pt x="820" y="732"/>
                  </a:cubicBezTo>
                  <a:cubicBezTo>
                    <a:pt x="822" y="731"/>
                    <a:pt x="822" y="731"/>
                    <a:pt x="822" y="731"/>
                  </a:cubicBezTo>
                  <a:cubicBezTo>
                    <a:pt x="821" y="730"/>
                    <a:pt x="821" y="728"/>
                    <a:pt x="820" y="726"/>
                  </a:cubicBezTo>
                  <a:cubicBezTo>
                    <a:pt x="820" y="724"/>
                    <a:pt x="819" y="722"/>
                    <a:pt x="818" y="718"/>
                  </a:cubicBezTo>
                  <a:cubicBezTo>
                    <a:pt x="817" y="714"/>
                    <a:pt x="816" y="712"/>
                    <a:pt x="816" y="710"/>
                  </a:cubicBezTo>
                  <a:cubicBezTo>
                    <a:pt x="815" y="708"/>
                    <a:pt x="815" y="706"/>
                    <a:pt x="814" y="705"/>
                  </a:cubicBezTo>
                  <a:cubicBezTo>
                    <a:pt x="812" y="705"/>
                    <a:pt x="812" y="705"/>
                    <a:pt x="812" y="705"/>
                  </a:cubicBezTo>
                  <a:cubicBezTo>
                    <a:pt x="812" y="710"/>
                    <a:pt x="810" y="713"/>
                    <a:pt x="806" y="716"/>
                  </a:cubicBezTo>
                  <a:cubicBezTo>
                    <a:pt x="802" y="719"/>
                    <a:pt x="793" y="722"/>
                    <a:pt x="779" y="726"/>
                  </a:cubicBezTo>
                  <a:cubicBezTo>
                    <a:pt x="771" y="729"/>
                    <a:pt x="771" y="729"/>
                    <a:pt x="771" y="729"/>
                  </a:cubicBezTo>
                  <a:cubicBezTo>
                    <a:pt x="807" y="681"/>
                    <a:pt x="807" y="681"/>
                    <a:pt x="807" y="681"/>
                  </a:cubicBezTo>
                  <a:cubicBezTo>
                    <a:pt x="807" y="680"/>
                    <a:pt x="807" y="678"/>
                    <a:pt x="806" y="676"/>
                  </a:cubicBezTo>
                  <a:cubicBezTo>
                    <a:pt x="805" y="674"/>
                    <a:pt x="805" y="672"/>
                    <a:pt x="804" y="671"/>
                  </a:cubicBezTo>
                  <a:cubicBezTo>
                    <a:pt x="804" y="669"/>
                    <a:pt x="803" y="667"/>
                    <a:pt x="802" y="663"/>
                  </a:cubicBezTo>
                  <a:cubicBezTo>
                    <a:pt x="801" y="659"/>
                    <a:pt x="801" y="657"/>
                    <a:pt x="800" y="656"/>
                  </a:cubicBezTo>
                  <a:cubicBezTo>
                    <a:pt x="799" y="656"/>
                    <a:pt x="799" y="656"/>
                    <a:pt x="799" y="656"/>
                  </a:cubicBezTo>
                  <a:cubicBezTo>
                    <a:pt x="799" y="660"/>
                    <a:pt x="798" y="662"/>
                    <a:pt x="796" y="664"/>
                  </a:cubicBezTo>
                  <a:cubicBezTo>
                    <a:pt x="794" y="666"/>
                    <a:pt x="791" y="668"/>
                    <a:pt x="785" y="669"/>
                  </a:cubicBezTo>
                  <a:cubicBezTo>
                    <a:pt x="759" y="677"/>
                    <a:pt x="759" y="677"/>
                    <a:pt x="759" y="677"/>
                  </a:cubicBezTo>
                  <a:cubicBezTo>
                    <a:pt x="745" y="681"/>
                    <a:pt x="736" y="683"/>
                    <a:pt x="731" y="682"/>
                  </a:cubicBezTo>
                  <a:cubicBezTo>
                    <a:pt x="726" y="682"/>
                    <a:pt x="722" y="680"/>
                    <a:pt x="719" y="676"/>
                  </a:cubicBezTo>
                  <a:cubicBezTo>
                    <a:pt x="717" y="677"/>
                    <a:pt x="717" y="677"/>
                    <a:pt x="717" y="677"/>
                  </a:cubicBezTo>
                  <a:cubicBezTo>
                    <a:pt x="718" y="679"/>
                    <a:pt x="719" y="681"/>
                    <a:pt x="720" y="683"/>
                  </a:cubicBezTo>
                  <a:cubicBezTo>
                    <a:pt x="720" y="685"/>
                    <a:pt x="721" y="688"/>
                    <a:pt x="722" y="690"/>
                  </a:cubicBezTo>
                  <a:cubicBezTo>
                    <a:pt x="722" y="693"/>
                    <a:pt x="723" y="695"/>
                    <a:pt x="724" y="697"/>
                  </a:cubicBezTo>
                  <a:cubicBezTo>
                    <a:pt x="724" y="699"/>
                    <a:pt x="725" y="701"/>
                    <a:pt x="725" y="703"/>
                  </a:cubicBezTo>
                  <a:cubicBezTo>
                    <a:pt x="727" y="703"/>
                    <a:pt x="727" y="703"/>
                    <a:pt x="727" y="703"/>
                  </a:cubicBezTo>
                  <a:cubicBezTo>
                    <a:pt x="728" y="698"/>
                    <a:pt x="730" y="695"/>
                    <a:pt x="734" y="692"/>
                  </a:cubicBezTo>
                  <a:cubicBezTo>
                    <a:pt x="738" y="689"/>
                    <a:pt x="747" y="686"/>
                    <a:pt x="760" y="682"/>
                  </a:cubicBezTo>
                  <a:cubicBezTo>
                    <a:pt x="786" y="674"/>
                    <a:pt x="786" y="674"/>
                    <a:pt x="786" y="674"/>
                  </a:cubicBezTo>
                  <a:close/>
                  <a:moveTo>
                    <a:pt x="737" y="745"/>
                  </a:moveTo>
                  <a:cubicBezTo>
                    <a:pt x="739" y="745"/>
                    <a:pt x="739" y="745"/>
                    <a:pt x="739" y="745"/>
                  </a:cubicBezTo>
                  <a:cubicBezTo>
                    <a:pt x="741" y="747"/>
                    <a:pt x="744" y="748"/>
                    <a:pt x="748" y="748"/>
                  </a:cubicBezTo>
                  <a:cubicBezTo>
                    <a:pt x="752" y="748"/>
                    <a:pt x="759" y="747"/>
                    <a:pt x="770" y="745"/>
                  </a:cubicBezTo>
                  <a:cubicBezTo>
                    <a:pt x="775" y="744"/>
                    <a:pt x="775" y="744"/>
                    <a:pt x="775" y="744"/>
                  </a:cubicBezTo>
                  <a:cubicBezTo>
                    <a:pt x="810" y="735"/>
                    <a:pt x="810" y="735"/>
                    <a:pt x="810" y="735"/>
                  </a:cubicBezTo>
                  <a:cubicBezTo>
                    <a:pt x="814" y="735"/>
                    <a:pt x="816" y="734"/>
                    <a:pt x="817" y="733"/>
                  </a:cubicBezTo>
                  <a:cubicBezTo>
                    <a:pt x="818" y="732"/>
                    <a:pt x="819" y="731"/>
                    <a:pt x="819" y="729"/>
                  </a:cubicBezTo>
                  <a:cubicBezTo>
                    <a:pt x="821" y="729"/>
                    <a:pt x="821" y="729"/>
                    <a:pt x="821" y="729"/>
                  </a:cubicBezTo>
                  <a:cubicBezTo>
                    <a:pt x="822" y="733"/>
                    <a:pt x="822" y="735"/>
                    <a:pt x="823" y="737"/>
                  </a:cubicBezTo>
                  <a:cubicBezTo>
                    <a:pt x="823" y="739"/>
                    <a:pt x="824" y="741"/>
                    <a:pt x="824" y="743"/>
                  </a:cubicBezTo>
                  <a:cubicBezTo>
                    <a:pt x="824" y="744"/>
                    <a:pt x="825" y="746"/>
                    <a:pt x="825" y="748"/>
                  </a:cubicBezTo>
                  <a:cubicBezTo>
                    <a:pt x="826" y="750"/>
                    <a:pt x="827" y="753"/>
                    <a:pt x="828" y="757"/>
                  </a:cubicBezTo>
                  <a:cubicBezTo>
                    <a:pt x="826" y="757"/>
                    <a:pt x="826" y="757"/>
                    <a:pt x="826" y="757"/>
                  </a:cubicBezTo>
                  <a:cubicBezTo>
                    <a:pt x="825" y="756"/>
                    <a:pt x="824" y="755"/>
                    <a:pt x="822" y="755"/>
                  </a:cubicBezTo>
                  <a:cubicBezTo>
                    <a:pt x="821" y="754"/>
                    <a:pt x="819" y="755"/>
                    <a:pt x="815" y="756"/>
                  </a:cubicBezTo>
                  <a:cubicBezTo>
                    <a:pt x="774" y="765"/>
                    <a:pt x="774" y="765"/>
                    <a:pt x="774" y="765"/>
                  </a:cubicBezTo>
                  <a:cubicBezTo>
                    <a:pt x="764" y="767"/>
                    <a:pt x="757" y="770"/>
                    <a:pt x="753" y="771"/>
                  </a:cubicBezTo>
                  <a:cubicBezTo>
                    <a:pt x="750" y="773"/>
                    <a:pt x="748" y="776"/>
                    <a:pt x="747" y="779"/>
                  </a:cubicBezTo>
                  <a:cubicBezTo>
                    <a:pt x="745" y="779"/>
                    <a:pt x="745" y="779"/>
                    <a:pt x="745" y="779"/>
                  </a:cubicBezTo>
                  <a:cubicBezTo>
                    <a:pt x="744" y="776"/>
                    <a:pt x="744" y="774"/>
                    <a:pt x="743" y="771"/>
                  </a:cubicBezTo>
                  <a:cubicBezTo>
                    <a:pt x="743" y="768"/>
                    <a:pt x="742" y="765"/>
                    <a:pt x="741" y="762"/>
                  </a:cubicBezTo>
                  <a:cubicBezTo>
                    <a:pt x="741" y="759"/>
                    <a:pt x="740" y="756"/>
                    <a:pt x="739" y="753"/>
                  </a:cubicBezTo>
                  <a:cubicBezTo>
                    <a:pt x="738" y="750"/>
                    <a:pt x="738" y="747"/>
                    <a:pt x="737" y="745"/>
                  </a:cubicBezTo>
                  <a:close/>
                  <a:moveTo>
                    <a:pt x="842" y="832"/>
                  </a:moveTo>
                  <a:cubicBezTo>
                    <a:pt x="841" y="829"/>
                    <a:pt x="841" y="827"/>
                    <a:pt x="840" y="825"/>
                  </a:cubicBezTo>
                  <a:cubicBezTo>
                    <a:pt x="840" y="823"/>
                    <a:pt x="840" y="821"/>
                    <a:pt x="839" y="819"/>
                  </a:cubicBezTo>
                  <a:cubicBezTo>
                    <a:pt x="839" y="817"/>
                    <a:pt x="838" y="815"/>
                    <a:pt x="838" y="812"/>
                  </a:cubicBezTo>
                  <a:cubicBezTo>
                    <a:pt x="838" y="810"/>
                    <a:pt x="837" y="808"/>
                    <a:pt x="837" y="805"/>
                  </a:cubicBezTo>
                  <a:cubicBezTo>
                    <a:pt x="835" y="805"/>
                    <a:pt x="835" y="805"/>
                    <a:pt x="835" y="805"/>
                  </a:cubicBezTo>
                  <a:cubicBezTo>
                    <a:pt x="835" y="808"/>
                    <a:pt x="835" y="809"/>
                    <a:pt x="833" y="811"/>
                  </a:cubicBezTo>
                  <a:cubicBezTo>
                    <a:pt x="832" y="812"/>
                    <a:pt x="830" y="813"/>
                    <a:pt x="827" y="814"/>
                  </a:cubicBezTo>
                  <a:cubicBezTo>
                    <a:pt x="824" y="814"/>
                    <a:pt x="821" y="815"/>
                    <a:pt x="817" y="814"/>
                  </a:cubicBezTo>
                  <a:cubicBezTo>
                    <a:pt x="813" y="814"/>
                    <a:pt x="808" y="814"/>
                    <a:pt x="803" y="813"/>
                  </a:cubicBezTo>
                  <a:cubicBezTo>
                    <a:pt x="778" y="808"/>
                    <a:pt x="778" y="808"/>
                    <a:pt x="778" y="808"/>
                  </a:cubicBezTo>
                  <a:cubicBezTo>
                    <a:pt x="815" y="785"/>
                    <a:pt x="815" y="785"/>
                    <a:pt x="815" y="785"/>
                  </a:cubicBezTo>
                  <a:cubicBezTo>
                    <a:pt x="817" y="784"/>
                    <a:pt x="818" y="784"/>
                    <a:pt x="820" y="783"/>
                  </a:cubicBezTo>
                  <a:cubicBezTo>
                    <a:pt x="821" y="783"/>
                    <a:pt x="822" y="782"/>
                    <a:pt x="823" y="782"/>
                  </a:cubicBezTo>
                  <a:cubicBezTo>
                    <a:pt x="825" y="781"/>
                    <a:pt x="827" y="782"/>
                    <a:pt x="829" y="782"/>
                  </a:cubicBezTo>
                  <a:cubicBezTo>
                    <a:pt x="830" y="783"/>
                    <a:pt x="831" y="784"/>
                    <a:pt x="831" y="786"/>
                  </a:cubicBezTo>
                  <a:cubicBezTo>
                    <a:pt x="833" y="786"/>
                    <a:pt x="833" y="786"/>
                    <a:pt x="833" y="786"/>
                  </a:cubicBezTo>
                  <a:cubicBezTo>
                    <a:pt x="832" y="782"/>
                    <a:pt x="832" y="779"/>
                    <a:pt x="831" y="776"/>
                  </a:cubicBezTo>
                  <a:cubicBezTo>
                    <a:pt x="830" y="773"/>
                    <a:pt x="830" y="770"/>
                    <a:pt x="829" y="767"/>
                  </a:cubicBezTo>
                  <a:cubicBezTo>
                    <a:pt x="829" y="764"/>
                    <a:pt x="828" y="761"/>
                    <a:pt x="827" y="758"/>
                  </a:cubicBezTo>
                  <a:cubicBezTo>
                    <a:pt x="827" y="755"/>
                    <a:pt x="827" y="752"/>
                    <a:pt x="826" y="749"/>
                  </a:cubicBezTo>
                  <a:cubicBezTo>
                    <a:pt x="824" y="750"/>
                    <a:pt x="824" y="750"/>
                    <a:pt x="824" y="750"/>
                  </a:cubicBezTo>
                  <a:cubicBezTo>
                    <a:pt x="825" y="752"/>
                    <a:pt x="824" y="754"/>
                    <a:pt x="822" y="756"/>
                  </a:cubicBezTo>
                  <a:cubicBezTo>
                    <a:pt x="820" y="758"/>
                    <a:pt x="816" y="761"/>
                    <a:pt x="810" y="765"/>
                  </a:cubicBezTo>
                  <a:cubicBezTo>
                    <a:pt x="745" y="806"/>
                    <a:pt x="745" y="806"/>
                    <a:pt x="745" y="806"/>
                  </a:cubicBezTo>
                  <a:cubicBezTo>
                    <a:pt x="746" y="807"/>
                    <a:pt x="746" y="807"/>
                    <a:pt x="746" y="807"/>
                  </a:cubicBezTo>
                  <a:cubicBezTo>
                    <a:pt x="811" y="821"/>
                    <a:pt x="811" y="821"/>
                    <a:pt x="811" y="821"/>
                  </a:cubicBezTo>
                  <a:cubicBezTo>
                    <a:pt x="811" y="821"/>
                    <a:pt x="812" y="821"/>
                    <a:pt x="814" y="822"/>
                  </a:cubicBezTo>
                  <a:cubicBezTo>
                    <a:pt x="829" y="825"/>
                    <a:pt x="838" y="828"/>
                    <a:pt x="840" y="832"/>
                  </a:cubicBezTo>
                  <a:cubicBezTo>
                    <a:pt x="842" y="832"/>
                    <a:pt x="842" y="832"/>
                    <a:pt x="842" y="832"/>
                  </a:cubicBezTo>
                  <a:close/>
                  <a:moveTo>
                    <a:pt x="754" y="835"/>
                  </a:moveTo>
                  <a:cubicBezTo>
                    <a:pt x="756" y="835"/>
                    <a:pt x="756" y="835"/>
                    <a:pt x="756" y="835"/>
                  </a:cubicBezTo>
                  <a:cubicBezTo>
                    <a:pt x="758" y="837"/>
                    <a:pt x="761" y="839"/>
                    <a:pt x="765" y="839"/>
                  </a:cubicBezTo>
                  <a:cubicBezTo>
                    <a:pt x="769" y="840"/>
                    <a:pt x="774" y="840"/>
                    <a:pt x="782" y="838"/>
                  </a:cubicBezTo>
                  <a:cubicBezTo>
                    <a:pt x="828" y="832"/>
                    <a:pt x="828" y="832"/>
                    <a:pt x="828" y="832"/>
                  </a:cubicBezTo>
                  <a:cubicBezTo>
                    <a:pt x="832" y="832"/>
                    <a:pt x="834" y="831"/>
                    <a:pt x="836" y="830"/>
                  </a:cubicBezTo>
                  <a:cubicBezTo>
                    <a:pt x="837" y="829"/>
                    <a:pt x="837" y="828"/>
                    <a:pt x="838" y="826"/>
                  </a:cubicBezTo>
                  <a:cubicBezTo>
                    <a:pt x="840" y="826"/>
                    <a:pt x="840" y="826"/>
                    <a:pt x="840" y="826"/>
                  </a:cubicBezTo>
                  <a:cubicBezTo>
                    <a:pt x="840" y="831"/>
                    <a:pt x="841" y="836"/>
                    <a:pt x="841" y="840"/>
                  </a:cubicBezTo>
                  <a:cubicBezTo>
                    <a:pt x="842" y="844"/>
                    <a:pt x="842" y="848"/>
                    <a:pt x="843" y="851"/>
                  </a:cubicBezTo>
                  <a:cubicBezTo>
                    <a:pt x="847" y="882"/>
                    <a:pt x="847" y="882"/>
                    <a:pt x="847" y="882"/>
                  </a:cubicBezTo>
                  <a:cubicBezTo>
                    <a:pt x="825" y="889"/>
                    <a:pt x="825" y="889"/>
                    <a:pt x="825" y="889"/>
                  </a:cubicBezTo>
                  <a:cubicBezTo>
                    <a:pt x="825" y="888"/>
                    <a:pt x="825" y="888"/>
                    <a:pt x="825" y="888"/>
                  </a:cubicBezTo>
                  <a:cubicBezTo>
                    <a:pt x="831" y="882"/>
                    <a:pt x="835" y="876"/>
                    <a:pt x="837" y="871"/>
                  </a:cubicBezTo>
                  <a:cubicBezTo>
                    <a:pt x="840" y="866"/>
                    <a:pt x="841" y="860"/>
                    <a:pt x="840" y="855"/>
                  </a:cubicBezTo>
                  <a:cubicBezTo>
                    <a:pt x="840" y="854"/>
                    <a:pt x="840" y="853"/>
                    <a:pt x="839" y="853"/>
                  </a:cubicBezTo>
                  <a:cubicBezTo>
                    <a:pt x="839" y="852"/>
                    <a:pt x="839" y="852"/>
                    <a:pt x="839" y="851"/>
                  </a:cubicBezTo>
                  <a:cubicBezTo>
                    <a:pt x="806" y="856"/>
                    <a:pt x="806" y="856"/>
                    <a:pt x="806" y="856"/>
                  </a:cubicBezTo>
                  <a:cubicBezTo>
                    <a:pt x="806" y="857"/>
                    <a:pt x="806" y="858"/>
                    <a:pt x="806" y="859"/>
                  </a:cubicBezTo>
                  <a:cubicBezTo>
                    <a:pt x="806" y="859"/>
                    <a:pt x="806" y="860"/>
                    <a:pt x="806" y="860"/>
                  </a:cubicBezTo>
                  <a:cubicBezTo>
                    <a:pt x="807" y="866"/>
                    <a:pt x="809" y="870"/>
                    <a:pt x="811" y="872"/>
                  </a:cubicBezTo>
                  <a:cubicBezTo>
                    <a:pt x="814" y="875"/>
                    <a:pt x="818" y="877"/>
                    <a:pt x="823" y="878"/>
                  </a:cubicBezTo>
                  <a:cubicBezTo>
                    <a:pt x="823" y="879"/>
                    <a:pt x="823" y="879"/>
                    <a:pt x="823" y="879"/>
                  </a:cubicBezTo>
                  <a:cubicBezTo>
                    <a:pt x="791" y="884"/>
                    <a:pt x="791" y="884"/>
                    <a:pt x="791" y="884"/>
                  </a:cubicBezTo>
                  <a:cubicBezTo>
                    <a:pt x="791" y="882"/>
                    <a:pt x="791" y="882"/>
                    <a:pt x="791" y="882"/>
                  </a:cubicBezTo>
                  <a:cubicBezTo>
                    <a:pt x="795" y="880"/>
                    <a:pt x="798" y="877"/>
                    <a:pt x="800" y="874"/>
                  </a:cubicBezTo>
                  <a:cubicBezTo>
                    <a:pt x="802" y="871"/>
                    <a:pt x="802" y="866"/>
                    <a:pt x="802" y="861"/>
                  </a:cubicBezTo>
                  <a:cubicBezTo>
                    <a:pt x="802" y="860"/>
                    <a:pt x="801" y="860"/>
                    <a:pt x="801" y="859"/>
                  </a:cubicBezTo>
                  <a:cubicBezTo>
                    <a:pt x="801" y="859"/>
                    <a:pt x="801" y="858"/>
                    <a:pt x="801" y="857"/>
                  </a:cubicBezTo>
                  <a:cubicBezTo>
                    <a:pt x="781" y="860"/>
                    <a:pt x="781" y="860"/>
                    <a:pt x="781" y="860"/>
                  </a:cubicBezTo>
                  <a:cubicBezTo>
                    <a:pt x="775" y="860"/>
                    <a:pt x="771" y="862"/>
                    <a:pt x="768" y="864"/>
                  </a:cubicBezTo>
                  <a:cubicBezTo>
                    <a:pt x="766" y="866"/>
                    <a:pt x="765" y="869"/>
                    <a:pt x="765" y="873"/>
                  </a:cubicBezTo>
                  <a:cubicBezTo>
                    <a:pt x="766" y="877"/>
                    <a:pt x="769" y="882"/>
                    <a:pt x="773" y="886"/>
                  </a:cubicBezTo>
                  <a:cubicBezTo>
                    <a:pt x="778" y="890"/>
                    <a:pt x="785" y="895"/>
                    <a:pt x="793" y="899"/>
                  </a:cubicBezTo>
                  <a:cubicBezTo>
                    <a:pt x="793" y="900"/>
                    <a:pt x="793" y="900"/>
                    <a:pt x="793" y="900"/>
                  </a:cubicBezTo>
                  <a:cubicBezTo>
                    <a:pt x="764" y="898"/>
                    <a:pt x="764" y="898"/>
                    <a:pt x="764" y="898"/>
                  </a:cubicBezTo>
                  <a:cubicBezTo>
                    <a:pt x="759" y="863"/>
                    <a:pt x="759" y="863"/>
                    <a:pt x="759" y="863"/>
                  </a:cubicBezTo>
                  <a:cubicBezTo>
                    <a:pt x="759" y="861"/>
                    <a:pt x="758" y="857"/>
                    <a:pt x="757" y="852"/>
                  </a:cubicBezTo>
                  <a:cubicBezTo>
                    <a:pt x="756" y="847"/>
                    <a:pt x="755" y="841"/>
                    <a:pt x="754" y="835"/>
                  </a:cubicBezTo>
                  <a:close/>
                  <a:moveTo>
                    <a:pt x="763" y="895"/>
                  </a:moveTo>
                  <a:cubicBezTo>
                    <a:pt x="763" y="898"/>
                    <a:pt x="764" y="901"/>
                    <a:pt x="764" y="904"/>
                  </a:cubicBezTo>
                  <a:cubicBezTo>
                    <a:pt x="764" y="906"/>
                    <a:pt x="764" y="910"/>
                    <a:pt x="765" y="913"/>
                  </a:cubicBezTo>
                  <a:cubicBezTo>
                    <a:pt x="765" y="916"/>
                    <a:pt x="765" y="919"/>
                    <a:pt x="765" y="922"/>
                  </a:cubicBezTo>
                  <a:cubicBezTo>
                    <a:pt x="765" y="925"/>
                    <a:pt x="765" y="928"/>
                    <a:pt x="765" y="930"/>
                  </a:cubicBezTo>
                  <a:cubicBezTo>
                    <a:pt x="767" y="930"/>
                    <a:pt x="767" y="930"/>
                    <a:pt x="767" y="930"/>
                  </a:cubicBezTo>
                  <a:cubicBezTo>
                    <a:pt x="768" y="927"/>
                    <a:pt x="771" y="925"/>
                    <a:pt x="775" y="924"/>
                  </a:cubicBezTo>
                  <a:cubicBezTo>
                    <a:pt x="778" y="923"/>
                    <a:pt x="786" y="922"/>
                    <a:pt x="79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2"/>
                    <a:pt x="807" y="923"/>
                    <a:pt x="807" y="923"/>
                  </a:cubicBezTo>
                  <a:cubicBezTo>
                    <a:pt x="808" y="930"/>
                    <a:pt x="797" y="937"/>
                    <a:pt x="774" y="944"/>
                  </a:cubicBezTo>
                  <a:cubicBezTo>
                    <a:pt x="771" y="945"/>
                    <a:pt x="768" y="945"/>
                    <a:pt x="766" y="946"/>
                  </a:cubicBezTo>
                  <a:cubicBezTo>
                    <a:pt x="766" y="947"/>
                    <a:pt x="766" y="949"/>
                    <a:pt x="767" y="950"/>
                  </a:cubicBezTo>
                  <a:cubicBezTo>
                    <a:pt x="767" y="952"/>
                    <a:pt x="767" y="954"/>
                    <a:pt x="767" y="957"/>
                  </a:cubicBezTo>
                  <a:cubicBezTo>
                    <a:pt x="767" y="959"/>
                    <a:pt x="767" y="962"/>
                    <a:pt x="767" y="964"/>
                  </a:cubicBezTo>
                  <a:cubicBezTo>
                    <a:pt x="767" y="967"/>
                    <a:pt x="767" y="970"/>
                    <a:pt x="768" y="975"/>
                  </a:cubicBezTo>
                  <a:cubicBezTo>
                    <a:pt x="769" y="975"/>
                    <a:pt x="769" y="975"/>
                    <a:pt x="769" y="975"/>
                  </a:cubicBezTo>
                  <a:cubicBezTo>
                    <a:pt x="770" y="971"/>
                    <a:pt x="775" y="967"/>
                    <a:pt x="786" y="962"/>
                  </a:cubicBezTo>
                  <a:cubicBezTo>
                    <a:pt x="790" y="961"/>
                    <a:pt x="793" y="960"/>
                    <a:pt x="794" y="959"/>
                  </a:cubicBezTo>
                  <a:cubicBezTo>
                    <a:pt x="799" y="957"/>
                    <a:pt x="803" y="955"/>
                    <a:pt x="805" y="951"/>
                  </a:cubicBezTo>
                  <a:cubicBezTo>
                    <a:pt x="808" y="948"/>
                    <a:pt x="809" y="944"/>
                    <a:pt x="810" y="938"/>
                  </a:cubicBezTo>
                  <a:cubicBezTo>
                    <a:pt x="812" y="946"/>
                    <a:pt x="814" y="952"/>
                    <a:pt x="818" y="956"/>
                  </a:cubicBezTo>
                  <a:cubicBezTo>
                    <a:pt x="822" y="960"/>
                    <a:pt x="826" y="961"/>
                    <a:pt x="832" y="961"/>
                  </a:cubicBezTo>
                  <a:cubicBezTo>
                    <a:pt x="839" y="961"/>
                    <a:pt x="844" y="958"/>
                    <a:pt x="847" y="952"/>
                  </a:cubicBezTo>
                  <a:cubicBezTo>
                    <a:pt x="850" y="947"/>
                    <a:pt x="851" y="937"/>
                    <a:pt x="850" y="925"/>
                  </a:cubicBezTo>
                  <a:cubicBezTo>
                    <a:pt x="850" y="915"/>
                    <a:pt x="850" y="915"/>
                    <a:pt x="850" y="915"/>
                  </a:cubicBezTo>
                  <a:cubicBezTo>
                    <a:pt x="849" y="910"/>
                    <a:pt x="849" y="906"/>
                    <a:pt x="849" y="903"/>
                  </a:cubicBezTo>
                  <a:cubicBezTo>
                    <a:pt x="849" y="900"/>
                    <a:pt x="849" y="897"/>
                    <a:pt x="849" y="894"/>
                  </a:cubicBezTo>
                  <a:cubicBezTo>
                    <a:pt x="847" y="894"/>
                    <a:pt x="847" y="894"/>
                    <a:pt x="847" y="894"/>
                  </a:cubicBezTo>
                  <a:cubicBezTo>
                    <a:pt x="847" y="896"/>
                    <a:pt x="846" y="897"/>
                    <a:pt x="844" y="897"/>
                  </a:cubicBezTo>
                  <a:cubicBezTo>
                    <a:pt x="843" y="898"/>
                    <a:pt x="841" y="898"/>
                    <a:pt x="837" y="899"/>
                  </a:cubicBezTo>
                  <a:cubicBezTo>
                    <a:pt x="801" y="901"/>
                    <a:pt x="801" y="901"/>
                    <a:pt x="801" y="901"/>
                  </a:cubicBezTo>
                  <a:cubicBezTo>
                    <a:pt x="795" y="901"/>
                    <a:pt x="795" y="901"/>
                    <a:pt x="795" y="901"/>
                  </a:cubicBezTo>
                  <a:cubicBezTo>
                    <a:pt x="784" y="901"/>
                    <a:pt x="777" y="901"/>
                    <a:pt x="773" y="900"/>
                  </a:cubicBezTo>
                  <a:cubicBezTo>
                    <a:pt x="770" y="900"/>
                    <a:pt x="767" y="898"/>
                    <a:pt x="765" y="895"/>
                  </a:cubicBezTo>
                  <a:cubicBezTo>
                    <a:pt x="763" y="895"/>
                    <a:pt x="763" y="895"/>
                    <a:pt x="763" y="895"/>
                  </a:cubicBezTo>
                  <a:close/>
                  <a:moveTo>
                    <a:pt x="812" y="921"/>
                  </a:moveTo>
                  <a:cubicBezTo>
                    <a:pt x="844" y="919"/>
                    <a:pt x="844" y="919"/>
                    <a:pt x="844" y="919"/>
                  </a:cubicBezTo>
                  <a:cubicBezTo>
                    <a:pt x="845" y="920"/>
                    <a:pt x="845" y="921"/>
                    <a:pt x="845" y="921"/>
                  </a:cubicBezTo>
                  <a:cubicBezTo>
                    <a:pt x="845" y="922"/>
                    <a:pt x="845" y="923"/>
                    <a:pt x="845" y="925"/>
                  </a:cubicBezTo>
                  <a:cubicBezTo>
                    <a:pt x="845" y="929"/>
                    <a:pt x="844" y="933"/>
                    <a:pt x="841" y="935"/>
                  </a:cubicBezTo>
                  <a:cubicBezTo>
                    <a:pt x="839" y="938"/>
                    <a:pt x="835" y="939"/>
                    <a:pt x="829" y="939"/>
                  </a:cubicBezTo>
                  <a:cubicBezTo>
                    <a:pt x="824" y="939"/>
                    <a:pt x="819" y="939"/>
                    <a:pt x="817" y="936"/>
                  </a:cubicBezTo>
                  <a:cubicBezTo>
                    <a:pt x="814" y="934"/>
                    <a:pt x="812" y="931"/>
                    <a:pt x="812" y="926"/>
                  </a:cubicBezTo>
                  <a:cubicBezTo>
                    <a:pt x="812" y="924"/>
                    <a:pt x="812" y="923"/>
                    <a:pt x="812" y="923"/>
                  </a:cubicBezTo>
                  <a:cubicBezTo>
                    <a:pt x="812" y="922"/>
                    <a:pt x="812" y="921"/>
                    <a:pt x="812" y="921"/>
                  </a:cubicBezTo>
                  <a:close/>
                  <a:moveTo>
                    <a:pt x="775" y="960"/>
                  </a:moveTo>
                  <a:cubicBezTo>
                    <a:pt x="798" y="966"/>
                    <a:pt x="798" y="966"/>
                    <a:pt x="798" y="966"/>
                  </a:cubicBezTo>
                  <a:cubicBezTo>
                    <a:pt x="798" y="968"/>
                    <a:pt x="798" y="968"/>
                    <a:pt x="798" y="968"/>
                  </a:cubicBezTo>
                  <a:cubicBezTo>
                    <a:pt x="790" y="969"/>
                    <a:pt x="784" y="972"/>
                    <a:pt x="779" y="976"/>
                  </a:cubicBezTo>
                  <a:cubicBezTo>
                    <a:pt x="774" y="980"/>
                    <a:pt x="772" y="984"/>
                    <a:pt x="772" y="990"/>
                  </a:cubicBezTo>
                  <a:cubicBezTo>
                    <a:pt x="772" y="994"/>
                    <a:pt x="773" y="997"/>
                    <a:pt x="776" y="1000"/>
                  </a:cubicBezTo>
                  <a:cubicBezTo>
                    <a:pt x="780" y="1003"/>
                    <a:pt x="784" y="1004"/>
                    <a:pt x="788" y="1004"/>
                  </a:cubicBezTo>
                  <a:cubicBezTo>
                    <a:pt x="793" y="1004"/>
                    <a:pt x="796" y="1003"/>
                    <a:pt x="798" y="1001"/>
                  </a:cubicBezTo>
                  <a:cubicBezTo>
                    <a:pt x="800" y="999"/>
                    <a:pt x="802" y="996"/>
                    <a:pt x="803" y="991"/>
                  </a:cubicBezTo>
                  <a:cubicBezTo>
                    <a:pt x="803" y="990"/>
                    <a:pt x="804" y="989"/>
                    <a:pt x="804" y="987"/>
                  </a:cubicBezTo>
                  <a:cubicBezTo>
                    <a:pt x="806" y="979"/>
                    <a:pt x="808" y="973"/>
                    <a:pt x="811" y="970"/>
                  </a:cubicBezTo>
                  <a:cubicBezTo>
                    <a:pt x="813" y="968"/>
                    <a:pt x="815" y="967"/>
                    <a:pt x="818" y="966"/>
                  </a:cubicBezTo>
                  <a:cubicBezTo>
                    <a:pt x="821" y="965"/>
                    <a:pt x="824" y="964"/>
                    <a:pt x="828" y="964"/>
                  </a:cubicBezTo>
                  <a:cubicBezTo>
                    <a:pt x="836" y="964"/>
                    <a:pt x="843" y="967"/>
                    <a:pt x="848" y="972"/>
                  </a:cubicBezTo>
                  <a:cubicBezTo>
                    <a:pt x="853" y="978"/>
                    <a:pt x="856" y="985"/>
                    <a:pt x="856" y="995"/>
                  </a:cubicBezTo>
                  <a:cubicBezTo>
                    <a:pt x="856" y="999"/>
                    <a:pt x="856" y="1003"/>
                    <a:pt x="854" y="1007"/>
                  </a:cubicBezTo>
                  <a:cubicBezTo>
                    <a:pt x="853" y="1012"/>
                    <a:pt x="852" y="1016"/>
                    <a:pt x="849" y="1021"/>
                  </a:cubicBezTo>
                  <a:cubicBezTo>
                    <a:pt x="828" y="1016"/>
                    <a:pt x="828" y="1016"/>
                    <a:pt x="828" y="1016"/>
                  </a:cubicBezTo>
                  <a:cubicBezTo>
                    <a:pt x="829" y="1014"/>
                    <a:pt x="829" y="1014"/>
                    <a:pt x="829" y="1014"/>
                  </a:cubicBezTo>
                  <a:cubicBezTo>
                    <a:pt x="835" y="1013"/>
                    <a:pt x="841" y="1011"/>
                    <a:pt x="845" y="1008"/>
                  </a:cubicBezTo>
                  <a:cubicBezTo>
                    <a:pt x="849" y="1005"/>
                    <a:pt x="851" y="1001"/>
                    <a:pt x="851" y="996"/>
                  </a:cubicBezTo>
                  <a:cubicBezTo>
                    <a:pt x="851" y="992"/>
                    <a:pt x="849" y="990"/>
                    <a:pt x="846" y="987"/>
                  </a:cubicBezTo>
                  <a:cubicBezTo>
                    <a:pt x="844" y="985"/>
                    <a:pt x="840" y="984"/>
                    <a:pt x="836" y="984"/>
                  </a:cubicBezTo>
                  <a:cubicBezTo>
                    <a:pt x="832" y="984"/>
                    <a:pt x="829" y="985"/>
                    <a:pt x="827" y="987"/>
                  </a:cubicBezTo>
                  <a:cubicBezTo>
                    <a:pt x="825" y="989"/>
                    <a:pt x="824" y="993"/>
                    <a:pt x="822" y="1000"/>
                  </a:cubicBezTo>
                  <a:cubicBezTo>
                    <a:pt x="820" y="1009"/>
                    <a:pt x="817" y="1015"/>
                    <a:pt x="813" y="1019"/>
                  </a:cubicBezTo>
                  <a:cubicBezTo>
                    <a:pt x="809" y="1022"/>
                    <a:pt x="804" y="1024"/>
                    <a:pt x="796" y="1024"/>
                  </a:cubicBezTo>
                  <a:cubicBezTo>
                    <a:pt x="788" y="1024"/>
                    <a:pt x="780" y="1021"/>
                    <a:pt x="775" y="1015"/>
                  </a:cubicBezTo>
                  <a:cubicBezTo>
                    <a:pt x="769" y="1009"/>
                    <a:pt x="766" y="1001"/>
                    <a:pt x="766" y="991"/>
                  </a:cubicBezTo>
                  <a:cubicBezTo>
                    <a:pt x="766" y="985"/>
                    <a:pt x="767" y="980"/>
                    <a:pt x="768" y="975"/>
                  </a:cubicBezTo>
                  <a:cubicBezTo>
                    <a:pt x="770" y="969"/>
                    <a:pt x="772" y="965"/>
                    <a:pt x="775" y="9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9A4939EF-C8C4-45C1-B02F-3BD3734B721F}"/>
                </a:ext>
              </a:extLst>
            </p:cNvPr>
            <p:cNvSpPr/>
            <p:nvPr/>
          </p:nvSpPr>
          <p:spPr bwMode="auto">
            <a:xfrm>
              <a:off x="3867151" y="3454400"/>
              <a:ext cx="73025" cy="131763"/>
            </a:xfrm>
            <a:custGeom>
              <a:avLst/>
              <a:gdLst>
                <a:gd name="T0" fmla="*/ 10 w 94"/>
                <a:gd name="T1" fmla="*/ 0 h 170"/>
                <a:gd name="T2" fmla="*/ 40 w 94"/>
                <a:gd name="T3" fmla="*/ 8 h 170"/>
                <a:gd name="T4" fmla="*/ 81 w 94"/>
                <a:gd name="T5" fmla="*/ 8 h 170"/>
                <a:gd name="T6" fmla="*/ 92 w 94"/>
                <a:gd name="T7" fmla="*/ 4 h 170"/>
                <a:gd name="T8" fmla="*/ 93 w 94"/>
                <a:gd name="T9" fmla="*/ 13 h 170"/>
                <a:gd name="T10" fmla="*/ 93 w 94"/>
                <a:gd name="T11" fmla="*/ 24 h 170"/>
                <a:gd name="T12" fmla="*/ 91 w 94"/>
                <a:gd name="T13" fmla="*/ 33 h 170"/>
                <a:gd name="T14" fmla="*/ 81 w 94"/>
                <a:gd name="T15" fmla="*/ 29 h 170"/>
                <a:gd name="T16" fmla="*/ 17 w 94"/>
                <a:gd name="T17" fmla="*/ 29 h 170"/>
                <a:gd name="T18" fmla="*/ 7 w 94"/>
                <a:gd name="T19" fmla="*/ 35 h 170"/>
                <a:gd name="T20" fmla="*/ 8 w 94"/>
                <a:gd name="T21" fmla="*/ 17 h 170"/>
                <a:gd name="T22" fmla="*/ 8 w 94"/>
                <a:gd name="T23" fmla="*/ 0 h 170"/>
                <a:gd name="T24" fmla="*/ 7 w 94"/>
                <a:gd name="T25" fmla="*/ 53 h 170"/>
                <a:gd name="T26" fmla="*/ 6 w 94"/>
                <a:gd name="T27" fmla="*/ 72 h 170"/>
                <a:gd name="T28" fmla="*/ 7 w 94"/>
                <a:gd name="T29" fmla="*/ 80 h 170"/>
                <a:gd name="T30" fmla="*/ 37 w 94"/>
                <a:gd name="T31" fmla="*/ 74 h 170"/>
                <a:gd name="T32" fmla="*/ 81 w 94"/>
                <a:gd name="T33" fmla="*/ 77 h 170"/>
                <a:gd name="T34" fmla="*/ 85 w 94"/>
                <a:gd name="T35" fmla="*/ 79 h 170"/>
                <a:gd name="T36" fmla="*/ 65 w 94"/>
                <a:gd name="T37" fmla="*/ 99 h 170"/>
                <a:gd name="T38" fmla="*/ 89 w 94"/>
                <a:gd name="T39" fmla="*/ 98 h 170"/>
                <a:gd name="T40" fmla="*/ 69 w 94"/>
                <a:gd name="T41" fmla="*/ 30 h 170"/>
                <a:gd name="T42" fmla="*/ 81 w 94"/>
                <a:gd name="T43" fmla="*/ 44 h 170"/>
                <a:gd name="T44" fmla="*/ 85 w 94"/>
                <a:gd name="T45" fmla="*/ 56 h 170"/>
                <a:gd name="T46" fmla="*/ 43 w 94"/>
                <a:gd name="T47" fmla="*/ 54 h 170"/>
                <a:gd name="T48" fmla="*/ 16 w 94"/>
                <a:gd name="T49" fmla="*/ 51 h 170"/>
                <a:gd name="T50" fmla="*/ 7 w 94"/>
                <a:gd name="T51" fmla="*/ 45 h 170"/>
                <a:gd name="T52" fmla="*/ 32 w 94"/>
                <a:gd name="T53" fmla="*/ 133 h 170"/>
                <a:gd name="T54" fmla="*/ 2 w 94"/>
                <a:gd name="T55" fmla="*/ 138 h 170"/>
                <a:gd name="T56" fmla="*/ 1 w 94"/>
                <a:gd name="T57" fmla="*/ 129 h 170"/>
                <a:gd name="T58" fmla="*/ 3 w 94"/>
                <a:gd name="T59" fmla="*/ 111 h 170"/>
                <a:gd name="T60" fmla="*/ 5 w 94"/>
                <a:gd name="T61" fmla="*/ 103 h 170"/>
                <a:gd name="T62" fmla="*/ 34 w 94"/>
                <a:gd name="T63" fmla="*/ 113 h 170"/>
                <a:gd name="T64" fmla="*/ 73 w 94"/>
                <a:gd name="T65" fmla="*/ 99 h 170"/>
                <a:gd name="T66" fmla="*/ 89 w 94"/>
                <a:gd name="T67" fmla="*/ 88 h 170"/>
                <a:gd name="T68" fmla="*/ 89 w 94"/>
                <a:gd name="T69" fmla="*/ 99 h 170"/>
                <a:gd name="T70" fmla="*/ 88 w 94"/>
                <a:gd name="T71" fmla="*/ 125 h 170"/>
                <a:gd name="T72" fmla="*/ 86 w 94"/>
                <a:gd name="T73" fmla="*/ 125 h 170"/>
                <a:gd name="T74" fmla="*/ 80 w 94"/>
                <a:gd name="T75" fmla="*/ 119 h 170"/>
                <a:gd name="T76" fmla="*/ 71 w 94"/>
                <a:gd name="T77" fmla="*/ 122 h 170"/>
                <a:gd name="T78" fmla="*/ 68 w 94"/>
                <a:gd name="T79" fmla="*/ 145 h 170"/>
                <a:gd name="T80" fmla="*/ 76 w 94"/>
                <a:gd name="T81" fmla="*/ 147 h 170"/>
                <a:gd name="T82" fmla="*/ 84 w 94"/>
                <a:gd name="T83" fmla="*/ 143 h 170"/>
                <a:gd name="T84" fmla="*/ 86 w 94"/>
                <a:gd name="T85" fmla="*/ 143 h 170"/>
                <a:gd name="T86" fmla="*/ 84 w 94"/>
                <a:gd name="T87" fmla="*/ 162 h 170"/>
                <a:gd name="T88" fmla="*/ 82 w 94"/>
                <a:gd name="T89" fmla="*/ 170 h 170"/>
                <a:gd name="T90" fmla="*/ 60 w 94"/>
                <a:gd name="T91" fmla="*/ 14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70">
                  <a:moveTo>
                    <a:pt x="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4" y="5"/>
                    <a:pt x="18" y="6"/>
                  </a:cubicBezTo>
                  <a:cubicBezTo>
                    <a:pt x="21" y="7"/>
                    <a:pt x="29" y="7"/>
                    <a:pt x="40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5" y="8"/>
                    <a:pt x="87" y="8"/>
                    <a:pt x="89" y="8"/>
                  </a:cubicBezTo>
                  <a:cubicBezTo>
                    <a:pt x="90" y="7"/>
                    <a:pt x="91" y="6"/>
                    <a:pt x="9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8"/>
                    <a:pt x="93" y="11"/>
                    <a:pt x="93" y="13"/>
                  </a:cubicBezTo>
                  <a:cubicBezTo>
                    <a:pt x="93" y="15"/>
                    <a:pt x="93" y="17"/>
                    <a:pt x="93" y="19"/>
                  </a:cubicBezTo>
                  <a:cubicBezTo>
                    <a:pt x="93" y="21"/>
                    <a:pt x="93" y="22"/>
                    <a:pt x="93" y="24"/>
                  </a:cubicBezTo>
                  <a:cubicBezTo>
                    <a:pt x="93" y="26"/>
                    <a:pt x="93" y="29"/>
                    <a:pt x="93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1"/>
                    <a:pt x="88" y="30"/>
                  </a:cubicBezTo>
                  <a:cubicBezTo>
                    <a:pt x="87" y="29"/>
                    <a:pt x="85" y="29"/>
                    <a:pt x="81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28" y="28"/>
                    <a:pt x="21" y="28"/>
                    <a:pt x="17" y="29"/>
                  </a:cubicBezTo>
                  <a:cubicBezTo>
                    <a:pt x="14" y="30"/>
                    <a:pt x="11" y="32"/>
                    <a:pt x="9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2"/>
                    <a:pt x="8" y="29"/>
                    <a:pt x="8" y="27"/>
                  </a:cubicBezTo>
                  <a:cubicBezTo>
                    <a:pt x="8" y="24"/>
                    <a:pt x="8" y="21"/>
                    <a:pt x="8" y="17"/>
                  </a:cubicBezTo>
                  <a:cubicBezTo>
                    <a:pt x="8" y="14"/>
                    <a:pt x="8" y="11"/>
                    <a:pt x="8" y="8"/>
                  </a:cubicBezTo>
                  <a:cubicBezTo>
                    <a:pt x="8" y="5"/>
                    <a:pt x="8" y="3"/>
                    <a:pt x="8" y="0"/>
                  </a:cubicBezTo>
                  <a:close/>
                  <a:moveTo>
                    <a:pt x="7" y="45"/>
                  </a:moveTo>
                  <a:cubicBezTo>
                    <a:pt x="7" y="48"/>
                    <a:pt x="7" y="50"/>
                    <a:pt x="7" y="53"/>
                  </a:cubicBezTo>
                  <a:cubicBezTo>
                    <a:pt x="6" y="56"/>
                    <a:pt x="6" y="59"/>
                    <a:pt x="6" y="62"/>
                  </a:cubicBezTo>
                  <a:cubicBezTo>
                    <a:pt x="6" y="66"/>
                    <a:pt x="6" y="69"/>
                    <a:pt x="6" y="72"/>
                  </a:cubicBezTo>
                  <a:cubicBezTo>
                    <a:pt x="5" y="75"/>
                    <a:pt x="5" y="77"/>
                    <a:pt x="5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77"/>
                    <a:pt x="11" y="76"/>
                    <a:pt x="15" y="75"/>
                  </a:cubicBezTo>
                  <a:cubicBezTo>
                    <a:pt x="19" y="74"/>
                    <a:pt x="26" y="74"/>
                    <a:pt x="37" y="74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1" y="77"/>
                    <a:pt x="81" y="77"/>
                    <a:pt x="81" y="77"/>
                  </a:cubicBezTo>
                  <a:cubicBezTo>
                    <a:pt x="82" y="77"/>
                    <a:pt x="84" y="77"/>
                    <a:pt x="84" y="77"/>
                  </a:cubicBezTo>
                  <a:cubicBezTo>
                    <a:pt x="85" y="78"/>
                    <a:pt x="85" y="78"/>
                    <a:pt x="85" y="79"/>
                  </a:cubicBezTo>
                  <a:cubicBezTo>
                    <a:pt x="85" y="82"/>
                    <a:pt x="83" y="85"/>
                    <a:pt x="79" y="88"/>
                  </a:cubicBezTo>
                  <a:cubicBezTo>
                    <a:pt x="76" y="92"/>
                    <a:pt x="71" y="96"/>
                    <a:pt x="65" y="99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74" y="36"/>
                    <a:pt x="78" y="40"/>
                    <a:pt x="81" y="44"/>
                  </a:cubicBezTo>
                  <a:cubicBezTo>
                    <a:pt x="85" y="48"/>
                    <a:pt x="86" y="52"/>
                    <a:pt x="86" y="54"/>
                  </a:cubicBezTo>
                  <a:cubicBezTo>
                    <a:pt x="86" y="55"/>
                    <a:pt x="86" y="56"/>
                    <a:pt x="85" y="56"/>
                  </a:cubicBezTo>
                  <a:cubicBezTo>
                    <a:pt x="85" y="56"/>
                    <a:pt x="84" y="56"/>
                    <a:pt x="82" y="56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7" y="53"/>
                    <a:pt x="20" y="52"/>
                    <a:pt x="16" y="51"/>
                  </a:cubicBezTo>
                  <a:cubicBezTo>
                    <a:pt x="13" y="50"/>
                    <a:pt x="10" y="48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lose/>
                  <a:moveTo>
                    <a:pt x="38" y="134"/>
                  </a:moveTo>
                  <a:cubicBezTo>
                    <a:pt x="32" y="133"/>
                    <a:pt x="32" y="133"/>
                    <a:pt x="32" y="133"/>
                  </a:cubicBezTo>
                  <a:cubicBezTo>
                    <a:pt x="22" y="132"/>
                    <a:pt x="15" y="132"/>
                    <a:pt x="11" y="133"/>
                  </a:cubicBezTo>
                  <a:cubicBezTo>
                    <a:pt x="7" y="134"/>
                    <a:pt x="4" y="135"/>
                    <a:pt x="2" y="13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" y="135"/>
                    <a:pt x="1" y="132"/>
                    <a:pt x="1" y="129"/>
                  </a:cubicBezTo>
                  <a:cubicBezTo>
                    <a:pt x="2" y="126"/>
                    <a:pt x="2" y="123"/>
                    <a:pt x="2" y="120"/>
                  </a:cubicBezTo>
                  <a:cubicBezTo>
                    <a:pt x="3" y="117"/>
                    <a:pt x="3" y="114"/>
                    <a:pt x="3" y="111"/>
                  </a:cubicBezTo>
                  <a:cubicBezTo>
                    <a:pt x="3" y="108"/>
                    <a:pt x="3" y="105"/>
                    <a:pt x="3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7" y="106"/>
                    <a:pt x="9" y="108"/>
                    <a:pt x="13" y="109"/>
                  </a:cubicBezTo>
                  <a:cubicBezTo>
                    <a:pt x="17" y="111"/>
                    <a:pt x="24" y="112"/>
                    <a:pt x="34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8" y="97"/>
                    <a:pt x="82" y="95"/>
                    <a:pt x="84" y="94"/>
                  </a:cubicBezTo>
                  <a:cubicBezTo>
                    <a:pt x="86" y="92"/>
                    <a:pt x="88" y="90"/>
                    <a:pt x="89" y="88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90" y="93"/>
                    <a:pt x="90" y="97"/>
                    <a:pt x="89" y="99"/>
                  </a:cubicBezTo>
                  <a:cubicBezTo>
                    <a:pt x="89" y="102"/>
                    <a:pt x="89" y="104"/>
                    <a:pt x="89" y="107"/>
                  </a:cubicBezTo>
                  <a:cubicBezTo>
                    <a:pt x="88" y="111"/>
                    <a:pt x="88" y="117"/>
                    <a:pt x="88" y="125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85" y="123"/>
                    <a:pt x="84" y="122"/>
                    <a:pt x="83" y="121"/>
                  </a:cubicBezTo>
                  <a:cubicBezTo>
                    <a:pt x="82" y="120"/>
                    <a:pt x="81" y="119"/>
                    <a:pt x="80" y="119"/>
                  </a:cubicBezTo>
                  <a:cubicBezTo>
                    <a:pt x="79" y="119"/>
                    <a:pt x="78" y="119"/>
                    <a:pt x="76" y="120"/>
                  </a:cubicBezTo>
                  <a:cubicBezTo>
                    <a:pt x="75" y="120"/>
                    <a:pt x="73" y="121"/>
                    <a:pt x="71" y="122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9" y="145"/>
                    <a:pt x="71" y="146"/>
                    <a:pt x="72" y="146"/>
                  </a:cubicBezTo>
                  <a:cubicBezTo>
                    <a:pt x="74" y="147"/>
                    <a:pt x="75" y="147"/>
                    <a:pt x="76" y="147"/>
                  </a:cubicBezTo>
                  <a:cubicBezTo>
                    <a:pt x="78" y="147"/>
                    <a:pt x="80" y="147"/>
                    <a:pt x="81" y="146"/>
                  </a:cubicBezTo>
                  <a:cubicBezTo>
                    <a:pt x="82" y="146"/>
                    <a:pt x="83" y="144"/>
                    <a:pt x="84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5" y="149"/>
                    <a:pt x="85" y="154"/>
                    <a:pt x="84" y="157"/>
                  </a:cubicBezTo>
                  <a:cubicBezTo>
                    <a:pt x="84" y="158"/>
                    <a:pt x="84" y="160"/>
                    <a:pt x="84" y="162"/>
                  </a:cubicBezTo>
                  <a:cubicBezTo>
                    <a:pt x="84" y="164"/>
                    <a:pt x="84" y="167"/>
                    <a:pt x="84" y="170"/>
                  </a:cubicBezTo>
                  <a:cubicBezTo>
                    <a:pt x="82" y="170"/>
                    <a:pt x="82" y="170"/>
                    <a:pt x="82" y="170"/>
                  </a:cubicBezTo>
                  <a:cubicBezTo>
                    <a:pt x="81" y="167"/>
                    <a:pt x="79" y="164"/>
                    <a:pt x="76" y="161"/>
                  </a:cubicBezTo>
                  <a:cubicBezTo>
                    <a:pt x="72" y="157"/>
                    <a:pt x="67" y="153"/>
                    <a:pt x="60" y="148"/>
                  </a:cubicBezTo>
                  <a:lnTo>
                    <a:pt x="3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AE93E2AA-D529-4106-B6C8-76981C74E1A6}"/>
                </a:ext>
              </a:extLst>
            </p:cNvPr>
            <p:cNvSpPr/>
            <p:nvPr/>
          </p:nvSpPr>
          <p:spPr bwMode="auto">
            <a:xfrm>
              <a:off x="2768601" y="2754313"/>
              <a:ext cx="52388" cy="88900"/>
            </a:xfrm>
            <a:custGeom>
              <a:avLst/>
              <a:gdLst>
                <a:gd name="T0" fmla="*/ 29 w 66"/>
                <a:gd name="T1" fmla="*/ 112 h 115"/>
                <a:gd name="T2" fmla="*/ 41 w 66"/>
                <a:gd name="T3" fmla="*/ 112 h 115"/>
                <a:gd name="T4" fmla="*/ 57 w 66"/>
                <a:gd name="T5" fmla="*/ 89 h 115"/>
                <a:gd name="T6" fmla="*/ 53 w 66"/>
                <a:gd name="T7" fmla="*/ 75 h 115"/>
                <a:gd name="T8" fmla="*/ 52 w 66"/>
                <a:gd name="T9" fmla="*/ 58 h 115"/>
                <a:gd name="T10" fmla="*/ 60 w 66"/>
                <a:gd name="T11" fmla="*/ 29 h 115"/>
                <a:gd name="T12" fmla="*/ 57 w 66"/>
                <a:gd name="T13" fmla="*/ 4 h 115"/>
                <a:gd name="T14" fmla="*/ 44 w 66"/>
                <a:gd name="T15" fmla="*/ 2 h 115"/>
                <a:gd name="T16" fmla="*/ 30 w 66"/>
                <a:gd name="T17" fmla="*/ 18 h 115"/>
                <a:gd name="T18" fmla="*/ 12 w 66"/>
                <a:gd name="T19" fmla="*/ 12 h 115"/>
                <a:gd name="T20" fmla="*/ 18 w 66"/>
                <a:gd name="T21" fmla="*/ 35 h 115"/>
                <a:gd name="T22" fmla="*/ 0 w 66"/>
                <a:gd name="T23" fmla="*/ 56 h 115"/>
                <a:gd name="T24" fmla="*/ 23 w 66"/>
                <a:gd name="T25" fmla="*/ 62 h 115"/>
                <a:gd name="T26" fmla="*/ 20 w 66"/>
                <a:gd name="T27" fmla="*/ 98 h 115"/>
                <a:gd name="T28" fmla="*/ 29 w 66"/>
                <a:gd name="T29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115">
                  <a:moveTo>
                    <a:pt x="29" y="112"/>
                  </a:moveTo>
                  <a:cubicBezTo>
                    <a:pt x="28" y="111"/>
                    <a:pt x="36" y="115"/>
                    <a:pt x="41" y="112"/>
                  </a:cubicBezTo>
                  <a:cubicBezTo>
                    <a:pt x="45" y="110"/>
                    <a:pt x="54" y="92"/>
                    <a:pt x="57" y="89"/>
                  </a:cubicBezTo>
                  <a:cubicBezTo>
                    <a:pt x="56" y="84"/>
                    <a:pt x="54" y="79"/>
                    <a:pt x="53" y="75"/>
                  </a:cubicBezTo>
                  <a:cubicBezTo>
                    <a:pt x="51" y="70"/>
                    <a:pt x="51" y="66"/>
                    <a:pt x="52" y="58"/>
                  </a:cubicBezTo>
                  <a:cubicBezTo>
                    <a:pt x="52" y="46"/>
                    <a:pt x="46" y="37"/>
                    <a:pt x="60" y="29"/>
                  </a:cubicBezTo>
                  <a:cubicBezTo>
                    <a:pt x="66" y="16"/>
                    <a:pt x="65" y="18"/>
                    <a:pt x="57" y="4"/>
                  </a:cubicBezTo>
                  <a:cubicBezTo>
                    <a:pt x="55" y="0"/>
                    <a:pt x="49" y="2"/>
                    <a:pt x="44" y="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5" y="11"/>
                    <a:pt x="19" y="8"/>
                    <a:pt x="12" y="12"/>
                  </a:cubicBezTo>
                  <a:cubicBezTo>
                    <a:pt x="6" y="15"/>
                    <a:pt x="19" y="27"/>
                    <a:pt x="18" y="35"/>
                  </a:cubicBezTo>
                  <a:cubicBezTo>
                    <a:pt x="18" y="39"/>
                    <a:pt x="12" y="48"/>
                    <a:pt x="0" y="56"/>
                  </a:cubicBezTo>
                  <a:cubicBezTo>
                    <a:pt x="8" y="68"/>
                    <a:pt x="21" y="58"/>
                    <a:pt x="23" y="62"/>
                  </a:cubicBezTo>
                  <a:cubicBezTo>
                    <a:pt x="28" y="71"/>
                    <a:pt x="21" y="90"/>
                    <a:pt x="20" y="98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F545B7F9-B770-436F-965D-0A49111345F8}"/>
                </a:ext>
              </a:extLst>
            </p:cNvPr>
            <p:cNvSpPr/>
            <p:nvPr/>
          </p:nvSpPr>
          <p:spPr bwMode="auto">
            <a:xfrm>
              <a:off x="2814638" y="2792413"/>
              <a:ext cx="39688" cy="36513"/>
            </a:xfrm>
            <a:custGeom>
              <a:avLst/>
              <a:gdLst>
                <a:gd name="T0" fmla="*/ 30 w 51"/>
                <a:gd name="T1" fmla="*/ 43 h 46"/>
                <a:gd name="T2" fmla="*/ 35 w 51"/>
                <a:gd name="T3" fmla="*/ 46 h 46"/>
                <a:gd name="T4" fmla="*/ 51 w 51"/>
                <a:gd name="T5" fmla="*/ 26 h 46"/>
                <a:gd name="T6" fmla="*/ 46 w 51"/>
                <a:gd name="T7" fmla="*/ 10 h 46"/>
                <a:gd name="T8" fmla="*/ 0 w 51"/>
                <a:gd name="T9" fmla="*/ 11 h 46"/>
                <a:gd name="T10" fmla="*/ 30 w 51"/>
                <a:gd name="T1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46">
                  <a:moveTo>
                    <a:pt x="30" y="43"/>
                  </a:moveTo>
                  <a:cubicBezTo>
                    <a:pt x="35" y="46"/>
                    <a:pt x="35" y="46"/>
                    <a:pt x="35" y="46"/>
                  </a:cubicBezTo>
                  <a:cubicBezTo>
                    <a:pt x="41" y="40"/>
                    <a:pt x="47" y="33"/>
                    <a:pt x="51" y="26"/>
                  </a:cubicBezTo>
                  <a:cubicBezTo>
                    <a:pt x="50" y="20"/>
                    <a:pt x="49" y="16"/>
                    <a:pt x="46" y="10"/>
                  </a:cubicBezTo>
                  <a:cubicBezTo>
                    <a:pt x="40" y="0"/>
                    <a:pt x="6" y="2"/>
                    <a:pt x="0" y="11"/>
                  </a:cubicBezTo>
                  <a:cubicBezTo>
                    <a:pt x="13" y="20"/>
                    <a:pt x="18" y="20"/>
                    <a:pt x="3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328AA3F9-2E89-4140-8B43-1E65EDB0593D}"/>
                </a:ext>
              </a:extLst>
            </p:cNvPr>
            <p:cNvSpPr/>
            <p:nvPr/>
          </p:nvSpPr>
          <p:spPr bwMode="auto">
            <a:xfrm>
              <a:off x="2324101" y="3351213"/>
              <a:ext cx="166688" cy="187325"/>
            </a:xfrm>
            <a:custGeom>
              <a:avLst/>
              <a:gdLst>
                <a:gd name="T0" fmla="*/ 157 w 214"/>
                <a:gd name="T1" fmla="*/ 83 h 241"/>
                <a:gd name="T2" fmla="*/ 154 w 214"/>
                <a:gd name="T3" fmla="*/ 90 h 241"/>
                <a:gd name="T4" fmla="*/ 146 w 214"/>
                <a:gd name="T5" fmla="*/ 81 h 241"/>
                <a:gd name="T6" fmla="*/ 137 w 214"/>
                <a:gd name="T7" fmla="*/ 57 h 241"/>
                <a:gd name="T8" fmla="*/ 137 w 214"/>
                <a:gd name="T9" fmla="*/ 48 h 241"/>
                <a:gd name="T10" fmla="*/ 161 w 214"/>
                <a:gd name="T11" fmla="*/ 69 h 241"/>
                <a:gd name="T12" fmla="*/ 157 w 214"/>
                <a:gd name="T13" fmla="*/ 82 h 241"/>
                <a:gd name="T14" fmla="*/ 157 w 214"/>
                <a:gd name="T15" fmla="*/ 83 h 241"/>
                <a:gd name="T16" fmla="*/ 149 w 214"/>
                <a:gd name="T17" fmla="*/ 189 h 241"/>
                <a:gd name="T18" fmla="*/ 171 w 214"/>
                <a:gd name="T19" fmla="*/ 212 h 241"/>
                <a:gd name="T20" fmla="*/ 178 w 214"/>
                <a:gd name="T21" fmla="*/ 217 h 241"/>
                <a:gd name="T22" fmla="*/ 189 w 214"/>
                <a:gd name="T23" fmla="*/ 228 h 241"/>
                <a:gd name="T24" fmla="*/ 206 w 214"/>
                <a:gd name="T25" fmla="*/ 223 h 241"/>
                <a:gd name="T26" fmla="*/ 191 w 214"/>
                <a:gd name="T27" fmla="*/ 209 h 241"/>
                <a:gd name="T28" fmla="*/ 162 w 214"/>
                <a:gd name="T29" fmla="*/ 180 h 241"/>
                <a:gd name="T30" fmla="*/ 118 w 214"/>
                <a:gd name="T31" fmla="*/ 109 h 241"/>
                <a:gd name="T32" fmla="*/ 110 w 214"/>
                <a:gd name="T33" fmla="*/ 95 h 241"/>
                <a:gd name="T34" fmla="*/ 111 w 214"/>
                <a:gd name="T35" fmla="*/ 94 h 241"/>
                <a:gd name="T36" fmla="*/ 146 w 214"/>
                <a:gd name="T37" fmla="*/ 124 h 241"/>
                <a:gd name="T38" fmla="*/ 165 w 214"/>
                <a:gd name="T39" fmla="*/ 105 h 241"/>
                <a:gd name="T40" fmla="*/ 169 w 214"/>
                <a:gd name="T41" fmla="*/ 105 h 241"/>
                <a:gd name="T42" fmla="*/ 184 w 214"/>
                <a:gd name="T43" fmla="*/ 125 h 241"/>
                <a:gd name="T44" fmla="*/ 205 w 214"/>
                <a:gd name="T45" fmla="*/ 140 h 241"/>
                <a:gd name="T46" fmla="*/ 212 w 214"/>
                <a:gd name="T47" fmla="*/ 139 h 241"/>
                <a:gd name="T48" fmla="*/ 214 w 214"/>
                <a:gd name="T49" fmla="*/ 129 h 241"/>
                <a:gd name="T50" fmla="*/ 214 w 214"/>
                <a:gd name="T51" fmla="*/ 122 h 241"/>
                <a:gd name="T52" fmla="*/ 182 w 214"/>
                <a:gd name="T53" fmla="*/ 87 h 241"/>
                <a:gd name="T54" fmla="*/ 174 w 214"/>
                <a:gd name="T55" fmla="*/ 63 h 241"/>
                <a:gd name="T56" fmla="*/ 163 w 214"/>
                <a:gd name="T57" fmla="*/ 41 h 241"/>
                <a:gd name="T58" fmla="*/ 133 w 214"/>
                <a:gd name="T59" fmla="*/ 19 h 241"/>
                <a:gd name="T60" fmla="*/ 125 w 214"/>
                <a:gd name="T61" fmla="*/ 65 h 241"/>
                <a:gd name="T62" fmla="*/ 99 w 214"/>
                <a:gd name="T63" fmla="*/ 41 h 241"/>
                <a:gd name="T64" fmla="*/ 90 w 214"/>
                <a:gd name="T65" fmla="*/ 5 h 241"/>
                <a:gd name="T66" fmla="*/ 87 w 214"/>
                <a:gd name="T67" fmla="*/ 0 h 241"/>
                <a:gd name="T68" fmla="*/ 80 w 214"/>
                <a:gd name="T69" fmla="*/ 8 h 241"/>
                <a:gd name="T70" fmla="*/ 80 w 214"/>
                <a:gd name="T71" fmla="*/ 12 h 241"/>
                <a:gd name="T72" fmla="*/ 83 w 214"/>
                <a:gd name="T73" fmla="*/ 25 h 241"/>
                <a:gd name="T74" fmla="*/ 75 w 214"/>
                <a:gd name="T75" fmla="*/ 24 h 241"/>
                <a:gd name="T76" fmla="*/ 61 w 214"/>
                <a:gd name="T77" fmla="*/ 42 h 241"/>
                <a:gd name="T78" fmla="*/ 70 w 214"/>
                <a:gd name="T79" fmla="*/ 78 h 241"/>
                <a:gd name="T80" fmla="*/ 85 w 214"/>
                <a:gd name="T81" fmla="*/ 107 h 241"/>
                <a:gd name="T82" fmla="*/ 79 w 214"/>
                <a:gd name="T83" fmla="*/ 65 h 241"/>
                <a:gd name="T84" fmla="*/ 102 w 214"/>
                <a:gd name="T85" fmla="*/ 91 h 241"/>
                <a:gd name="T86" fmla="*/ 106 w 214"/>
                <a:gd name="T87" fmla="*/ 111 h 241"/>
                <a:gd name="T88" fmla="*/ 112 w 214"/>
                <a:gd name="T89" fmla="*/ 129 h 241"/>
                <a:gd name="T90" fmla="*/ 112 w 214"/>
                <a:gd name="T91" fmla="*/ 134 h 241"/>
                <a:gd name="T92" fmla="*/ 70 w 214"/>
                <a:gd name="T93" fmla="*/ 96 h 241"/>
                <a:gd name="T94" fmla="*/ 53 w 214"/>
                <a:gd name="T95" fmla="*/ 74 h 241"/>
                <a:gd name="T96" fmla="*/ 39 w 214"/>
                <a:gd name="T97" fmla="*/ 50 h 241"/>
                <a:gd name="T98" fmla="*/ 33 w 214"/>
                <a:gd name="T99" fmla="*/ 58 h 241"/>
                <a:gd name="T100" fmla="*/ 10 w 214"/>
                <a:gd name="T101" fmla="*/ 60 h 241"/>
                <a:gd name="T102" fmla="*/ 4 w 214"/>
                <a:gd name="T103" fmla="*/ 79 h 241"/>
                <a:gd name="T104" fmla="*/ 0 w 214"/>
                <a:gd name="T105" fmla="*/ 91 h 241"/>
                <a:gd name="T106" fmla="*/ 7 w 214"/>
                <a:gd name="T107" fmla="*/ 100 h 241"/>
                <a:gd name="T108" fmla="*/ 40 w 214"/>
                <a:gd name="T109" fmla="*/ 86 h 241"/>
                <a:gd name="T110" fmla="*/ 47 w 214"/>
                <a:gd name="T111" fmla="*/ 118 h 241"/>
                <a:gd name="T112" fmla="*/ 56 w 214"/>
                <a:gd name="T113" fmla="*/ 139 h 241"/>
                <a:gd name="T114" fmla="*/ 63 w 214"/>
                <a:gd name="T115" fmla="*/ 121 h 241"/>
                <a:gd name="T116" fmla="*/ 61 w 214"/>
                <a:gd name="T117" fmla="*/ 108 h 241"/>
                <a:gd name="T118" fmla="*/ 61 w 214"/>
                <a:gd name="T119" fmla="*/ 103 h 241"/>
                <a:gd name="T120" fmla="*/ 83 w 214"/>
                <a:gd name="T121" fmla="*/ 125 h 241"/>
                <a:gd name="T122" fmla="*/ 107 w 214"/>
                <a:gd name="T123" fmla="*/ 144 h 241"/>
                <a:gd name="T124" fmla="*/ 149 w 214"/>
                <a:gd name="T125" fmla="*/ 189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241">
                  <a:moveTo>
                    <a:pt x="157" y="83"/>
                  </a:moveTo>
                  <a:cubicBezTo>
                    <a:pt x="158" y="86"/>
                    <a:pt x="165" y="94"/>
                    <a:pt x="154" y="90"/>
                  </a:cubicBezTo>
                  <a:cubicBezTo>
                    <a:pt x="150" y="88"/>
                    <a:pt x="149" y="84"/>
                    <a:pt x="146" y="81"/>
                  </a:cubicBezTo>
                  <a:cubicBezTo>
                    <a:pt x="143" y="77"/>
                    <a:pt x="137" y="62"/>
                    <a:pt x="137" y="57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49" y="50"/>
                    <a:pt x="155" y="64"/>
                    <a:pt x="161" y="69"/>
                  </a:cubicBezTo>
                  <a:cubicBezTo>
                    <a:pt x="161" y="79"/>
                    <a:pt x="157" y="75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lose/>
                  <a:moveTo>
                    <a:pt x="149" y="189"/>
                  </a:moveTo>
                  <a:cubicBezTo>
                    <a:pt x="171" y="212"/>
                    <a:pt x="171" y="212"/>
                    <a:pt x="171" y="212"/>
                  </a:cubicBezTo>
                  <a:cubicBezTo>
                    <a:pt x="171" y="212"/>
                    <a:pt x="174" y="211"/>
                    <a:pt x="178" y="217"/>
                  </a:cubicBezTo>
                  <a:cubicBezTo>
                    <a:pt x="182" y="222"/>
                    <a:pt x="183" y="227"/>
                    <a:pt x="189" y="228"/>
                  </a:cubicBezTo>
                  <a:cubicBezTo>
                    <a:pt x="199" y="230"/>
                    <a:pt x="211" y="241"/>
                    <a:pt x="206" y="223"/>
                  </a:cubicBezTo>
                  <a:cubicBezTo>
                    <a:pt x="202" y="211"/>
                    <a:pt x="197" y="215"/>
                    <a:pt x="191" y="209"/>
                  </a:cubicBezTo>
                  <a:cubicBezTo>
                    <a:pt x="177" y="198"/>
                    <a:pt x="173" y="193"/>
                    <a:pt x="162" y="180"/>
                  </a:cubicBezTo>
                  <a:cubicBezTo>
                    <a:pt x="143" y="160"/>
                    <a:pt x="118" y="145"/>
                    <a:pt x="118" y="109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25" y="98"/>
                    <a:pt x="133" y="123"/>
                    <a:pt x="146" y="124"/>
                  </a:cubicBezTo>
                  <a:cubicBezTo>
                    <a:pt x="158" y="124"/>
                    <a:pt x="162" y="114"/>
                    <a:pt x="165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1" y="112"/>
                    <a:pt x="180" y="118"/>
                    <a:pt x="184" y="125"/>
                  </a:cubicBezTo>
                  <a:cubicBezTo>
                    <a:pt x="188" y="132"/>
                    <a:pt x="193" y="140"/>
                    <a:pt x="205" y="140"/>
                  </a:cubicBezTo>
                  <a:cubicBezTo>
                    <a:pt x="208" y="140"/>
                    <a:pt x="209" y="140"/>
                    <a:pt x="212" y="139"/>
                  </a:cubicBezTo>
                  <a:cubicBezTo>
                    <a:pt x="212" y="135"/>
                    <a:pt x="213" y="134"/>
                    <a:pt x="214" y="129"/>
                  </a:cubicBezTo>
                  <a:cubicBezTo>
                    <a:pt x="214" y="122"/>
                    <a:pt x="214" y="122"/>
                    <a:pt x="214" y="122"/>
                  </a:cubicBezTo>
                  <a:cubicBezTo>
                    <a:pt x="214" y="110"/>
                    <a:pt x="190" y="100"/>
                    <a:pt x="182" y="87"/>
                  </a:cubicBezTo>
                  <a:cubicBezTo>
                    <a:pt x="176" y="78"/>
                    <a:pt x="176" y="75"/>
                    <a:pt x="174" y="63"/>
                  </a:cubicBezTo>
                  <a:cubicBezTo>
                    <a:pt x="171" y="52"/>
                    <a:pt x="168" y="48"/>
                    <a:pt x="163" y="41"/>
                  </a:cubicBezTo>
                  <a:cubicBezTo>
                    <a:pt x="150" y="27"/>
                    <a:pt x="151" y="16"/>
                    <a:pt x="133" y="19"/>
                  </a:cubicBezTo>
                  <a:cubicBezTo>
                    <a:pt x="122" y="21"/>
                    <a:pt x="124" y="47"/>
                    <a:pt x="125" y="65"/>
                  </a:cubicBezTo>
                  <a:cubicBezTo>
                    <a:pt x="117" y="64"/>
                    <a:pt x="104" y="47"/>
                    <a:pt x="99" y="41"/>
                  </a:cubicBezTo>
                  <a:cubicBezTo>
                    <a:pt x="92" y="33"/>
                    <a:pt x="91" y="21"/>
                    <a:pt x="90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4" y="2"/>
                    <a:pt x="81" y="4"/>
                    <a:pt x="80" y="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8"/>
                    <a:pt x="82" y="20"/>
                    <a:pt x="83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8" y="23"/>
                    <a:pt x="61" y="33"/>
                    <a:pt x="61" y="42"/>
                  </a:cubicBezTo>
                  <a:cubicBezTo>
                    <a:pt x="61" y="42"/>
                    <a:pt x="69" y="74"/>
                    <a:pt x="70" y="78"/>
                  </a:cubicBezTo>
                  <a:cubicBezTo>
                    <a:pt x="73" y="88"/>
                    <a:pt x="84" y="98"/>
                    <a:pt x="85" y="107"/>
                  </a:cubicBezTo>
                  <a:cubicBezTo>
                    <a:pt x="98" y="107"/>
                    <a:pt x="78" y="77"/>
                    <a:pt x="79" y="65"/>
                  </a:cubicBezTo>
                  <a:cubicBezTo>
                    <a:pt x="90" y="67"/>
                    <a:pt x="100" y="80"/>
                    <a:pt x="102" y="91"/>
                  </a:cubicBezTo>
                  <a:cubicBezTo>
                    <a:pt x="104" y="98"/>
                    <a:pt x="104" y="104"/>
                    <a:pt x="106" y="111"/>
                  </a:cubicBezTo>
                  <a:cubicBezTo>
                    <a:pt x="107" y="115"/>
                    <a:pt x="111" y="129"/>
                    <a:pt x="112" y="129"/>
                  </a:cubicBezTo>
                  <a:cubicBezTo>
                    <a:pt x="112" y="134"/>
                    <a:pt x="112" y="134"/>
                    <a:pt x="112" y="134"/>
                  </a:cubicBezTo>
                  <a:cubicBezTo>
                    <a:pt x="104" y="132"/>
                    <a:pt x="77" y="104"/>
                    <a:pt x="70" y="96"/>
                  </a:cubicBezTo>
                  <a:cubicBezTo>
                    <a:pt x="62" y="88"/>
                    <a:pt x="59" y="85"/>
                    <a:pt x="53" y="74"/>
                  </a:cubicBezTo>
                  <a:cubicBezTo>
                    <a:pt x="50" y="69"/>
                    <a:pt x="44" y="50"/>
                    <a:pt x="39" y="50"/>
                  </a:cubicBezTo>
                  <a:cubicBezTo>
                    <a:pt x="34" y="50"/>
                    <a:pt x="33" y="53"/>
                    <a:pt x="33" y="58"/>
                  </a:cubicBezTo>
                  <a:cubicBezTo>
                    <a:pt x="27" y="57"/>
                    <a:pt x="17" y="58"/>
                    <a:pt x="10" y="60"/>
                  </a:cubicBezTo>
                  <a:cubicBezTo>
                    <a:pt x="0" y="65"/>
                    <a:pt x="4" y="69"/>
                    <a:pt x="4" y="79"/>
                  </a:cubicBezTo>
                  <a:cubicBezTo>
                    <a:pt x="4" y="82"/>
                    <a:pt x="1" y="84"/>
                    <a:pt x="0" y="91"/>
                  </a:cubicBezTo>
                  <a:cubicBezTo>
                    <a:pt x="0" y="95"/>
                    <a:pt x="3" y="100"/>
                    <a:pt x="7" y="100"/>
                  </a:cubicBezTo>
                  <a:cubicBezTo>
                    <a:pt x="16" y="100"/>
                    <a:pt x="29" y="85"/>
                    <a:pt x="40" y="86"/>
                  </a:cubicBezTo>
                  <a:cubicBezTo>
                    <a:pt x="41" y="91"/>
                    <a:pt x="44" y="105"/>
                    <a:pt x="47" y="118"/>
                  </a:cubicBezTo>
                  <a:cubicBezTo>
                    <a:pt x="54" y="125"/>
                    <a:pt x="53" y="144"/>
                    <a:pt x="56" y="139"/>
                  </a:cubicBezTo>
                  <a:cubicBezTo>
                    <a:pt x="60" y="134"/>
                    <a:pt x="62" y="131"/>
                    <a:pt x="63" y="121"/>
                  </a:cubicBezTo>
                  <a:cubicBezTo>
                    <a:pt x="63" y="117"/>
                    <a:pt x="61" y="114"/>
                    <a:pt x="61" y="108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8" y="105"/>
                    <a:pt x="78" y="120"/>
                    <a:pt x="83" y="125"/>
                  </a:cubicBezTo>
                  <a:cubicBezTo>
                    <a:pt x="90" y="132"/>
                    <a:pt x="99" y="138"/>
                    <a:pt x="107" y="144"/>
                  </a:cubicBezTo>
                  <a:cubicBezTo>
                    <a:pt x="114" y="150"/>
                    <a:pt x="145" y="183"/>
                    <a:pt x="149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DC829A95-9EE1-43A3-8862-C57467A97ED1}"/>
                </a:ext>
              </a:extLst>
            </p:cNvPr>
            <p:cNvSpPr/>
            <p:nvPr/>
          </p:nvSpPr>
          <p:spPr bwMode="auto">
            <a:xfrm>
              <a:off x="2466976" y="3365500"/>
              <a:ext cx="26988" cy="33338"/>
            </a:xfrm>
            <a:custGeom>
              <a:avLst/>
              <a:gdLst>
                <a:gd name="T0" fmla="*/ 1 w 35"/>
                <a:gd name="T1" fmla="*/ 41 h 41"/>
                <a:gd name="T2" fmla="*/ 19 w 35"/>
                <a:gd name="T3" fmla="*/ 29 h 41"/>
                <a:gd name="T4" fmla="*/ 35 w 35"/>
                <a:gd name="T5" fmla="*/ 15 h 41"/>
                <a:gd name="T6" fmla="*/ 35 w 35"/>
                <a:gd name="T7" fmla="*/ 7 h 41"/>
                <a:gd name="T8" fmla="*/ 31 w 35"/>
                <a:gd name="T9" fmla="*/ 1 h 41"/>
                <a:gd name="T10" fmla="*/ 0 w 35"/>
                <a:gd name="T11" fmla="*/ 29 h 41"/>
                <a:gd name="T12" fmla="*/ 0 w 35"/>
                <a:gd name="T13" fmla="*/ 37 h 41"/>
                <a:gd name="T14" fmla="*/ 1 w 3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1">
                  <a:moveTo>
                    <a:pt x="1" y="41"/>
                  </a:moveTo>
                  <a:cubicBezTo>
                    <a:pt x="5" y="40"/>
                    <a:pt x="14" y="32"/>
                    <a:pt x="19" y="29"/>
                  </a:cubicBezTo>
                  <a:cubicBezTo>
                    <a:pt x="26" y="26"/>
                    <a:pt x="34" y="25"/>
                    <a:pt x="35" y="15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4"/>
                    <a:pt x="33" y="1"/>
                    <a:pt x="31" y="1"/>
                  </a:cubicBezTo>
                  <a:cubicBezTo>
                    <a:pt x="18" y="0"/>
                    <a:pt x="0" y="16"/>
                    <a:pt x="0" y="2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1" y="40"/>
                    <a:pt x="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18980C7F-BBFB-42A6-A7C3-8D124C4CC6EE}"/>
                </a:ext>
              </a:extLst>
            </p:cNvPr>
            <p:cNvSpPr/>
            <p:nvPr/>
          </p:nvSpPr>
          <p:spPr bwMode="auto">
            <a:xfrm>
              <a:off x="2408238" y="3208338"/>
              <a:ext cx="22225" cy="26988"/>
            </a:xfrm>
            <a:custGeom>
              <a:avLst/>
              <a:gdLst>
                <a:gd name="T0" fmla="*/ 2 w 29"/>
                <a:gd name="T1" fmla="*/ 36 h 36"/>
                <a:gd name="T2" fmla="*/ 5 w 29"/>
                <a:gd name="T3" fmla="*/ 36 h 36"/>
                <a:gd name="T4" fmla="*/ 27 w 29"/>
                <a:gd name="T5" fmla="*/ 17 h 36"/>
                <a:gd name="T6" fmla="*/ 28 w 29"/>
                <a:gd name="T7" fmla="*/ 12 h 36"/>
                <a:gd name="T8" fmla="*/ 26 w 29"/>
                <a:gd name="T9" fmla="*/ 2 h 36"/>
                <a:gd name="T10" fmla="*/ 17 w 29"/>
                <a:gd name="T11" fmla="*/ 0 h 36"/>
                <a:gd name="T12" fmla="*/ 2 w 29"/>
                <a:gd name="T13" fmla="*/ 16 h 36"/>
                <a:gd name="T14" fmla="*/ 2 w 29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6">
                  <a:moveTo>
                    <a:pt x="2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9" y="30"/>
                    <a:pt x="26" y="23"/>
                    <a:pt x="27" y="1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7"/>
                    <a:pt x="27" y="7"/>
                    <a:pt x="26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2" y="12"/>
                    <a:pt x="2" y="16"/>
                  </a:cubicBezTo>
                  <a:cubicBezTo>
                    <a:pt x="0" y="26"/>
                    <a:pt x="1" y="29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CA399C3E-EE52-4BAF-9151-3F5E04B568AC}"/>
                </a:ext>
              </a:extLst>
            </p:cNvPr>
            <p:cNvSpPr/>
            <p:nvPr/>
          </p:nvSpPr>
          <p:spPr bwMode="auto">
            <a:xfrm>
              <a:off x="2439988" y="3170238"/>
              <a:ext cx="63500" cy="109538"/>
            </a:xfrm>
            <a:custGeom>
              <a:avLst/>
              <a:gdLst>
                <a:gd name="T0" fmla="*/ 54 w 82"/>
                <a:gd name="T1" fmla="*/ 68 h 141"/>
                <a:gd name="T2" fmla="*/ 21 w 82"/>
                <a:gd name="T3" fmla="*/ 51 h 141"/>
                <a:gd name="T4" fmla="*/ 28 w 82"/>
                <a:gd name="T5" fmla="*/ 25 h 141"/>
                <a:gd name="T6" fmla="*/ 29 w 82"/>
                <a:gd name="T7" fmla="*/ 19 h 141"/>
                <a:gd name="T8" fmla="*/ 52 w 82"/>
                <a:gd name="T9" fmla="*/ 38 h 141"/>
                <a:gd name="T10" fmla="*/ 63 w 82"/>
                <a:gd name="T11" fmla="*/ 66 h 141"/>
                <a:gd name="T12" fmla="*/ 54 w 82"/>
                <a:gd name="T13" fmla="*/ 68 h 141"/>
                <a:gd name="T14" fmla="*/ 34 w 82"/>
                <a:gd name="T15" fmla="*/ 84 h 141"/>
                <a:gd name="T16" fmla="*/ 49 w 82"/>
                <a:gd name="T17" fmla="*/ 79 h 141"/>
                <a:gd name="T18" fmla="*/ 34 w 82"/>
                <a:gd name="T19" fmla="*/ 84 h 141"/>
                <a:gd name="T20" fmla="*/ 55 w 82"/>
                <a:gd name="T21" fmla="*/ 133 h 141"/>
                <a:gd name="T22" fmla="*/ 36 w 82"/>
                <a:gd name="T23" fmla="*/ 103 h 141"/>
                <a:gd name="T24" fmla="*/ 56 w 82"/>
                <a:gd name="T25" fmla="*/ 101 h 141"/>
                <a:gd name="T26" fmla="*/ 66 w 82"/>
                <a:gd name="T27" fmla="*/ 94 h 141"/>
                <a:gd name="T28" fmla="*/ 75 w 82"/>
                <a:gd name="T29" fmla="*/ 94 h 141"/>
                <a:gd name="T30" fmla="*/ 80 w 82"/>
                <a:gd name="T31" fmla="*/ 89 h 141"/>
                <a:gd name="T32" fmla="*/ 81 w 82"/>
                <a:gd name="T33" fmla="*/ 61 h 141"/>
                <a:gd name="T34" fmla="*/ 79 w 82"/>
                <a:gd name="T35" fmla="*/ 54 h 141"/>
                <a:gd name="T36" fmla="*/ 60 w 82"/>
                <a:gd name="T37" fmla="*/ 30 h 141"/>
                <a:gd name="T38" fmla="*/ 33 w 82"/>
                <a:gd name="T39" fmla="*/ 0 h 141"/>
                <a:gd name="T40" fmla="*/ 20 w 82"/>
                <a:gd name="T41" fmla="*/ 17 h 141"/>
                <a:gd name="T42" fmla="*/ 17 w 82"/>
                <a:gd name="T43" fmla="*/ 38 h 141"/>
                <a:gd name="T44" fmla="*/ 16 w 82"/>
                <a:gd name="T45" fmla="*/ 49 h 141"/>
                <a:gd name="T46" fmla="*/ 1 w 82"/>
                <a:gd name="T47" fmla="*/ 51 h 141"/>
                <a:gd name="T48" fmla="*/ 19 w 82"/>
                <a:gd name="T49" fmla="*/ 70 h 141"/>
                <a:gd name="T50" fmla="*/ 3 w 82"/>
                <a:gd name="T51" fmla="*/ 83 h 141"/>
                <a:gd name="T52" fmla="*/ 2 w 82"/>
                <a:gd name="T53" fmla="*/ 85 h 141"/>
                <a:gd name="T54" fmla="*/ 26 w 82"/>
                <a:gd name="T55" fmla="*/ 94 h 141"/>
                <a:gd name="T56" fmla="*/ 34 w 82"/>
                <a:gd name="T57" fmla="*/ 122 h 141"/>
                <a:gd name="T58" fmla="*/ 0 w 82"/>
                <a:gd name="T59" fmla="*/ 131 h 141"/>
                <a:gd name="T60" fmla="*/ 26 w 82"/>
                <a:gd name="T61" fmla="*/ 139 h 141"/>
                <a:gd name="T62" fmla="*/ 39 w 82"/>
                <a:gd name="T63" fmla="*/ 140 h 141"/>
                <a:gd name="T64" fmla="*/ 54 w 82"/>
                <a:gd name="T65" fmla="*/ 137 h 141"/>
                <a:gd name="T66" fmla="*/ 55 w 82"/>
                <a:gd name="T67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" h="141">
                  <a:moveTo>
                    <a:pt x="54" y="68"/>
                  </a:moveTo>
                  <a:cubicBezTo>
                    <a:pt x="51" y="68"/>
                    <a:pt x="27" y="53"/>
                    <a:pt x="21" y="5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7" y="21"/>
                    <a:pt x="48" y="33"/>
                    <a:pt x="52" y="38"/>
                  </a:cubicBezTo>
                  <a:cubicBezTo>
                    <a:pt x="63" y="54"/>
                    <a:pt x="60" y="50"/>
                    <a:pt x="63" y="66"/>
                  </a:cubicBezTo>
                  <a:cubicBezTo>
                    <a:pt x="59" y="67"/>
                    <a:pt x="58" y="68"/>
                    <a:pt x="54" y="68"/>
                  </a:cubicBezTo>
                  <a:close/>
                  <a:moveTo>
                    <a:pt x="34" y="84"/>
                  </a:moveTo>
                  <a:cubicBezTo>
                    <a:pt x="48" y="85"/>
                    <a:pt x="59" y="85"/>
                    <a:pt x="49" y="79"/>
                  </a:cubicBezTo>
                  <a:cubicBezTo>
                    <a:pt x="28" y="68"/>
                    <a:pt x="23" y="70"/>
                    <a:pt x="34" y="84"/>
                  </a:cubicBezTo>
                  <a:close/>
                  <a:moveTo>
                    <a:pt x="55" y="133"/>
                  </a:moveTo>
                  <a:cubicBezTo>
                    <a:pt x="53" y="129"/>
                    <a:pt x="36" y="106"/>
                    <a:pt x="36" y="103"/>
                  </a:cubicBezTo>
                  <a:cubicBezTo>
                    <a:pt x="37" y="96"/>
                    <a:pt x="47" y="100"/>
                    <a:pt x="56" y="101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5" y="94"/>
                    <a:pt x="80" y="89"/>
                    <a:pt x="80" y="89"/>
                  </a:cubicBezTo>
                  <a:cubicBezTo>
                    <a:pt x="77" y="89"/>
                    <a:pt x="77" y="74"/>
                    <a:pt x="81" y="61"/>
                  </a:cubicBezTo>
                  <a:cubicBezTo>
                    <a:pt x="82" y="57"/>
                    <a:pt x="78" y="55"/>
                    <a:pt x="79" y="54"/>
                  </a:cubicBezTo>
                  <a:cubicBezTo>
                    <a:pt x="76" y="48"/>
                    <a:pt x="65" y="35"/>
                    <a:pt x="60" y="3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5" y="3"/>
                    <a:pt x="22" y="7"/>
                    <a:pt x="20" y="1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7" y="44"/>
                    <a:pt x="16" y="49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62"/>
                    <a:pt x="14" y="56"/>
                    <a:pt x="19" y="70"/>
                  </a:cubicBezTo>
                  <a:cubicBezTo>
                    <a:pt x="26" y="86"/>
                    <a:pt x="17" y="79"/>
                    <a:pt x="3" y="8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25" y="124"/>
                    <a:pt x="2" y="122"/>
                    <a:pt x="0" y="131"/>
                  </a:cubicBezTo>
                  <a:cubicBezTo>
                    <a:pt x="8" y="134"/>
                    <a:pt x="16" y="138"/>
                    <a:pt x="26" y="139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44" y="141"/>
                    <a:pt x="50" y="139"/>
                    <a:pt x="54" y="137"/>
                  </a:cubicBezTo>
                  <a:lnTo>
                    <a:pt x="55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5DB4DB8D-94E2-4707-A525-8C8021DD22B7}"/>
                </a:ext>
              </a:extLst>
            </p:cNvPr>
            <p:cNvSpPr/>
            <p:nvPr/>
          </p:nvSpPr>
          <p:spPr bwMode="auto">
            <a:xfrm>
              <a:off x="2441576" y="2978150"/>
              <a:ext cx="169863" cy="138113"/>
            </a:xfrm>
            <a:custGeom>
              <a:avLst/>
              <a:gdLst>
                <a:gd name="T0" fmla="*/ 103 w 218"/>
                <a:gd name="T1" fmla="*/ 176 h 178"/>
                <a:gd name="T2" fmla="*/ 73 w 218"/>
                <a:gd name="T3" fmla="*/ 154 h 178"/>
                <a:gd name="T4" fmla="*/ 83 w 218"/>
                <a:gd name="T5" fmla="*/ 146 h 178"/>
                <a:gd name="T6" fmla="*/ 96 w 218"/>
                <a:gd name="T7" fmla="*/ 155 h 178"/>
                <a:gd name="T8" fmla="*/ 97 w 218"/>
                <a:gd name="T9" fmla="*/ 132 h 178"/>
                <a:gd name="T10" fmla="*/ 105 w 218"/>
                <a:gd name="T11" fmla="*/ 96 h 178"/>
                <a:gd name="T12" fmla="*/ 160 w 218"/>
                <a:gd name="T13" fmla="*/ 125 h 178"/>
                <a:gd name="T14" fmla="*/ 216 w 218"/>
                <a:gd name="T15" fmla="*/ 154 h 178"/>
                <a:gd name="T16" fmla="*/ 210 w 218"/>
                <a:gd name="T17" fmla="*/ 142 h 178"/>
                <a:gd name="T18" fmla="*/ 136 w 218"/>
                <a:gd name="T19" fmla="*/ 52 h 178"/>
                <a:gd name="T20" fmla="*/ 119 w 218"/>
                <a:gd name="T21" fmla="*/ 10 h 178"/>
                <a:gd name="T22" fmla="*/ 97 w 218"/>
                <a:gd name="T23" fmla="*/ 26 h 178"/>
                <a:gd name="T24" fmla="*/ 91 w 218"/>
                <a:gd name="T25" fmla="*/ 42 h 178"/>
                <a:gd name="T26" fmla="*/ 69 w 218"/>
                <a:gd name="T27" fmla="*/ 0 h 178"/>
                <a:gd name="T28" fmla="*/ 49 w 218"/>
                <a:gd name="T29" fmla="*/ 70 h 178"/>
                <a:gd name="T30" fmla="*/ 64 w 218"/>
                <a:gd name="T31" fmla="*/ 127 h 178"/>
                <a:gd name="T32" fmla="*/ 62 w 218"/>
                <a:gd name="T33" fmla="*/ 148 h 178"/>
                <a:gd name="T34" fmla="*/ 44 w 218"/>
                <a:gd name="T35" fmla="*/ 133 h 178"/>
                <a:gd name="T36" fmla="*/ 52 w 218"/>
                <a:gd name="T37" fmla="*/ 132 h 178"/>
                <a:gd name="T38" fmla="*/ 44 w 218"/>
                <a:gd name="T39" fmla="*/ 100 h 178"/>
                <a:gd name="T40" fmla="*/ 25 w 218"/>
                <a:gd name="T41" fmla="*/ 72 h 178"/>
                <a:gd name="T42" fmla="*/ 10 w 218"/>
                <a:gd name="T43" fmla="*/ 75 h 178"/>
                <a:gd name="T44" fmla="*/ 6 w 218"/>
                <a:gd name="T45" fmla="*/ 97 h 178"/>
                <a:gd name="T46" fmla="*/ 14 w 218"/>
                <a:gd name="T47" fmla="*/ 93 h 178"/>
                <a:gd name="T48" fmla="*/ 18 w 218"/>
                <a:gd name="T49" fmla="*/ 107 h 178"/>
                <a:gd name="T50" fmla="*/ 42 w 218"/>
                <a:gd name="T51" fmla="*/ 148 h 178"/>
                <a:gd name="T52" fmla="*/ 98 w 218"/>
                <a:gd name="T53" fmla="*/ 178 h 178"/>
                <a:gd name="T54" fmla="*/ 105 w 218"/>
                <a:gd name="T55" fmla="*/ 44 h 178"/>
                <a:gd name="T56" fmla="*/ 120 w 218"/>
                <a:gd name="T57" fmla="*/ 67 h 178"/>
                <a:gd name="T58" fmla="*/ 105 w 218"/>
                <a:gd name="T59" fmla="*/ 86 h 178"/>
                <a:gd name="T60" fmla="*/ 102 w 218"/>
                <a:gd name="T61" fmla="*/ 90 h 178"/>
                <a:gd name="T62" fmla="*/ 66 w 218"/>
                <a:gd name="T63" fmla="*/ 62 h 178"/>
                <a:gd name="T64" fmla="*/ 85 w 218"/>
                <a:gd name="T65" fmla="*/ 124 h 178"/>
                <a:gd name="T66" fmla="*/ 66 w 218"/>
                <a:gd name="T67" fmla="*/ 6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8" h="178">
                  <a:moveTo>
                    <a:pt x="98" y="178"/>
                  </a:moveTo>
                  <a:cubicBezTo>
                    <a:pt x="103" y="176"/>
                    <a:pt x="103" y="176"/>
                    <a:pt x="103" y="176"/>
                  </a:cubicBezTo>
                  <a:cubicBezTo>
                    <a:pt x="105" y="174"/>
                    <a:pt x="101" y="169"/>
                    <a:pt x="98" y="167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6" y="148"/>
                    <a:pt x="86" y="149"/>
                    <a:pt x="90" y="151"/>
                  </a:cubicBezTo>
                  <a:cubicBezTo>
                    <a:pt x="96" y="155"/>
                    <a:pt x="96" y="155"/>
                    <a:pt x="96" y="155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110" y="124"/>
                    <a:pt x="110" y="124"/>
                    <a:pt x="110" y="124"/>
                  </a:cubicBezTo>
                  <a:cubicBezTo>
                    <a:pt x="109" y="115"/>
                    <a:pt x="101" y="105"/>
                    <a:pt x="105" y="96"/>
                  </a:cubicBezTo>
                  <a:cubicBezTo>
                    <a:pt x="114" y="101"/>
                    <a:pt x="121" y="101"/>
                    <a:pt x="131" y="107"/>
                  </a:cubicBezTo>
                  <a:cubicBezTo>
                    <a:pt x="141" y="113"/>
                    <a:pt x="150" y="119"/>
                    <a:pt x="160" y="125"/>
                  </a:cubicBezTo>
                  <a:cubicBezTo>
                    <a:pt x="170" y="131"/>
                    <a:pt x="179" y="137"/>
                    <a:pt x="189" y="143"/>
                  </a:cubicBezTo>
                  <a:cubicBezTo>
                    <a:pt x="195" y="146"/>
                    <a:pt x="212" y="160"/>
                    <a:pt x="216" y="154"/>
                  </a:cubicBezTo>
                  <a:cubicBezTo>
                    <a:pt x="218" y="151"/>
                    <a:pt x="216" y="150"/>
                    <a:pt x="216" y="146"/>
                  </a:cubicBezTo>
                  <a:cubicBezTo>
                    <a:pt x="210" y="142"/>
                    <a:pt x="210" y="142"/>
                    <a:pt x="210" y="142"/>
                  </a:cubicBezTo>
                  <a:cubicBezTo>
                    <a:pt x="209" y="122"/>
                    <a:pt x="172" y="109"/>
                    <a:pt x="155" y="93"/>
                  </a:cubicBezTo>
                  <a:cubicBezTo>
                    <a:pt x="134" y="80"/>
                    <a:pt x="138" y="69"/>
                    <a:pt x="136" y="52"/>
                  </a:cubicBezTo>
                  <a:cubicBezTo>
                    <a:pt x="136" y="46"/>
                    <a:pt x="125" y="14"/>
                    <a:pt x="120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6" y="8"/>
                    <a:pt x="107" y="10"/>
                    <a:pt x="105" y="13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3" y="32"/>
                    <a:pt x="96" y="34"/>
                    <a:pt x="92" y="41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0" y="44"/>
                    <a:pt x="88" y="45"/>
                    <a:pt x="86" y="44"/>
                  </a:cubicBezTo>
                  <a:cubicBezTo>
                    <a:pt x="74" y="36"/>
                    <a:pt x="82" y="13"/>
                    <a:pt x="69" y="0"/>
                  </a:cubicBezTo>
                  <a:cubicBezTo>
                    <a:pt x="65" y="2"/>
                    <a:pt x="58" y="4"/>
                    <a:pt x="55" y="9"/>
                  </a:cubicBezTo>
                  <a:cubicBezTo>
                    <a:pt x="45" y="26"/>
                    <a:pt x="46" y="56"/>
                    <a:pt x="49" y="70"/>
                  </a:cubicBezTo>
                  <a:cubicBezTo>
                    <a:pt x="51" y="76"/>
                    <a:pt x="56" y="93"/>
                    <a:pt x="59" y="97"/>
                  </a:cubicBezTo>
                  <a:cubicBezTo>
                    <a:pt x="66" y="108"/>
                    <a:pt x="72" y="113"/>
                    <a:pt x="64" y="127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62" y="148"/>
                    <a:pt x="62" y="148"/>
                    <a:pt x="62" y="148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2" y="135"/>
                    <a:pt x="44" y="135"/>
                    <a:pt x="44" y="133"/>
                  </a:cubicBezTo>
                  <a:cubicBezTo>
                    <a:pt x="47" y="135"/>
                    <a:pt x="49" y="137"/>
                    <a:pt x="52" y="133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5" y="128"/>
                    <a:pt x="54" y="101"/>
                    <a:pt x="52" y="97"/>
                  </a:cubicBezTo>
                  <a:cubicBezTo>
                    <a:pt x="49" y="97"/>
                    <a:pt x="46" y="97"/>
                    <a:pt x="44" y="100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6" y="71"/>
                    <a:pt x="11" y="73"/>
                    <a:pt x="10" y="75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84"/>
                    <a:pt x="0" y="93"/>
                    <a:pt x="6" y="97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9" y="84"/>
                    <a:pt x="39" y="117"/>
                    <a:pt x="34" y="127"/>
                  </a:cubicBezTo>
                  <a:cubicBezTo>
                    <a:pt x="27" y="122"/>
                    <a:pt x="24" y="111"/>
                    <a:pt x="18" y="107"/>
                  </a:cubicBezTo>
                  <a:cubicBezTo>
                    <a:pt x="16" y="106"/>
                    <a:pt x="7" y="106"/>
                    <a:pt x="6" y="108"/>
                  </a:cubicBezTo>
                  <a:cubicBezTo>
                    <a:pt x="2" y="115"/>
                    <a:pt x="33" y="143"/>
                    <a:pt x="42" y="148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7" y="176"/>
                    <a:pt x="91" y="175"/>
                    <a:pt x="98" y="178"/>
                  </a:cubicBezTo>
                  <a:close/>
                  <a:moveTo>
                    <a:pt x="120" y="67"/>
                  </a:moveTo>
                  <a:cubicBezTo>
                    <a:pt x="111" y="66"/>
                    <a:pt x="101" y="56"/>
                    <a:pt x="105" y="44"/>
                  </a:cubicBezTo>
                  <a:cubicBezTo>
                    <a:pt x="106" y="38"/>
                    <a:pt x="111" y="34"/>
                    <a:pt x="113" y="40"/>
                  </a:cubicBezTo>
                  <a:cubicBezTo>
                    <a:pt x="117" y="49"/>
                    <a:pt x="121" y="63"/>
                    <a:pt x="120" y="67"/>
                  </a:cubicBezTo>
                  <a:close/>
                  <a:moveTo>
                    <a:pt x="99" y="85"/>
                  </a:moveTo>
                  <a:cubicBezTo>
                    <a:pt x="100" y="83"/>
                    <a:pt x="103" y="84"/>
                    <a:pt x="105" y="86"/>
                  </a:cubicBezTo>
                  <a:cubicBezTo>
                    <a:pt x="108" y="87"/>
                    <a:pt x="110" y="90"/>
                    <a:pt x="109" y="91"/>
                  </a:cubicBezTo>
                  <a:cubicBezTo>
                    <a:pt x="108" y="92"/>
                    <a:pt x="105" y="92"/>
                    <a:pt x="102" y="90"/>
                  </a:cubicBezTo>
                  <a:cubicBezTo>
                    <a:pt x="100" y="89"/>
                    <a:pt x="98" y="86"/>
                    <a:pt x="99" y="85"/>
                  </a:cubicBezTo>
                  <a:close/>
                  <a:moveTo>
                    <a:pt x="66" y="62"/>
                  </a:moveTo>
                  <a:cubicBezTo>
                    <a:pt x="76" y="84"/>
                    <a:pt x="76" y="105"/>
                    <a:pt x="89" y="123"/>
                  </a:cubicBezTo>
                  <a:cubicBezTo>
                    <a:pt x="91" y="128"/>
                    <a:pt x="90" y="128"/>
                    <a:pt x="85" y="124"/>
                  </a:cubicBezTo>
                  <a:cubicBezTo>
                    <a:pt x="76" y="111"/>
                    <a:pt x="66" y="98"/>
                    <a:pt x="61" y="81"/>
                  </a:cubicBezTo>
                  <a:cubicBezTo>
                    <a:pt x="56" y="66"/>
                    <a:pt x="60" y="53"/>
                    <a:pt x="6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548F1734-BF92-43CD-9DCC-D499EBA8CF95}"/>
                </a:ext>
              </a:extLst>
            </p:cNvPr>
            <p:cNvSpPr/>
            <p:nvPr/>
          </p:nvSpPr>
          <p:spPr bwMode="auto">
            <a:xfrm>
              <a:off x="2586038" y="2813050"/>
              <a:ext cx="152400" cy="165100"/>
            </a:xfrm>
            <a:custGeom>
              <a:avLst/>
              <a:gdLst>
                <a:gd name="T0" fmla="*/ 78 w 198"/>
                <a:gd name="T1" fmla="*/ 197 h 213"/>
                <a:gd name="T2" fmla="*/ 98 w 198"/>
                <a:gd name="T3" fmla="*/ 209 h 213"/>
                <a:gd name="T4" fmla="*/ 108 w 198"/>
                <a:gd name="T5" fmla="*/ 210 h 213"/>
                <a:gd name="T6" fmla="*/ 110 w 198"/>
                <a:gd name="T7" fmla="*/ 205 h 213"/>
                <a:gd name="T8" fmla="*/ 109 w 198"/>
                <a:gd name="T9" fmla="*/ 170 h 213"/>
                <a:gd name="T10" fmla="*/ 116 w 198"/>
                <a:gd name="T11" fmla="*/ 77 h 213"/>
                <a:gd name="T12" fmla="*/ 126 w 198"/>
                <a:gd name="T13" fmla="*/ 131 h 213"/>
                <a:gd name="T14" fmla="*/ 180 w 198"/>
                <a:gd name="T15" fmla="*/ 129 h 213"/>
                <a:gd name="T16" fmla="*/ 193 w 198"/>
                <a:gd name="T17" fmla="*/ 102 h 213"/>
                <a:gd name="T18" fmla="*/ 178 w 198"/>
                <a:gd name="T19" fmla="*/ 103 h 213"/>
                <a:gd name="T20" fmla="*/ 154 w 198"/>
                <a:gd name="T21" fmla="*/ 126 h 213"/>
                <a:gd name="T22" fmla="*/ 133 w 198"/>
                <a:gd name="T23" fmla="*/ 110 h 213"/>
                <a:gd name="T24" fmla="*/ 127 w 198"/>
                <a:gd name="T25" fmla="*/ 62 h 213"/>
                <a:gd name="T26" fmla="*/ 109 w 198"/>
                <a:gd name="T27" fmla="*/ 74 h 213"/>
                <a:gd name="T28" fmla="*/ 92 w 198"/>
                <a:gd name="T29" fmla="*/ 132 h 213"/>
                <a:gd name="T30" fmla="*/ 83 w 198"/>
                <a:gd name="T31" fmla="*/ 157 h 213"/>
                <a:gd name="T32" fmla="*/ 75 w 198"/>
                <a:gd name="T33" fmla="*/ 181 h 213"/>
                <a:gd name="T34" fmla="*/ 81 w 198"/>
                <a:gd name="T35" fmla="*/ 100 h 213"/>
                <a:gd name="T36" fmla="*/ 63 w 198"/>
                <a:gd name="T37" fmla="*/ 107 h 213"/>
                <a:gd name="T38" fmla="*/ 86 w 198"/>
                <a:gd name="T39" fmla="*/ 0 h 213"/>
                <a:gd name="T40" fmla="*/ 72 w 198"/>
                <a:gd name="T41" fmla="*/ 17 h 213"/>
                <a:gd name="T42" fmla="*/ 55 w 198"/>
                <a:gd name="T43" fmla="*/ 29 h 213"/>
                <a:gd name="T44" fmla="*/ 21 w 198"/>
                <a:gd name="T45" fmla="*/ 96 h 213"/>
                <a:gd name="T46" fmla="*/ 40 w 198"/>
                <a:gd name="T47" fmla="*/ 99 h 213"/>
                <a:gd name="T48" fmla="*/ 57 w 198"/>
                <a:gd name="T49" fmla="*/ 34 h 213"/>
                <a:gd name="T50" fmla="*/ 61 w 198"/>
                <a:gd name="T51" fmla="*/ 96 h 213"/>
                <a:gd name="T52" fmla="*/ 49 w 198"/>
                <a:gd name="T53" fmla="*/ 146 h 213"/>
                <a:gd name="T54" fmla="*/ 44 w 198"/>
                <a:gd name="T55" fmla="*/ 192 h 213"/>
                <a:gd name="T56" fmla="*/ 60 w 198"/>
                <a:gd name="T57" fmla="*/ 172 h 213"/>
                <a:gd name="T58" fmla="*/ 87 w 198"/>
                <a:gd name="T59" fmla="*/ 147 h 213"/>
                <a:gd name="T60" fmla="*/ 89 w 198"/>
                <a:gd name="T61" fmla="*/ 149 h 213"/>
                <a:gd name="T62" fmla="*/ 87 w 198"/>
                <a:gd name="T63" fmla="*/ 147 h 213"/>
                <a:gd name="T64" fmla="*/ 109 w 198"/>
                <a:gd name="T65" fmla="*/ 196 h 213"/>
                <a:gd name="T66" fmla="*/ 106 w 198"/>
                <a:gd name="T67" fmla="*/ 198 h 213"/>
                <a:gd name="T68" fmla="*/ 52 w 198"/>
                <a:gd name="T69" fmla="*/ 162 h 213"/>
                <a:gd name="T70" fmla="*/ 58 w 198"/>
                <a:gd name="T71" fmla="*/ 137 h 213"/>
                <a:gd name="T72" fmla="*/ 52 w 198"/>
                <a:gd name="T73" fmla="*/ 162 h 213"/>
                <a:gd name="T74" fmla="*/ 72 w 198"/>
                <a:gd name="T75" fmla="*/ 115 h 213"/>
                <a:gd name="T76" fmla="*/ 67 w 198"/>
                <a:gd name="T77" fmla="*/ 131 h 213"/>
                <a:gd name="T78" fmla="*/ 2 w 198"/>
                <a:gd name="T79" fmla="*/ 91 h 213"/>
                <a:gd name="T80" fmla="*/ 16 w 198"/>
                <a:gd name="T81" fmla="*/ 145 h 213"/>
                <a:gd name="T82" fmla="*/ 13 w 198"/>
                <a:gd name="T83" fmla="*/ 10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8" h="213">
                  <a:moveTo>
                    <a:pt x="73" y="198"/>
                  </a:moveTo>
                  <a:cubicBezTo>
                    <a:pt x="76" y="198"/>
                    <a:pt x="75" y="200"/>
                    <a:pt x="78" y="197"/>
                  </a:cubicBezTo>
                  <a:cubicBezTo>
                    <a:pt x="83" y="193"/>
                    <a:pt x="83" y="176"/>
                    <a:pt x="89" y="170"/>
                  </a:cubicBezTo>
                  <a:cubicBezTo>
                    <a:pt x="95" y="178"/>
                    <a:pt x="91" y="202"/>
                    <a:pt x="98" y="209"/>
                  </a:cubicBezTo>
                  <a:cubicBezTo>
                    <a:pt x="100" y="211"/>
                    <a:pt x="102" y="211"/>
                    <a:pt x="106" y="213"/>
                  </a:cubicBezTo>
                  <a:cubicBezTo>
                    <a:pt x="106" y="213"/>
                    <a:pt x="106" y="212"/>
                    <a:pt x="108" y="210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5" y="201"/>
                    <a:pt x="123" y="209"/>
                    <a:pt x="127" y="202"/>
                  </a:cubicBezTo>
                  <a:cubicBezTo>
                    <a:pt x="126" y="192"/>
                    <a:pt x="118" y="183"/>
                    <a:pt x="109" y="170"/>
                  </a:cubicBezTo>
                  <a:cubicBezTo>
                    <a:pt x="99" y="158"/>
                    <a:pt x="98" y="150"/>
                    <a:pt x="99" y="138"/>
                  </a:cubicBezTo>
                  <a:cubicBezTo>
                    <a:pt x="100" y="132"/>
                    <a:pt x="113" y="80"/>
                    <a:pt x="116" y="77"/>
                  </a:cubicBezTo>
                  <a:cubicBezTo>
                    <a:pt x="120" y="84"/>
                    <a:pt x="121" y="94"/>
                    <a:pt x="119" y="101"/>
                  </a:cubicBezTo>
                  <a:cubicBezTo>
                    <a:pt x="117" y="111"/>
                    <a:pt x="115" y="120"/>
                    <a:pt x="126" y="131"/>
                  </a:cubicBezTo>
                  <a:cubicBezTo>
                    <a:pt x="143" y="149"/>
                    <a:pt x="145" y="148"/>
                    <a:pt x="162" y="144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92" y="118"/>
                    <a:pt x="198" y="107"/>
                    <a:pt x="193" y="102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87" y="95"/>
                    <a:pt x="182" y="99"/>
                    <a:pt x="178" y="103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0" y="110"/>
                    <a:pt x="158" y="124"/>
                    <a:pt x="154" y="126"/>
                  </a:cubicBezTo>
                  <a:cubicBezTo>
                    <a:pt x="146" y="130"/>
                    <a:pt x="137" y="120"/>
                    <a:pt x="136" y="113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6" y="98"/>
                    <a:pt x="130" y="96"/>
                    <a:pt x="129" y="85"/>
                  </a:cubicBezTo>
                  <a:cubicBezTo>
                    <a:pt x="129" y="81"/>
                    <a:pt x="131" y="65"/>
                    <a:pt x="127" y="62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15" y="64"/>
                    <a:pt x="113" y="60"/>
                    <a:pt x="109" y="74"/>
                  </a:cubicBezTo>
                  <a:cubicBezTo>
                    <a:pt x="106" y="80"/>
                    <a:pt x="104" y="87"/>
                    <a:pt x="102" y="93"/>
                  </a:cubicBezTo>
                  <a:cubicBezTo>
                    <a:pt x="100" y="102"/>
                    <a:pt x="98" y="127"/>
                    <a:pt x="92" y="132"/>
                  </a:cubicBezTo>
                  <a:cubicBezTo>
                    <a:pt x="90" y="134"/>
                    <a:pt x="84" y="131"/>
                    <a:pt x="81" y="129"/>
                  </a:cubicBezTo>
                  <a:cubicBezTo>
                    <a:pt x="73" y="138"/>
                    <a:pt x="75" y="147"/>
                    <a:pt x="83" y="157"/>
                  </a:cubicBezTo>
                  <a:cubicBezTo>
                    <a:pt x="83" y="166"/>
                    <a:pt x="81" y="174"/>
                    <a:pt x="77" y="181"/>
                  </a:cubicBezTo>
                  <a:cubicBezTo>
                    <a:pt x="75" y="181"/>
                    <a:pt x="75" y="181"/>
                    <a:pt x="75" y="181"/>
                  </a:cubicBezTo>
                  <a:cubicBezTo>
                    <a:pt x="68" y="172"/>
                    <a:pt x="70" y="144"/>
                    <a:pt x="73" y="134"/>
                  </a:cubicBezTo>
                  <a:cubicBezTo>
                    <a:pt x="82" y="125"/>
                    <a:pt x="88" y="108"/>
                    <a:pt x="81" y="100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0" y="88"/>
                    <a:pt x="94" y="7"/>
                    <a:pt x="90" y="3"/>
                  </a:cubicBezTo>
                  <a:cubicBezTo>
                    <a:pt x="88" y="1"/>
                    <a:pt x="89" y="2"/>
                    <a:pt x="86" y="0"/>
                  </a:cubicBezTo>
                  <a:cubicBezTo>
                    <a:pt x="83" y="2"/>
                    <a:pt x="83" y="2"/>
                    <a:pt x="80" y="4"/>
                  </a:cubicBezTo>
                  <a:cubicBezTo>
                    <a:pt x="76" y="8"/>
                    <a:pt x="77" y="12"/>
                    <a:pt x="72" y="17"/>
                  </a:cubicBezTo>
                  <a:cubicBezTo>
                    <a:pt x="68" y="21"/>
                    <a:pt x="64" y="21"/>
                    <a:pt x="59" y="26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36" y="48"/>
                    <a:pt x="38" y="82"/>
                    <a:pt x="32" y="88"/>
                  </a:cubicBezTo>
                  <a:cubicBezTo>
                    <a:pt x="28" y="91"/>
                    <a:pt x="26" y="91"/>
                    <a:pt x="21" y="96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2" y="100"/>
                    <a:pt x="37" y="102"/>
                    <a:pt x="40" y="99"/>
                  </a:cubicBezTo>
                  <a:cubicBezTo>
                    <a:pt x="47" y="94"/>
                    <a:pt x="31" y="64"/>
                    <a:pt x="55" y="36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63" y="28"/>
                    <a:pt x="65" y="33"/>
                    <a:pt x="74" y="26"/>
                  </a:cubicBezTo>
                  <a:cubicBezTo>
                    <a:pt x="78" y="32"/>
                    <a:pt x="64" y="86"/>
                    <a:pt x="61" y="96"/>
                  </a:cubicBezTo>
                  <a:cubicBezTo>
                    <a:pt x="58" y="108"/>
                    <a:pt x="55" y="118"/>
                    <a:pt x="53" y="130"/>
                  </a:cubicBezTo>
                  <a:cubicBezTo>
                    <a:pt x="52" y="135"/>
                    <a:pt x="51" y="140"/>
                    <a:pt x="49" y="146"/>
                  </a:cubicBezTo>
                  <a:cubicBezTo>
                    <a:pt x="47" y="153"/>
                    <a:pt x="45" y="160"/>
                    <a:pt x="46" y="165"/>
                  </a:cubicBezTo>
                  <a:cubicBezTo>
                    <a:pt x="38" y="172"/>
                    <a:pt x="38" y="185"/>
                    <a:pt x="44" y="192"/>
                  </a:cubicBezTo>
                  <a:cubicBezTo>
                    <a:pt x="47" y="194"/>
                    <a:pt x="50" y="197"/>
                    <a:pt x="52" y="192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5" y="179"/>
                    <a:pt x="59" y="184"/>
                    <a:pt x="73" y="198"/>
                  </a:cubicBezTo>
                  <a:close/>
                  <a:moveTo>
                    <a:pt x="87" y="147"/>
                  </a:moveTo>
                  <a:cubicBezTo>
                    <a:pt x="88" y="147"/>
                    <a:pt x="88" y="147"/>
                    <a:pt x="89" y="148"/>
                  </a:cubicBezTo>
                  <a:cubicBezTo>
                    <a:pt x="89" y="148"/>
                    <a:pt x="89" y="149"/>
                    <a:pt x="89" y="149"/>
                  </a:cubicBezTo>
                  <a:cubicBezTo>
                    <a:pt x="89" y="149"/>
                    <a:pt x="88" y="149"/>
                    <a:pt x="87" y="149"/>
                  </a:cubicBezTo>
                  <a:cubicBezTo>
                    <a:pt x="87" y="148"/>
                    <a:pt x="87" y="148"/>
                    <a:pt x="87" y="147"/>
                  </a:cubicBezTo>
                  <a:close/>
                  <a:moveTo>
                    <a:pt x="105" y="195"/>
                  </a:moveTo>
                  <a:cubicBezTo>
                    <a:pt x="106" y="194"/>
                    <a:pt x="108" y="195"/>
                    <a:pt x="109" y="196"/>
                  </a:cubicBezTo>
                  <a:cubicBezTo>
                    <a:pt x="110" y="197"/>
                    <a:pt x="110" y="198"/>
                    <a:pt x="109" y="199"/>
                  </a:cubicBezTo>
                  <a:cubicBezTo>
                    <a:pt x="109" y="200"/>
                    <a:pt x="107" y="199"/>
                    <a:pt x="106" y="198"/>
                  </a:cubicBezTo>
                  <a:cubicBezTo>
                    <a:pt x="105" y="197"/>
                    <a:pt x="105" y="196"/>
                    <a:pt x="105" y="195"/>
                  </a:cubicBezTo>
                  <a:close/>
                  <a:moveTo>
                    <a:pt x="52" y="162"/>
                  </a:moveTo>
                  <a:cubicBezTo>
                    <a:pt x="52" y="154"/>
                    <a:pt x="54" y="146"/>
                    <a:pt x="56" y="138"/>
                  </a:cubicBezTo>
                  <a:cubicBezTo>
                    <a:pt x="56" y="136"/>
                    <a:pt x="57" y="136"/>
                    <a:pt x="58" y="137"/>
                  </a:cubicBezTo>
                  <a:cubicBezTo>
                    <a:pt x="59" y="142"/>
                    <a:pt x="59" y="150"/>
                    <a:pt x="57" y="157"/>
                  </a:cubicBezTo>
                  <a:cubicBezTo>
                    <a:pt x="55" y="162"/>
                    <a:pt x="52" y="163"/>
                    <a:pt x="52" y="162"/>
                  </a:cubicBezTo>
                  <a:close/>
                  <a:moveTo>
                    <a:pt x="65" y="122"/>
                  </a:moveTo>
                  <a:cubicBezTo>
                    <a:pt x="66" y="117"/>
                    <a:pt x="69" y="115"/>
                    <a:pt x="72" y="115"/>
                  </a:cubicBezTo>
                  <a:cubicBezTo>
                    <a:pt x="74" y="116"/>
                    <a:pt x="75" y="120"/>
                    <a:pt x="73" y="124"/>
                  </a:cubicBezTo>
                  <a:cubicBezTo>
                    <a:pt x="72" y="128"/>
                    <a:pt x="69" y="131"/>
                    <a:pt x="67" y="131"/>
                  </a:cubicBezTo>
                  <a:cubicBezTo>
                    <a:pt x="65" y="130"/>
                    <a:pt x="64" y="126"/>
                    <a:pt x="65" y="122"/>
                  </a:cubicBezTo>
                  <a:close/>
                  <a:moveTo>
                    <a:pt x="2" y="91"/>
                  </a:moveTo>
                  <a:cubicBezTo>
                    <a:pt x="8" y="109"/>
                    <a:pt x="8" y="125"/>
                    <a:pt x="7" y="141"/>
                  </a:cubicBezTo>
                  <a:cubicBezTo>
                    <a:pt x="7" y="155"/>
                    <a:pt x="15" y="159"/>
                    <a:pt x="16" y="145"/>
                  </a:cubicBezTo>
                  <a:cubicBezTo>
                    <a:pt x="16" y="134"/>
                    <a:pt x="16" y="125"/>
                    <a:pt x="15" y="116"/>
                  </a:cubicBezTo>
                  <a:cubicBezTo>
                    <a:pt x="14" y="111"/>
                    <a:pt x="15" y="105"/>
                    <a:pt x="13" y="101"/>
                  </a:cubicBezTo>
                  <a:cubicBezTo>
                    <a:pt x="6" y="84"/>
                    <a:pt x="0" y="86"/>
                    <a:pt x="2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6C4F242A-CC1E-403F-8F4D-270CB0068771}"/>
                </a:ext>
              </a:extLst>
            </p:cNvPr>
            <p:cNvSpPr/>
            <p:nvPr/>
          </p:nvSpPr>
          <p:spPr bwMode="auto">
            <a:xfrm>
              <a:off x="2919413" y="2616200"/>
              <a:ext cx="157163" cy="149225"/>
            </a:xfrm>
            <a:custGeom>
              <a:avLst/>
              <a:gdLst>
                <a:gd name="T0" fmla="*/ 116 w 202"/>
                <a:gd name="T1" fmla="*/ 176 h 193"/>
                <a:gd name="T2" fmla="*/ 105 w 202"/>
                <a:gd name="T3" fmla="*/ 161 h 193"/>
                <a:gd name="T4" fmla="*/ 119 w 202"/>
                <a:gd name="T5" fmla="*/ 175 h 193"/>
                <a:gd name="T6" fmla="*/ 85 w 202"/>
                <a:gd name="T7" fmla="*/ 109 h 193"/>
                <a:gd name="T8" fmla="*/ 80 w 202"/>
                <a:gd name="T9" fmla="*/ 109 h 193"/>
                <a:gd name="T10" fmla="*/ 84 w 202"/>
                <a:gd name="T11" fmla="*/ 94 h 193"/>
                <a:gd name="T12" fmla="*/ 85 w 202"/>
                <a:gd name="T13" fmla="*/ 99 h 193"/>
                <a:gd name="T14" fmla="*/ 84 w 202"/>
                <a:gd name="T15" fmla="*/ 94 h 193"/>
                <a:gd name="T16" fmla="*/ 127 w 202"/>
                <a:gd name="T17" fmla="*/ 74 h 193"/>
                <a:gd name="T18" fmla="*/ 122 w 202"/>
                <a:gd name="T19" fmla="*/ 74 h 193"/>
                <a:gd name="T20" fmla="*/ 129 w 202"/>
                <a:gd name="T21" fmla="*/ 100 h 193"/>
                <a:gd name="T22" fmla="*/ 106 w 202"/>
                <a:gd name="T23" fmla="*/ 115 h 193"/>
                <a:gd name="T24" fmla="*/ 129 w 202"/>
                <a:gd name="T25" fmla="*/ 100 h 193"/>
                <a:gd name="T26" fmla="*/ 121 w 202"/>
                <a:gd name="T27" fmla="*/ 57 h 193"/>
                <a:gd name="T28" fmla="*/ 141 w 202"/>
                <a:gd name="T29" fmla="*/ 72 h 193"/>
                <a:gd name="T30" fmla="*/ 144 w 202"/>
                <a:gd name="T31" fmla="*/ 28 h 193"/>
                <a:gd name="T32" fmla="*/ 121 w 202"/>
                <a:gd name="T33" fmla="*/ 52 h 193"/>
                <a:gd name="T34" fmla="*/ 0 w 202"/>
                <a:gd name="T35" fmla="*/ 169 h 193"/>
                <a:gd name="T36" fmla="*/ 21 w 202"/>
                <a:gd name="T37" fmla="*/ 174 h 193"/>
                <a:gd name="T38" fmla="*/ 50 w 202"/>
                <a:gd name="T39" fmla="*/ 135 h 193"/>
                <a:gd name="T40" fmla="*/ 96 w 202"/>
                <a:gd name="T41" fmla="*/ 118 h 193"/>
                <a:gd name="T42" fmla="*/ 92 w 202"/>
                <a:gd name="T43" fmla="*/ 137 h 193"/>
                <a:gd name="T44" fmla="*/ 122 w 202"/>
                <a:gd name="T45" fmla="*/ 121 h 193"/>
                <a:gd name="T46" fmla="*/ 97 w 202"/>
                <a:gd name="T47" fmla="*/ 158 h 193"/>
                <a:gd name="T48" fmla="*/ 128 w 202"/>
                <a:gd name="T49" fmla="*/ 191 h 193"/>
                <a:gd name="T50" fmla="*/ 154 w 202"/>
                <a:gd name="T51" fmla="*/ 160 h 193"/>
                <a:gd name="T52" fmla="*/ 150 w 202"/>
                <a:gd name="T53" fmla="*/ 144 h 193"/>
                <a:gd name="T54" fmla="*/ 158 w 202"/>
                <a:gd name="T55" fmla="*/ 135 h 193"/>
                <a:gd name="T56" fmla="*/ 144 w 202"/>
                <a:gd name="T57" fmla="*/ 113 h 193"/>
                <a:gd name="T58" fmla="*/ 138 w 202"/>
                <a:gd name="T59" fmla="*/ 103 h 193"/>
                <a:gd name="T60" fmla="*/ 200 w 202"/>
                <a:gd name="T61" fmla="*/ 82 h 193"/>
                <a:gd name="T62" fmla="*/ 186 w 202"/>
                <a:gd name="T63" fmla="*/ 71 h 193"/>
                <a:gd name="T64" fmla="*/ 162 w 202"/>
                <a:gd name="T65" fmla="*/ 31 h 193"/>
                <a:gd name="T66" fmla="*/ 121 w 202"/>
                <a:gd name="T67" fmla="*/ 13 h 193"/>
                <a:gd name="T68" fmla="*/ 102 w 202"/>
                <a:gd name="T69" fmla="*/ 10 h 193"/>
                <a:gd name="T70" fmla="*/ 103 w 202"/>
                <a:gd name="T71" fmla="*/ 40 h 193"/>
                <a:gd name="T72" fmla="*/ 105 w 202"/>
                <a:gd name="T73" fmla="*/ 66 h 193"/>
                <a:gd name="T74" fmla="*/ 101 w 202"/>
                <a:gd name="T75" fmla="*/ 91 h 193"/>
                <a:gd name="T76" fmla="*/ 105 w 202"/>
                <a:gd name="T77" fmla="*/ 99 h 193"/>
                <a:gd name="T78" fmla="*/ 96 w 202"/>
                <a:gd name="T79" fmla="*/ 103 h 193"/>
                <a:gd name="T80" fmla="*/ 77 w 202"/>
                <a:gd name="T81" fmla="*/ 40 h 193"/>
                <a:gd name="T82" fmla="*/ 76 w 202"/>
                <a:gd name="T83" fmla="*/ 67 h 193"/>
                <a:gd name="T84" fmla="*/ 72 w 202"/>
                <a:gd name="T85" fmla="*/ 95 h 193"/>
                <a:gd name="T86" fmla="*/ 37 w 202"/>
                <a:gd name="T87" fmla="*/ 72 h 193"/>
                <a:gd name="T88" fmla="*/ 68 w 202"/>
                <a:gd name="T89" fmla="*/ 109 h 193"/>
                <a:gd name="T90" fmla="*/ 50 w 202"/>
                <a:gd name="T91" fmla="*/ 125 h 193"/>
                <a:gd name="T92" fmla="*/ 49 w 202"/>
                <a:gd name="T93" fmla="*/ 107 h 193"/>
                <a:gd name="T94" fmla="*/ 44 w 202"/>
                <a:gd name="T95" fmla="*/ 104 h 193"/>
                <a:gd name="T96" fmla="*/ 16 w 202"/>
                <a:gd name="T97" fmla="*/ 13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193">
                  <a:moveTo>
                    <a:pt x="119" y="175"/>
                  </a:moveTo>
                  <a:cubicBezTo>
                    <a:pt x="116" y="176"/>
                    <a:pt x="116" y="176"/>
                    <a:pt x="116" y="176"/>
                  </a:cubicBezTo>
                  <a:cubicBezTo>
                    <a:pt x="112" y="177"/>
                    <a:pt x="107" y="171"/>
                    <a:pt x="106" y="166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11" y="158"/>
                    <a:pt x="119" y="156"/>
                    <a:pt x="127" y="154"/>
                  </a:cubicBezTo>
                  <a:cubicBezTo>
                    <a:pt x="128" y="162"/>
                    <a:pt x="126" y="174"/>
                    <a:pt x="119" y="175"/>
                  </a:cubicBezTo>
                  <a:close/>
                  <a:moveTo>
                    <a:pt x="82" y="106"/>
                  </a:moveTo>
                  <a:cubicBezTo>
                    <a:pt x="84" y="106"/>
                    <a:pt x="85" y="107"/>
                    <a:pt x="85" y="109"/>
                  </a:cubicBezTo>
                  <a:cubicBezTo>
                    <a:pt x="86" y="110"/>
                    <a:pt x="85" y="112"/>
                    <a:pt x="83" y="112"/>
                  </a:cubicBezTo>
                  <a:cubicBezTo>
                    <a:pt x="82" y="112"/>
                    <a:pt x="80" y="111"/>
                    <a:pt x="80" y="109"/>
                  </a:cubicBezTo>
                  <a:cubicBezTo>
                    <a:pt x="80" y="108"/>
                    <a:pt x="81" y="106"/>
                    <a:pt x="82" y="106"/>
                  </a:cubicBezTo>
                  <a:close/>
                  <a:moveTo>
                    <a:pt x="84" y="94"/>
                  </a:moveTo>
                  <a:cubicBezTo>
                    <a:pt x="84" y="94"/>
                    <a:pt x="85" y="95"/>
                    <a:pt x="85" y="96"/>
                  </a:cubicBezTo>
                  <a:cubicBezTo>
                    <a:pt x="85" y="98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83" y="96"/>
                    <a:pt x="83" y="94"/>
                    <a:pt x="84" y="94"/>
                  </a:cubicBezTo>
                  <a:close/>
                  <a:moveTo>
                    <a:pt x="124" y="66"/>
                  </a:moveTo>
                  <a:cubicBezTo>
                    <a:pt x="126" y="66"/>
                    <a:pt x="127" y="69"/>
                    <a:pt x="127" y="74"/>
                  </a:cubicBezTo>
                  <a:cubicBezTo>
                    <a:pt x="127" y="78"/>
                    <a:pt x="127" y="81"/>
                    <a:pt x="125" y="81"/>
                  </a:cubicBezTo>
                  <a:cubicBezTo>
                    <a:pt x="123" y="81"/>
                    <a:pt x="122" y="78"/>
                    <a:pt x="122" y="74"/>
                  </a:cubicBezTo>
                  <a:cubicBezTo>
                    <a:pt x="121" y="71"/>
                    <a:pt x="123" y="66"/>
                    <a:pt x="124" y="66"/>
                  </a:cubicBezTo>
                  <a:close/>
                  <a:moveTo>
                    <a:pt x="129" y="100"/>
                  </a:moveTo>
                  <a:cubicBezTo>
                    <a:pt x="130" y="100"/>
                    <a:pt x="130" y="102"/>
                    <a:pt x="127" y="103"/>
                  </a:cubicBezTo>
                  <a:cubicBezTo>
                    <a:pt x="118" y="106"/>
                    <a:pt x="114" y="110"/>
                    <a:pt x="106" y="115"/>
                  </a:cubicBezTo>
                  <a:cubicBezTo>
                    <a:pt x="102" y="118"/>
                    <a:pt x="98" y="114"/>
                    <a:pt x="106" y="108"/>
                  </a:cubicBezTo>
                  <a:cubicBezTo>
                    <a:pt x="112" y="103"/>
                    <a:pt x="120" y="101"/>
                    <a:pt x="129" y="100"/>
                  </a:cubicBezTo>
                  <a:close/>
                  <a:moveTo>
                    <a:pt x="121" y="52"/>
                  </a:moveTo>
                  <a:cubicBezTo>
                    <a:pt x="121" y="57"/>
                    <a:pt x="121" y="57"/>
                    <a:pt x="121" y="57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41" y="54"/>
                    <a:pt x="140" y="67"/>
                    <a:pt x="141" y="72"/>
                  </a:cubicBezTo>
                  <a:cubicBezTo>
                    <a:pt x="147" y="66"/>
                    <a:pt x="150" y="44"/>
                    <a:pt x="150" y="33"/>
                  </a:cubicBezTo>
                  <a:cubicBezTo>
                    <a:pt x="148" y="30"/>
                    <a:pt x="148" y="28"/>
                    <a:pt x="144" y="28"/>
                  </a:cubicBezTo>
                  <a:cubicBezTo>
                    <a:pt x="141" y="29"/>
                    <a:pt x="141" y="29"/>
                    <a:pt x="141" y="29"/>
                  </a:cubicBezTo>
                  <a:cubicBezTo>
                    <a:pt x="133" y="30"/>
                    <a:pt x="120" y="45"/>
                    <a:pt x="121" y="52"/>
                  </a:cubicBezTo>
                  <a:close/>
                  <a:moveTo>
                    <a:pt x="1" y="161"/>
                  </a:moveTo>
                  <a:cubicBezTo>
                    <a:pt x="0" y="165"/>
                    <a:pt x="0" y="165"/>
                    <a:pt x="0" y="169"/>
                  </a:cubicBezTo>
                  <a:cubicBezTo>
                    <a:pt x="2" y="177"/>
                    <a:pt x="2" y="177"/>
                    <a:pt x="2" y="177"/>
                  </a:cubicBezTo>
                  <a:cubicBezTo>
                    <a:pt x="3" y="185"/>
                    <a:pt x="18" y="176"/>
                    <a:pt x="21" y="174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8" y="150"/>
                    <a:pt x="38" y="139"/>
                    <a:pt x="50" y="135"/>
                  </a:cubicBezTo>
                  <a:cubicBezTo>
                    <a:pt x="58" y="132"/>
                    <a:pt x="89" y="119"/>
                    <a:pt x="89" y="119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6" y="124"/>
                    <a:pt x="91" y="128"/>
                    <a:pt x="92" y="135"/>
                  </a:cubicBezTo>
                  <a:cubicBezTo>
                    <a:pt x="92" y="137"/>
                    <a:pt x="92" y="137"/>
                    <a:pt x="92" y="137"/>
                  </a:cubicBezTo>
                  <a:cubicBezTo>
                    <a:pt x="93" y="143"/>
                    <a:pt x="99" y="138"/>
                    <a:pt x="106" y="137"/>
                  </a:cubicBezTo>
                  <a:cubicBezTo>
                    <a:pt x="110" y="129"/>
                    <a:pt x="112" y="125"/>
                    <a:pt x="122" y="121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26" y="143"/>
                    <a:pt x="95" y="143"/>
                    <a:pt x="97" y="158"/>
                  </a:cubicBezTo>
                  <a:cubicBezTo>
                    <a:pt x="100" y="175"/>
                    <a:pt x="112" y="193"/>
                    <a:pt x="127" y="191"/>
                  </a:cubicBezTo>
                  <a:cubicBezTo>
                    <a:pt x="128" y="191"/>
                    <a:pt x="128" y="191"/>
                    <a:pt x="128" y="191"/>
                  </a:cubicBezTo>
                  <a:cubicBezTo>
                    <a:pt x="136" y="190"/>
                    <a:pt x="145" y="186"/>
                    <a:pt x="148" y="180"/>
                  </a:cubicBezTo>
                  <a:cubicBezTo>
                    <a:pt x="149" y="178"/>
                    <a:pt x="154" y="162"/>
                    <a:pt x="154" y="16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1" y="127"/>
                    <a:pt x="153" y="130"/>
                    <a:pt x="141" y="129"/>
                  </a:cubicBezTo>
                  <a:cubicBezTo>
                    <a:pt x="140" y="118"/>
                    <a:pt x="145" y="119"/>
                    <a:pt x="144" y="113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6"/>
                    <a:pt x="141" y="109"/>
                    <a:pt x="138" y="103"/>
                  </a:cubicBezTo>
                  <a:cubicBezTo>
                    <a:pt x="152" y="101"/>
                    <a:pt x="170" y="87"/>
                    <a:pt x="185" y="85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78"/>
                    <a:pt x="202" y="77"/>
                    <a:pt x="202" y="75"/>
                  </a:cubicBezTo>
                  <a:cubicBezTo>
                    <a:pt x="201" y="71"/>
                    <a:pt x="194" y="69"/>
                    <a:pt x="186" y="71"/>
                  </a:cubicBezTo>
                  <a:cubicBezTo>
                    <a:pt x="174" y="74"/>
                    <a:pt x="161" y="75"/>
                    <a:pt x="154" y="78"/>
                  </a:cubicBezTo>
                  <a:cubicBezTo>
                    <a:pt x="153" y="67"/>
                    <a:pt x="163" y="44"/>
                    <a:pt x="162" y="31"/>
                  </a:cubicBezTo>
                  <a:cubicBezTo>
                    <a:pt x="157" y="0"/>
                    <a:pt x="122" y="34"/>
                    <a:pt x="118" y="37"/>
                  </a:cubicBezTo>
                  <a:cubicBezTo>
                    <a:pt x="121" y="29"/>
                    <a:pt x="122" y="21"/>
                    <a:pt x="121" y="13"/>
                  </a:cubicBezTo>
                  <a:cubicBezTo>
                    <a:pt x="117" y="9"/>
                    <a:pt x="114" y="6"/>
                    <a:pt x="107" y="7"/>
                  </a:cubicBezTo>
                  <a:cubicBezTo>
                    <a:pt x="105" y="7"/>
                    <a:pt x="106" y="8"/>
                    <a:pt x="102" y="10"/>
                  </a:cubicBezTo>
                  <a:cubicBezTo>
                    <a:pt x="104" y="19"/>
                    <a:pt x="106" y="14"/>
                    <a:pt x="107" y="20"/>
                  </a:cubicBezTo>
                  <a:cubicBezTo>
                    <a:pt x="108" y="27"/>
                    <a:pt x="102" y="32"/>
                    <a:pt x="103" y="4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6" y="59"/>
                    <a:pt x="110" y="54"/>
                    <a:pt x="105" y="66"/>
                  </a:cubicBezTo>
                  <a:cubicBezTo>
                    <a:pt x="102" y="72"/>
                    <a:pt x="101" y="79"/>
                    <a:pt x="99" y="85"/>
                  </a:cubicBezTo>
                  <a:cubicBezTo>
                    <a:pt x="100" y="88"/>
                    <a:pt x="100" y="88"/>
                    <a:pt x="101" y="91"/>
                  </a:cubicBezTo>
                  <a:cubicBezTo>
                    <a:pt x="101" y="95"/>
                    <a:pt x="101" y="95"/>
                    <a:pt x="101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102"/>
                    <a:pt x="105" y="103"/>
                    <a:pt x="101" y="104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93" y="91"/>
                    <a:pt x="88" y="73"/>
                    <a:pt x="83" y="62"/>
                  </a:cubicBezTo>
                  <a:cubicBezTo>
                    <a:pt x="81" y="56"/>
                    <a:pt x="79" y="48"/>
                    <a:pt x="77" y="40"/>
                  </a:cubicBezTo>
                  <a:cubicBezTo>
                    <a:pt x="74" y="31"/>
                    <a:pt x="77" y="22"/>
                    <a:pt x="69" y="22"/>
                  </a:cubicBezTo>
                  <a:cubicBezTo>
                    <a:pt x="69" y="37"/>
                    <a:pt x="72" y="53"/>
                    <a:pt x="76" y="67"/>
                  </a:cubicBezTo>
                  <a:cubicBezTo>
                    <a:pt x="77" y="73"/>
                    <a:pt x="78" y="79"/>
                    <a:pt x="80" y="85"/>
                  </a:cubicBezTo>
                  <a:cubicBezTo>
                    <a:pt x="79" y="88"/>
                    <a:pt x="76" y="95"/>
                    <a:pt x="72" y="95"/>
                  </a:cubicBezTo>
                  <a:cubicBezTo>
                    <a:pt x="69" y="96"/>
                    <a:pt x="53" y="62"/>
                    <a:pt x="46" y="63"/>
                  </a:cubicBezTo>
                  <a:cubicBezTo>
                    <a:pt x="39" y="64"/>
                    <a:pt x="38" y="67"/>
                    <a:pt x="37" y="72"/>
                  </a:cubicBezTo>
                  <a:cubicBezTo>
                    <a:pt x="48" y="74"/>
                    <a:pt x="53" y="81"/>
                    <a:pt x="59" y="90"/>
                  </a:cubicBezTo>
                  <a:cubicBezTo>
                    <a:pt x="60" y="93"/>
                    <a:pt x="65" y="103"/>
                    <a:pt x="68" y="109"/>
                  </a:cubicBezTo>
                  <a:cubicBezTo>
                    <a:pt x="70" y="111"/>
                    <a:pt x="73" y="115"/>
                    <a:pt x="73" y="117"/>
                  </a:cubicBezTo>
                  <a:cubicBezTo>
                    <a:pt x="68" y="120"/>
                    <a:pt x="58" y="122"/>
                    <a:pt x="50" y="125"/>
                  </a:cubicBezTo>
                  <a:cubicBezTo>
                    <a:pt x="39" y="129"/>
                    <a:pt x="37" y="134"/>
                    <a:pt x="30" y="137"/>
                  </a:cubicBezTo>
                  <a:cubicBezTo>
                    <a:pt x="31" y="124"/>
                    <a:pt x="34" y="110"/>
                    <a:pt x="49" y="107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5" y="102"/>
                    <a:pt x="50" y="103"/>
                    <a:pt x="44" y="104"/>
                  </a:cubicBezTo>
                  <a:cubicBezTo>
                    <a:pt x="34" y="105"/>
                    <a:pt x="32" y="109"/>
                    <a:pt x="25" y="117"/>
                  </a:cubicBezTo>
                  <a:cubicBezTo>
                    <a:pt x="21" y="123"/>
                    <a:pt x="20" y="126"/>
                    <a:pt x="16" y="131"/>
                  </a:cubicBezTo>
                  <a:cubicBezTo>
                    <a:pt x="9" y="142"/>
                    <a:pt x="5" y="149"/>
                    <a:pt x="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166F0C3A-D313-4F51-8DB5-5768BBD53916}"/>
                </a:ext>
              </a:extLst>
            </p:cNvPr>
            <p:cNvSpPr/>
            <p:nvPr/>
          </p:nvSpPr>
          <p:spPr bwMode="auto">
            <a:xfrm>
              <a:off x="3011488" y="4102100"/>
              <a:ext cx="293688" cy="95250"/>
            </a:xfrm>
            <a:custGeom>
              <a:avLst/>
              <a:gdLst>
                <a:gd name="T0" fmla="*/ 0 w 380"/>
                <a:gd name="T1" fmla="*/ 44 h 124"/>
                <a:gd name="T2" fmla="*/ 27 w 380"/>
                <a:gd name="T3" fmla="*/ 29 h 124"/>
                <a:gd name="T4" fmla="*/ 27 w 380"/>
                <a:gd name="T5" fmla="*/ 122 h 124"/>
                <a:gd name="T6" fmla="*/ 53 w 380"/>
                <a:gd name="T7" fmla="*/ 122 h 124"/>
                <a:gd name="T8" fmla="*/ 53 w 380"/>
                <a:gd name="T9" fmla="*/ 3 h 124"/>
                <a:gd name="T10" fmla="*/ 29 w 380"/>
                <a:gd name="T11" fmla="*/ 3 h 124"/>
                <a:gd name="T12" fmla="*/ 0 w 380"/>
                <a:gd name="T13" fmla="*/ 20 h 124"/>
                <a:gd name="T14" fmla="*/ 0 w 380"/>
                <a:gd name="T15" fmla="*/ 44 h 124"/>
                <a:gd name="T16" fmla="*/ 92 w 380"/>
                <a:gd name="T17" fmla="*/ 92 h 124"/>
                <a:gd name="T18" fmla="*/ 131 w 380"/>
                <a:gd name="T19" fmla="*/ 123 h 124"/>
                <a:gd name="T20" fmla="*/ 165 w 380"/>
                <a:gd name="T21" fmla="*/ 107 h 124"/>
                <a:gd name="T22" fmla="*/ 174 w 380"/>
                <a:gd name="T23" fmla="*/ 53 h 124"/>
                <a:gd name="T24" fmla="*/ 132 w 380"/>
                <a:gd name="T25" fmla="*/ 0 h 124"/>
                <a:gd name="T26" fmla="*/ 90 w 380"/>
                <a:gd name="T27" fmla="*/ 41 h 124"/>
                <a:gd name="T28" fmla="*/ 125 w 380"/>
                <a:gd name="T29" fmla="*/ 77 h 124"/>
                <a:gd name="T30" fmla="*/ 148 w 380"/>
                <a:gd name="T31" fmla="*/ 69 h 124"/>
                <a:gd name="T32" fmla="*/ 130 w 380"/>
                <a:gd name="T33" fmla="*/ 107 h 124"/>
                <a:gd name="T34" fmla="*/ 118 w 380"/>
                <a:gd name="T35" fmla="*/ 92 h 124"/>
                <a:gd name="T36" fmla="*/ 92 w 380"/>
                <a:gd name="T37" fmla="*/ 92 h 124"/>
                <a:gd name="T38" fmla="*/ 116 w 380"/>
                <a:gd name="T39" fmla="*/ 39 h 124"/>
                <a:gd name="T40" fmla="*/ 133 w 380"/>
                <a:gd name="T41" fmla="*/ 18 h 124"/>
                <a:gd name="T42" fmla="*/ 148 w 380"/>
                <a:gd name="T43" fmla="*/ 39 h 124"/>
                <a:gd name="T44" fmla="*/ 133 w 380"/>
                <a:gd name="T45" fmla="*/ 59 h 124"/>
                <a:gd name="T46" fmla="*/ 116 w 380"/>
                <a:gd name="T47" fmla="*/ 39 h 124"/>
                <a:gd name="T48" fmla="*/ 194 w 380"/>
                <a:gd name="T49" fmla="*/ 89 h 124"/>
                <a:gd name="T50" fmla="*/ 233 w 380"/>
                <a:gd name="T51" fmla="*/ 123 h 124"/>
                <a:gd name="T52" fmla="*/ 275 w 380"/>
                <a:gd name="T53" fmla="*/ 92 h 124"/>
                <a:gd name="T54" fmla="*/ 252 w 380"/>
                <a:gd name="T55" fmla="*/ 60 h 124"/>
                <a:gd name="T56" fmla="*/ 252 w 380"/>
                <a:gd name="T57" fmla="*/ 60 h 124"/>
                <a:gd name="T58" fmla="*/ 274 w 380"/>
                <a:gd name="T59" fmla="*/ 31 h 124"/>
                <a:gd name="T60" fmla="*/ 234 w 380"/>
                <a:gd name="T61" fmla="*/ 0 h 124"/>
                <a:gd name="T62" fmla="*/ 195 w 380"/>
                <a:gd name="T63" fmla="*/ 34 h 124"/>
                <a:gd name="T64" fmla="*/ 221 w 380"/>
                <a:gd name="T65" fmla="*/ 34 h 124"/>
                <a:gd name="T66" fmla="*/ 234 w 380"/>
                <a:gd name="T67" fmla="*/ 18 h 124"/>
                <a:gd name="T68" fmla="*/ 249 w 380"/>
                <a:gd name="T69" fmla="*/ 34 h 124"/>
                <a:gd name="T70" fmla="*/ 221 w 380"/>
                <a:gd name="T71" fmla="*/ 53 h 124"/>
                <a:gd name="T72" fmla="*/ 221 w 380"/>
                <a:gd name="T73" fmla="*/ 69 h 124"/>
                <a:gd name="T74" fmla="*/ 249 w 380"/>
                <a:gd name="T75" fmla="*/ 89 h 124"/>
                <a:gd name="T76" fmla="*/ 234 w 380"/>
                <a:gd name="T77" fmla="*/ 107 h 124"/>
                <a:gd name="T78" fmla="*/ 219 w 380"/>
                <a:gd name="T79" fmla="*/ 89 h 124"/>
                <a:gd name="T80" fmla="*/ 194 w 380"/>
                <a:gd name="T81" fmla="*/ 89 h 124"/>
                <a:gd name="T82" fmla="*/ 296 w 380"/>
                <a:gd name="T83" fmla="*/ 122 h 124"/>
                <a:gd name="T84" fmla="*/ 379 w 380"/>
                <a:gd name="T85" fmla="*/ 122 h 124"/>
                <a:gd name="T86" fmla="*/ 379 w 380"/>
                <a:gd name="T87" fmla="*/ 104 h 124"/>
                <a:gd name="T88" fmla="*/ 322 w 380"/>
                <a:gd name="T89" fmla="*/ 104 h 124"/>
                <a:gd name="T90" fmla="*/ 322 w 380"/>
                <a:gd name="T91" fmla="*/ 104 h 124"/>
                <a:gd name="T92" fmla="*/ 340 w 380"/>
                <a:gd name="T93" fmla="*/ 87 h 124"/>
                <a:gd name="T94" fmla="*/ 379 w 380"/>
                <a:gd name="T95" fmla="*/ 34 h 124"/>
                <a:gd name="T96" fmla="*/ 339 w 380"/>
                <a:gd name="T97" fmla="*/ 0 h 124"/>
                <a:gd name="T98" fmla="*/ 298 w 380"/>
                <a:gd name="T99" fmla="*/ 36 h 124"/>
                <a:gd name="T100" fmla="*/ 324 w 380"/>
                <a:gd name="T101" fmla="*/ 36 h 124"/>
                <a:gd name="T102" fmla="*/ 339 w 380"/>
                <a:gd name="T103" fmla="*/ 18 h 124"/>
                <a:gd name="T104" fmla="*/ 353 w 380"/>
                <a:gd name="T105" fmla="*/ 33 h 124"/>
                <a:gd name="T106" fmla="*/ 310 w 380"/>
                <a:gd name="T107" fmla="*/ 85 h 124"/>
                <a:gd name="T108" fmla="*/ 296 w 380"/>
                <a:gd name="T109" fmla="*/ 98 h 124"/>
                <a:gd name="T110" fmla="*/ 296 w 380"/>
                <a:gd name="T111" fmla="*/ 1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124">
                  <a:moveTo>
                    <a:pt x="0" y="44"/>
                  </a:moveTo>
                  <a:cubicBezTo>
                    <a:pt x="10" y="40"/>
                    <a:pt x="19" y="35"/>
                    <a:pt x="27" y="29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0" y="10"/>
                    <a:pt x="10" y="16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lose/>
                  <a:moveTo>
                    <a:pt x="92" y="92"/>
                  </a:moveTo>
                  <a:cubicBezTo>
                    <a:pt x="93" y="113"/>
                    <a:pt x="105" y="124"/>
                    <a:pt x="131" y="123"/>
                  </a:cubicBezTo>
                  <a:cubicBezTo>
                    <a:pt x="146" y="123"/>
                    <a:pt x="157" y="118"/>
                    <a:pt x="165" y="107"/>
                  </a:cubicBezTo>
                  <a:cubicBezTo>
                    <a:pt x="171" y="97"/>
                    <a:pt x="174" y="79"/>
                    <a:pt x="174" y="53"/>
                  </a:cubicBezTo>
                  <a:cubicBezTo>
                    <a:pt x="174" y="18"/>
                    <a:pt x="160" y="0"/>
                    <a:pt x="132" y="0"/>
                  </a:cubicBezTo>
                  <a:cubicBezTo>
                    <a:pt x="106" y="2"/>
                    <a:pt x="92" y="16"/>
                    <a:pt x="90" y="41"/>
                  </a:cubicBezTo>
                  <a:cubicBezTo>
                    <a:pt x="92" y="63"/>
                    <a:pt x="104" y="75"/>
                    <a:pt x="125" y="77"/>
                  </a:cubicBezTo>
                  <a:cubicBezTo>
                    <a:pt x="134" y="77"/>
                    <a:pt x="141" y="75"/>
                    <a:pt x="148" y="69"/>
                  </a:cubicBezTo>
                  <a:cubicBezTo>
                    <a:pt x="149" y="94"/>
                    <a:pt x="143" y="107"/>
                    <a:pt x="130" y="107"/>
                  </a:cubicBezTo>
                  <a:cubicBezTo>
                    <a:pt x="124" y="107"/>
                    <a:pt x="120" y="102"/>
                    <a:pt x="118" y="92"/>
                  </a:cubicBezTo>
                  <a:cubicBezTo>
                    <a:pt x="92" y="92"/>
                    <a:pt x="92" y="92"/>
                    <a:pt x="92" y="92"/>
                  </a:cubicBezTo>
                  <a:close/>
                  <a:moveTo>
                    <a:pt x="116" y="39"/>
                  </a:moveTo>
                  <a:cubicBezTo>
                    <a:pt x="116" y="25"/>
                    <a:pt x="122" y="18"/>
                    <a:pt x="133" y="18"/>
                  </a:cubicBezTo>
                  <a:cubicBezTo>
                    <a:pt x="143" y="18"/>
                    <a:pt x="148" y="25"/>
                    <a:pt x="148" y="39"/>
                  </a:cubicBezTo>
                  <a:cubicBezTo>
                    <a:pt x="148" y="52"/>
                    <a:pt x="143" y="59"/>
                    <a:pt x="133" y="59"/>
                  </a:cubicBezTo>
                  <a:cubicBezTo>
                    <a:pt x="122" y="59"/>
                    <a:pt x="116" y="53"/>
                    <a:pt x="116" y="39"/>
                  </a:cubicBezTo>
                  <a:close/>
                  <a:moveTo>
                    <a:pt x="194" y="89"/>
                  </a:moveTo>
                  <a:cubicBezTo>
                    <a:pt x="194" y="112"/>
                    <a:pt x="207" y="123"/>
                    <a:pt x="233" y="123"/>
                  </a:cubicBezTo>
                  <a:cubicBezTo>
                    <a:pt x="259" y="121"/>
                    <a:pt x="272" y="111"/>
                    <a:pt x="275" y="92"/>
                  </a:cubicBezTo>
                  <a:cubicBezTo>
                    <a:pt x="275" y="75"/>
                    <a:pt x="267" y="65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66" y="56"/>
                    <a:pt x="273" y="47"/>
                    <a:pt x="274" y="31"/>
                  </a:cubicBezTo>
                  <a:cubicBezTo>
                    <a:pt x="272" y="13"/>
                    <a:pt x="259" y="3"/>
                    <a:pt x="234" y="0"/>
                  </a:cubicBezTo>
                  <a:cubicBezTo>
                    <a:pt x="209" y="1"/>
                    <a:pt x="196" y="12"/>
                    <a:pt x="195" y="3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2" y="25"/>
                    <a:pt x="227" y="19"/>
                    <a:pt x="234" y="18"/>
                  </a:cubicBezTo>
                  <a:cubicBezTo>
                    <a:pt x="244" y="18"/>
                    <a:pt x="248" y="24"/>
                    <a:pt x="249" y="34"/>
                  </a:cubicBezTo>
                  <a:cubicBezTo>
                    <a:pt x="249" y="46"/>
                    <a:pt x="240" y="52"/>
                    <a:pt x="221" y="53"/>
                  </a:cubicBezTo>
                  <a:cubicBezTo>
                    <a:pt x="221" y="69"/>
                    <a:pt x="221" y="69"/>
                    <a:pt x="221" y="69"/>
                  </a:cubicBezTo>
                  <a:cubicBezTo>
                    <a:pt x="239" y="69"/>
                    <a:pt x="248" y="75"/>
                    <a:pt x="249" y="89"/>
                  </a:cubicBezTo>
                  <a:cubicBezTo>
                    <a:pt x="248" y="100"/>
                    <a:pt x="243" y="106"/>
                    <a:pt x="234" y="107"/>
                  </a:cubicBezTo>
                  <a:cubicBezTo>
                    <a:pt x="225" y="106"/>
                    <a:pt x="220" y="100"/>
                    <a:pt x="219" y="89"/>
                  </a:cubicBezTo>
                  <a:cubicBezTo>
                    <a:pt x="194" y="89"/>
                    <a:pt x="194" y="89"/>
                    <a:pt x="194" y="89"/>
                  </a:cubicBezTo>
                  <a:close/>
                  <a:moveTo>
                    <a:pt x="296" y="122"/>
                  </a:moveTo>
                  <a:cubicBezTo>
                    <a:pt x="379" y="122"/>
                    <a:pt x="379" y="122"/>
                    <a:pt x="379" y="122"/>
                  </a:cubicBezTo>
                  <a:cubicBezTo>
                    <a:pt x="379" y="104"/>
                    <a:pt x="379" y="104"/>
                    <a:pt x="379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5" y="101"/>
                    <a:pt x="331" y="95"/>
                    <a:pt x="340" y="87"/>
                  </a:cubicBezTo>
                  <a:cubicBezTo>
                    <a:pt x="367" y="66"/>
                    <a:pt x="380" y="48"/>
                    <a:pt x="379" y="34"/>
                  </a:cubicBezTo>
                  <a:cubicBezTo>
                    <a:pt x="378" y="13"/>
                    <a:pt x="364" y="2"/>
                    <a:pt x="339" y="0"/>
                  </a:cubicBezTo>
                  <a:cubicBezTo>
                    <a:pt x="312" y="1"/>
                    <a:pt x="299" y="13"/>
                    <a:pt x="298" y="36"/>
                  </a:cubicBezTo>
                  <a:cubicBezTo>
                    <a:pt x="324" y="36"/>
                    <a:pt x="324" y="36"/>
                    <a:pt x="324" y="36"/>
                  </a:cubicBezTo>
                  <a:cubicBezTo>
                    <a:pt x="325" y="25"/>
                    <a:pt x="330" y="19"/>
                    <a:pt x="339" y="18"/>
                  </a:cubicBezTo>
                  <a:cubicBezTo>
                    <a:pt x="347" y="18"/>
                    <a:pt x="352" y="23"/>
                    <a:pt x="353" y="33"/>
                  </a:cubicBezTo>
                  <a:cubicBezTo>
                    <a:pt x="353" y="43"/>
                    <a:pt x="339" y="60"/>
                    <a:pt x="310" y="85"/>
                  </a:cubicBezTo>
                  <a:cubicBezTo>
                    <a:pt x="303" y="91"/>
                    <a:pt x="298" y="95"/>
                    <a:pt x="296" y="98"/>
                  </a:cubicBezTo>
                  <a:lnTo>
                    <a:pt x="296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EA4C878A-AFA2-44EC-BA44-7261DE6CA525}"/>
                </a:ext>
              </a:extLst>
            </p:cNvPr>
            <p:cNvSpPr/>
            <p:nvPr/>
          </p:nvSpPr>
          <p:spPr bwMode="auto">
            <a:xfrm>
              <a:off x="2246313" y="2511425"/>
              <a:ext cx="1822450" cy="1835150"/>
            </a:xfrm>
            <a:custGeom>
              <a:avLst/>
              <a:gdLst>
                <a:gd name="T0" fmla="*/ 1288 w 2348"/>
                <a:gd name="T1" fmla="*/ 1573 h 2365"/>
                <a:gd name="T2" fmla="*/ 1403 w 2348"/>
                <a:gd name="T3" fmla="*/ 1374 h 2365"/>
                <a:gd name="T4" fmla="*/ 1322 w 2348"/>
                <a:gd name="T5" fmla="*/ 725 h 2365"/>
                <a:gd name="T6" fmla="*/ 958 w 2348"/>
                <a:gd name="T7" fmla="*/ 1374 h 2365"/>
                <a:gd name="T8" fmla="*/ 1072 w 2348"/>
                <a:gd name="T9" fmla="*/ 1575 h 2365"/>
                <a:gd name="T10" fmla="*/ 1245 w 2348"/>
                <a:gd name="T11" fmla="*/ 1925 h 2365"/>
                <a:gd name="T12" fmla="*/ 1389 w 2348"/>
                <a:gd name="T13" fmla="*/ 1953 h 2365"/>
                <a:gd name="T14" fmla="*/ 958 w 2348"/>
                <a:gd name="T15" fmla="*/ 1893 h 2365"/>
                <a:gd name="T16" fmla="*/ 1270 w 2348"/>
                <a:gd name="T17" fmla="*/ 1937 h 2365"/>
                <a:gd name="T18" fmla="*/ 1415 w 2348"/>
                <a:gd name="T19" fmla="*/ 1829 h 2365"/>
                <a:gd name="T20" fmla="*/ 1194 w 2348"/>
                <a:gd name="T21" fmla="*/ 1876 h 2365"/>
                <a:gd name="T22" fmla="*/ 1098 w 2348"/>
                <a:gd name="T23" fmla="*/ 1796 h 2365"/>
                <a:gd name="T24" fmla="*/ 1200 w 2348"/>
                <a:gd name="T25" fmla="*/ 1803 h 2365"/>
                <a:gd name="T26" fmla="*/ 756 w 2348"/>
                <a:gd name="T27" fmla="*/ 1820 h 2365"/>
                <a:gd name="T28" fmla="*/ 446 w 2348"/>
                <a:gd name="T29" fmla="*/ 1811 h 2365"/>
                <a:gd name="T30" fmla="*/ 518 w 2348"/>
                <a:gd name="T31" fmla="*/ 1811 h 2365"/>
                <a:gd name="T32" fmla="*/ 582 w 2348"/>
                <a:gd name="T33" fmla="*/ 1766 h 2365"/>
                <a:gd name="T34" fmla="*/ 639 w 2348"/>
                <a:gd name="T35" fmla="*/ 1766 h 2365"/>
                <a:gd name="T36" fmla="*/ 704 w 2348"/>
                <a:gd name="T37" fmla="*/ 1811 h 2365"/>
                <a:gd name="T38" fmla="*/ 781 w 2348"/>
                <a:gd name="T39" fmla="*/ 1811 h 2365"/>
                <a:gd name="T40" fmla="*/ 1179 w 2348"/>
                <a:gd name="T41" fmla="*/ 377 h 2365"/>
                <a:gd name="T42" fmla="*/ 316 w 2348"/>
                <a:gd name="T43" fmla="*/ 1522 h 2365"/>
                <a:gd name="T44" fmla="*/ 2003 w 2348"/>
                <a:gd name="T45" fmla="*/ 1581 h 2365"/>
                <a:gd name="T46" fmla="*/ 1546 w 2348"/>
                <a:gd name="T47" fmla="*/ 1766 h 2365"/>
                <a:gd name="T48" fmla="*/ 1611 w 2348"/>
                <a:gd name="T49" fmla="*/ 1811 h 2365"/>
                <a:gd name="T50" fmla="*/ 1688 w 2348"/>
                <a:gd name="T51" fmla="*/ 1811 h 2365"/>
                <a:gd name="T52" fmla="*/ 1760 w 2348"/>
                <a:gd name="T53" fmla="*/ 1811 h 2365"/>
                <a:gd name="T54" fmla="*/ 1824 w 2348"/>
                <a:gd name="T55" fmla="*/ 1766 h 2365"/>
                <a:gd name="T56" fmla="*/ 1881 w 2348"/>
                <a:gd name="T57" fmla="*/ 1687 h 2365"/>
                <a:gd name="T58" fmla="*/ 1946 w 2348"/>
                <a:gd name="T59" fmla="*/ 1811 h 2365"/>
                <a:gd name="T60" fmla="*/ 1121 w 2348"/>
                <a:gd name="T61" fmla="*/ 1909 h 2365"/>
                <a:gd name="T62" fmla="*/ 951 w 2348"/>
                <a:gd name="T63" fmla="*/ 1832 h 2365"/>
                <a:gd name="T64" fmla="*/ 1121 w 2348"/>
                <a:gd name="T65" fmla="*/ 1856 h 2365"/>
                <a:gd name="T66" fmla="*/ 1121 w 2348"/>
                <a:gd name="T67" fmla="*/ 1803 h 2365"/>
                <a:gd name="T68" fmla="*/ 2082 w 2348"/>
                <a:gd name="T69" fmla="*/ 1622 h 2365"/>
                <a:gd name="T70" fmla="*/ 358 w 2348"/>
                <a:gd name="T71" fmla="*/ 1731 h 2365"/>
                <a:gd name="T72" fmla="*/ 917 w 2348"/>
                <a:gd name="T73" fmla="*/ 1797 h 2365"/>
                <a:gd name="T74" fmla="*/ 1452 w 2348"/>
                <a:gd name="T75" fmla="*/ 1259 h 2365"/>
                <a:gd name="T76" fmla="*/ 1911 w 2348"/>
                <a:gd name="T77" fmla="*/ 1358 h 2365"/>
                <a:gd name="T78" fmla="*/ 1830 w 2348"/>
                <a:gd name="T79" fmla="*/ 1126 h 2365"/>
                <a:gd name="T80" fmla="*/ 1162 w 2348"/>
                <a:gd name="T81" fmla="*/ 439 h 2365"/>
                <a:gd name="T82" fmla="*/ 677 w 2348"/>
                <a:gd name="T83" fmla="*/ 1183 h 2365"/>
                <a:gd name="T84" fmla="*/ 1195 w 2348"/>
                <a:gd name="T85" fmla="*/ 503 h 2365"/>
                <a:gd name="T86" fmla="*/ 386 w 2348"/>
                <a:gd name="T87" fmla="*/ 1302 h 2365"/>
                <a:gd name="T88" fmla="*/ 525 w 2348"/>
                <a:gd name="T89" fmla="*/ 1544 h 2365"/>
                <a:gd name="T90" fmla="*/ 1318 w 2348"/>
                <a:gd name="T91" fmla="*/ 1534 h 2365"/>
                <a:gd name="T92" fmla="*/ 1318 w 2348"/>
                <a:gd name="T93" fmla="*/ 1588 h 2365"/>
                <a:gd name="T94" fmla="*/ 1365 w 2348"/>
                <a:gd name="T95" fmla="*/ 1649 h 2365"/>
                <a:gd name="T96" fmla="*/ 1365 w 2348"/>
                <a:gd name="T97" fmla="*/ 1721 h 2365"/>
                <a:gd name="T98" fmla="*/ 1518 w 2348"/>
                <a:gd name="T99" fmla="*/ 1547 h 2365"/>
                <a:gd name="T100" fmla="*/ 1471 w 2348"/>
                <a:gd name="T101" fmla="*/ 1605 h 2365"/>
                <a:gd name="T102" fmla="*/ 1471 w 2348"/>
                <a:gd name="T103" fmla="*/ 1661 h 2365"/>
                <a:gd name="T104" fmla="*/ 1518 w 2348"/>
                <a:gd name="T105" fmla="*/ 1721 h 2365"/>
                <a:gd name="T106" fmla="*/ 997 w 2348"/>
                <a:gd name="T107" fmla="*/ 1541 h 2365"/>
                <a:gd name="T108" fmla="*/ 1043 w 2348"/>
                <a:gd name="T109" fmla="*/ 1600 h 2365"/>
                <a:gd name="T110" fmla="*/ 1043 w 2348"/>
                <a:gd name="T111" fmla="*/ 1667 h 2365"/>
                <a:gd name="T112" fmla="*/ 997 w 2348"/>
                <a:gd name="T113" fmla="*/ 1726 h 2365"/>
                <a:gd name="T114" fmla="*/ 844 w 2348"/>
                <a:gd name="T115" fmla="*/ 1541 h 2365"/>
                <a:gd name="T116" fmla="*/ 844 w 2348"/>
                <a:gd name="T117" fmla="*/ 1612 h 2365"/>
                <a:gd name="T118" fmla="*/ 891 w 2348"/>
                <a:gd name="T119" fmla="*/ 1673 h 2365"/>
                <a:gd name="T120" fmla="*/ 891 w 2348"/>
                <a:gd name="T121" fmla="*/ 1738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8" h="2365">
                  <a:moveTo>
                    <a:pt x="842" y="1508"/>
                  </a:moveTo>
                  <a:cubicBezTo>
                    <a:pt x="916" y="1508"/>
                    <a:pt x="916" y="1508"/>
                    <a:pt x="916" y="1508"/>
                  </a:cubicBezTo>
                  <a:cubicBezTo>
                    <a:pt x="916" y="1529"/>
                    <a:pt x="916" y="1529"/>
                    <a:pt x="916" y="1529"/>
                  </a:cubicBezTo>
                  <a:cubicBezTo>
                    <a:pt x="971" y="1529"/>
                    <a:pt x="971" y="1529"/>
                    <a:pt x="971" y="1529"/>
                  </a:cubicBezTo>
                  <a:cubicBezTo>
                    <a:pt x="971" y="1508"/>
                    <a:pt x="971" y="1508"/>
                    <a:pt x="971" y="1508"/>
                  </a:cubicBezTo>
                  <a:cubicBezTo>
                    <a:pt x="1053" y="1508"/>
                    <a:pt x="1053" y="1508"/>
                    <a:pt x="1053" y="1508"/>
                  </a:cubicBezTo>
                  <a:cubicBezTo>
                    <a:pt x="1053" y="1797"/>
                    <a:pt x="1053" y="1797"/>
                    <a:pt x="1053" y="1797"/>
                  </a:cubicBezTo>
                  <a:cubicBezTo>
                    <a:pt x="1067" y="1797"/>
                    <a:pt x="1067" y="1797"/>
                    <a:pt x="1067" y="1797"/>
                  </a:cubicBezTo>
                  <a:cubicBezTo>
                    <a:pt x="1067" y="1580"/>
                    <a:pt x="1067" y="1580"/>
                    <a:pt x="1067" y="1580"/>
                  </a:cubicBezTo>
                  <a:cubicBezTo>
                    <a:pt x="1100" y="1545"/>
                    <a:pt x="1139" y="1518"/>
                    <a:pt x="1188" y="1518"/>
                  </a:cubicBezTo>
                  <a:cubicBezTo>
                    <a:pt x="1230" y="1519"/>
                    <a:pt x="1266" y="1548"/>
                    <a:pt x="1297" y="1583"/>
                  </a:cubicBezTo>
                  <a:cubicBezTo>
                    <a:pt x="1297" y="1797"/>
                    <a:pt x="1297" y="1797"/>
                    <a:pt x="1297" y="1797"/>
                  </a:cubicBezTo>
                  <a:cubicBezTo>
                    <a:pt x="1309" y="1797"/>
                    <a:pt x="1309" y="1797"/>
                    <a:pt x="1309" y="1797"/>
                  </a:cubicBezTo>
                  <a:cubicBezTo>
                    <a:pt x="1309" y="1508"/>
                    <a:pt x="1309" y="1508"/>
                    <a:pt x="1309" y="1508"/>
                  </a:cubicBezTo>
                  <a:cubicBezTo>
                    <a:pt x="1390" y="1508"/>
                    <a:pt x="1390" y="1508"/>
                    <a:pt x="1390" y="1508"/>
                  </a:cubicBezTo>
                  <a:cubicBezTo>
                    <a:pt x="1390" y="1529"/>
                    <a:pt x="1390" y="1529"/>
                    <a:pt x="1390" y="1529"/>
                  </a:cubicBezTo>
                  <a:cubicBezTo>
                    <a:pt x="1445" y="1529"/>
                    <a:pt x="1445" y="1529"/>
                    <a:pt x="1445" y="1529"/>
                  </a:cubicBezTo>
                  <a:cubicBezTo>
                    <a:pt x="1445" y="1508"/>
                    <a:pt x="1445" y="1508"/>
                    <a:pt x="1445" y="1508"/>
                  </a:cubicBezTo>
                  <a:cubicBezTo>
                    <a:pt x="1519" y="1508"/>
                    <a:pt x="1519" y="1508"/>
                    <a:pt x="1519" y="1508"/>
                  </a:cubicBezTo>
                  <a:cubicBezTo>
                    <a:pt x="1519" y="1487"/>
                    <a:pt x="1519" y="1487"/>
                    <a:pt x="1519" y="1487"/>
                  </a:cubicBezTo>
                  <a:cubicBezTo>
                    <a:pt x="1307" y="1487"/>
                    <a:pt x="1307" y="1487"/>
                    <a:pt x="1307" y="1487"/>
                  </a:cubicBezTo>
                  <a:cubicBezTo>
                    <a:pt x="1398" y="1399"/>
                    <a:pt x="1398" y="1399"/>
                    <a:pt x="1398" y="1399"/>
                  </a:cubicBezTo>
                  <a:cubicBezTo>
                    <a:pt x="1294" y="1399"/>
                    <a:pt x="1294" y="1399"/>
                    <a:pt x="1294" y="1399"/>
                  </a:cubicBezTo>
                  <a:cubicBezTo>
                    <a:pt x="1294" y="1576"/>
                    <a:pt x="1294" y="1576"/>
                    <a:pt x="1294" y="1576"/>
                  </a:cubicBezTo>
                  <a:cubicBezTo>
                    <a:pt x="1290" y="1576"/>
                    <a:pt x="1290" y="1576"/>
                    <a:pt x="1290" y="1576"/>
                  </a:cubicBezTo>
                  <a:cubicBezTo>
                    <a:pt x="1290" y="1575"/>
                    <a:pt x="1289" y="1574"/>
                    <a:pt x="1288" y="1573"/>
                  </a:cubicBezTo>
                  <a:cubicBezTo>
                    <a:pt x="1288" y="1485"/>
                    <a:pt x="1288" y="1485"/>
                    <a:pt x="1288" y="1485"/>
                  </a:cubicBezTo>
                  <a:cubicBezTo>
                    <a:pt x="1266" y="1485"/>
                    <a:pt x="1266" y="1485"/>
                    <a:pt x="1266" y="1485"/>
                  </a:cubicBezTo>
                  <a:cubicBezTo>
                    <a:pt x="1266" y="1552"/>
                    <a:pt x="1266" y="1552"/>
                    <a:pt x="1266" y="1552"/>
                  </a:cubicBezTo>
                  <a:cubicBezTo>
                    <a:pt x="1263" y="1550"/>
                    <a:pt x="1261" y="1548"/>
                    <a:pt x="1259" y="1546"/>
                  </a:cubicBezTo>
                  <a:cubicBezTo>
                    <a:pt x="1259" y="1485"/>
                    <a:pt x="1259" y="1485"/>
                    <a:pt x="1259" y="1485"/>
                  </a:cubicBezTo>
                  <a:cubicBezTo>
                    <a:pt x="1253" y="1485"/>
                    <a:pt x="1253" y="1485"/>
                    <a:pt x="1253" y="1485"/>
                  </a:cubicBezTo>
                  <a:cubicBezTo>
                    <a:pt x="1253" y="1542"/>
                    <a:pt x="1253" y="1542"/>
                    <a:pt x="1253" y="1542"/>
                  </a:cubicBezTo>
                  <a:cubicBezTo>
                    <a:pt x="1251" y="1541"/>
                    <a:pt x="1250" y="1540"/>
                    <a:pt x="1248" y="1538"/>
                  </a:cubicBezTo>
                  <a:cubicBezTo>
                    <a:pt x="1248" y="1485"/>
                    <a:pt x="1248" y="1485"/>
                    <a:pt x="1248" y="1485"/>
                  </a:cubicBezTo>
                  <a:cubicBezTo>
                    <a:pt x="1241" y="1485"/>
                    <a:pt x="1241" y="1485"/>
                    <a:pt x="1241" y="1485"/>
                  </a:cubicBezTo>
                  <a:cubicBezTo>
                    <a:pt x="1241" y="1534"/>
                    <a:pt x="1241" y="1534"/>
                    <a:pt x="1241" y="1534"/>
                  </a:cubicBezTo>
                  <a:cubicBezTo>
                    <a:pt x="1239" y="1533"/>
                    <a:pt x="1237" y="1532"/>
                    <a:pt x="1235" y="1531"/>
                  </a:cubicBezTo>
                  <a:cubicBezTo>
                    <a:pt x="1235" y="1399"/>
                    <a:pt x="1235" y="1399"/>
                    <a:pt x="1235" y="1399"/>
                  </a:cubicBezTo>
                  <a:cubicBezTo>
                    <a:pt x="1221" y="1399"/>
                    <a:pt x="1221" y="1399"/>
                    <a:pt x="1221" y="1399"/>
                  </a:cubicBezTo>
                  <a:cubicBezTo>
                    <a:pt x="1221" y="1524"/>
                    <a:pt x="1221" y="1524"/>
                    <a:pt x="1221" y="1524"/>
                  </a:cubicBezTo>
                  <a:cubicBezTo>
                    <a:pt x="1219" y="1523"/>
                    <a:pt x="1216" y="1523"/>
                    <a:pt x="1214" y="1522"/>
                  </a:cubicBezTo>
                  <a:cubicBezTo>
                    <a:pt x="1214" y="1382"/>
                    <a:pt x="1214" y="1382"/>
                    <a:pt x="1214" y="1382"/>
                  </a:cubicBezTo>
                  <a:cubicBezTo>
                    <a:pt x="1403" y="1382"/>
                    <a:pt x="1403" y="1382"/>
                    <a:pt x="1403" y="1382"/>
                  </a:cubicBezTo>
                  <a:cubicBezTo>
                    <a:pt x="1403" y="1377"/>
                    <a:pt x="1403" y="1377"/>
                    <a:pt x="1403" y="1377"/>
                  </a:cubicBezTo>
                  <a:cubicBezTo>
                    <a:pt x="1207" y="1377"/>
                    <a:pt x="1207" y="1377"/>
                    <a:pt x="1207" y="1377"/>
                  </a:cubicBezTo>
                  <a:cubicBezTo>
                    <a:pt x="1206" y="1520"/>
                    <a:pt x="1206" y="1520"/>
                    <a:pt x="1206" y="1520"/>
                  </a:cubicBezTo>
                  <a:cubicBezTo>
                    <a:pt x="1204" y="1519"/>
                    <a:pt x="1203" y="1519"/>
                    <a:pt x="1201" y="1519"/>
                  </a:cubicBezTo>
                  <a:cubicBezTo>
                    <a:pt x="1201" y="1370"/>
                    <a:pt x="1201" y="1370"/>
                    <a:pt x="1201" y="1370"/>
                  </a:cubicBezTo>
                  <a:cubicBezTo>
                    <a:pt x="1207" y="1370"/>
                    <a:pt x="1207" y="1370"/>
                    <a:pt x="1207" y="1370"/>
                  </a:cubicBezTo>
                  <a:cubicBezTo>
                    <a:pt x="1207" y="1374"/>
                    <a:pt x="1207" y="1374"/>
                    <a:pt x="1207" y="1374"/>
                  </a:cubicBezTo>
                  <a:cubicBezTo>
                    <a:pt x="1403" y="1374"/>
                    <a:pt x="1403" y="1374"/>
                    <a:pt x="1403" y="1374"/>
                  </a:cubicBezTo>
                  <a:cubicBezTo>
                    <a:pt x="1403" y="1369"/>
                    <a:pt x="1403" y="1369"/>
                    <a:pt x="1403" y="1369"/>
                  </a:cubicBezTo>
                  <a:cubicBezTo>
                    <a:pt x="1406" y="1369"/>
                    <a:pt x="1406" y="1369"/>
                    <a:pt x="1406" y="1369"/>
                  </a:cubicBezTo>
                  <a:cubicBezTo>
                    <a:pt x="1428" y="1418"/>
                    <a:pt x="1455" y="1438"/>
                    <a:pt x="1489" y="1438"/>
                  </a:cubicBezTo>
                  <a:cubicBezTo>
                    <a:pt x="1496" y="1438"/>
                    <a:pt x="1503" y="1437"/>
                    <a:pt x="1510" y="1436"/>
                  </a:cubicBezTo>
                  <a:cubicBezTo>
                    <a:pt x="1511" y="1393"/>
                    <a:pt x="1490" y="1347"/>
                    <a:pt x="1460" y="1316"/>
                  </a:cubicBezTo>
                  <a:cubicBezTo>
                    <a:pt x="1446" y="1338"/>
                    <a:pt x="1430" y="1354"/>
                    <a:pt x="1414" y="1363"/>
                  </a:cubicBezTo>
                  <a:cubicBezTo>
                    <a:pt x="1259" y="1363"/>
                    <a:pt x="1103" y="1363"/>
                    <a:pt x="948" y="1363"/>
                  </a:cubicBezTo>
                  <a:cubicBezTo>
                    <a:pt x="905" y="1335"/>
                    <a:pt x="891" y="1300"/>
                    <a:pt x="875" y="1267"/>
                  </a:cubicBezTo>
                  <a:cubicBezTo>
                    <a:pt x="926" y="1305"/>
                    <a:pt x="1021" y="1279"/>
                    <a:pt x="1004" y="1194"/>
                  </a:cubicBezTo>
                  <a:cubicBezTo>
                    <a:pt x="1012" y="1194"/>
                    <a:pt x="1020" y="1194"/>
                    <a:pt x="1028" y="1194"/>
                  </a:cubicBezTo>
                  <a:cubicBezTo>
                    <a:pt x="1031" y="1200"/>
                    <a:pt x="1035" y="1205"/>
                    <a:pt x="1038" y="1211"/>
                  </a:cubicBezTo>
                  <a:cubicBezTo>
                    <a:pt x="1045" y="1211"/>
                    <a:pt x="1051" y="1211"/>
                    <a:pt x="1058" y="1211"/>
                  </a:cubicBezTo>
                  <a:cubicBezTo>
                    <a:pt x="1061" y="1218"/>
                    <a:pt x="1064" y="1226"/>
                    <a:pt x="1067" y="1233"/>
                  </a:cubicBezTo>
                  <a:cubicBezTo>
                    <a:pt x="1144" y="1233"/>
                    <a:pt x="1221" y="1233"/>
                    <a:pt x="1297" y="1233"/>
                  </a:cubicBezTo>
                  <a:cubicBezTo>
                    <a:pt x="1301" y="1227"/>
                    <a:pt x="1305" y="1220"/>
                    <a:pt x="1308" y="1214"/>
                  </a:cubicBezTo>
                  <a:cubicBezTo>
                    <a:pt x="1314" y="1214"/>
                    <a:pt x="1321" y="1214"/>
                    <a:pt x="1327" y="1214"/>
                  </a:cubicBezTo>
                  <a:cubicBezTo>
                    <a:pt x="1328" y="1208"/>
                    <a:pt x="1330" y="1201"/>
                    <a:pt x="1332" y="1195"/>
                  </a:cubicBezTo>
                  <a:cubicBezTo>
                    <a:pt x="1344" y="1195"/>
                    <a:pt x="1356" y="1195"/>
                    <a:pt x="1369" y="1195"/>
                  </a:cubicBezTo>
                  <a:cubicBezTo>
                    <a:pt x="1361" y="1262"/>
                    <a:pt x="1394" y="1286"/>
                    <a:pt x="1437" y="1283"/>
                  </a:cubicBezTo>
                  <a:cubicBezTo>
                    <a:pt x="1433" y="1169"/>
                    <a:pt x="1423" y="1060"/>
                    <a:pt x="1407" y="956"/>
                  </a:cubicBezTo>
                  <a:cubicBezTo>
                    <a:pt x="1407" y="916"/>
                    <a:pt x="1394" y="893"/>
                    <a:pt x="1364" y="856"/>
                  </a:cubicBezTo>
                  <a:cubicBezTo>
                    <a:pt x="1363" y="857"/>
                    <a:pt x="1362" y="857"/>
                    <a:pt x="1362" y="857"/>
                  </a:cubicBezTo>
                  <a:cubicBezTo>
                    <a:pt x="1365" y="887"/>
                    <a:pt x="1369" y="918"/>
                    <a:pt x="1372" y="948"/>
                  </a:cubicBezTo>
                  <a:cubicBezTo>
                    <a:pt x="1365" y="957"/>
                    <a:pt x="1359" y="958"/>
                    <a:pt x="1354" y="950"/>
                  </a:cubicBezTo>
                  <a:cubicBezTo>
                    <a:pt x="1350" y="910"/>
                    <a:pt x="1346" y="869"/>
                    <a:pt x="1343" y="828"/>
                  </a:cubicBezTo>
                  <a:cubicBezTo>
                    <a:pt x="1339" y="792"/>
                    <a:pt x="1330" y="759"/>
                    <a:pt x="1322" y="725"/>
                  </a:cubicBezTo>
                  <a:cubicBezTo>
                    <a:pt x="1307" y="700"/>
                    <a:pt x="1294" y="688"/>
                    <a:pt x="1281" y="674"/>
                  </a:cubicBezTo>
                  <a:cubicBezTo>
                    <a:pt x="1283" y="697"/>
                    <a:pt x="1284" y="719"/>
                    <a:pt x="1286" y="742"/>
                  </a:cubicBezTo>
                  <a:cubicBezTo>
                    <a:pt x="1281" y="742"/>
                    <a:pt x="1277" y="742"/>
                    <a:pt x="1272" y="742"/>
                  </a:cubicBezTo>
                  <a:cubicBezTo>
                    <a:pt x="1267" y="695"/>
                    <a:pt x="1263" y="647"/>
                    <a:pt x="1259" y="600"/>
                  </a:cubicBezTo>
                  <a:cubicBezTo>
                    <a:pt x="1251" y="568"/>
                    <a:pt x="1244" y="546"/>
                    <a:pt x="1227" y="547"/>
                  </a:cubicBezTo>
                  <a:cubicBezTo>
                    <a:pt x="1154" y="559"/>
                    <a:pt x="1120" y="584"/>
                    <a:pt x="1071" y="604"/>
                  </a:cubicBezTo>
                  <a:cubicBezTo>
                    <a:pt x="1040" y="618"/>
                    <a:pt x="1015" y="639"/>
                    <a:pt x="997" y="672"/>
                  </a:cubicBezTo>
                  <a:cubicBezTo>
                    <a:pt x="994" y="702"/>
                    <a:pt x="991" y="732"/>
                    <a:pt x="988" y="763"/>
                  </a:cubicBezTo>
                  <a:cubicBezTo>
                    <a:pt x="979" y="784"/>
                    <a:pt x="969" y="806"/>
                    <a:pt x="959" y="827"/>
                  </a:cubicBezTo>
                  <a:cubicBezTo>
                    <a:pt x="958" y="879"/>
                    <a:pt x="957" y="931"/>
                    <a:pt x="956" y="983"/>
                  </a:cubicBezTo>
                  <a:cubicBezTo>
                    <a:pt x="951" y="984"/>
                    <a:pt x="946" y="985"/>
                    <a:pt x="941" y="986"/>
                  </a:cubicBezTo>
                  <a:cubicBezTo>
                    <a:pt x="942" y="937"/>
                    <a:pt x="943" y="888"/>
                    <a:pt x="944" y="839"/>
                  </a:cubicBezTo>
                  <a:cubicBezTo>
                    <a:pt x="944" y="812"/>
                    <a:pt x="955" y="785"/>
                    <a:pt x="972" y="759"/>
                  </a:cubicBezTo>
                  <a:cubicBezTo>
                    <a:pt x="973" y="745"/>
                    <a:pt x="975" y="731"/>
                    <a:pt x="977" y="718"/>
                  </a:cubicBezTo>
                  <a:cubicBezTo>
                    <a:pt x="974" y="718"/>
                    <a:pt x="971" y="718"/>
                    <a:pt x="968" y="718"/>
                  </a:cubicBezTo>
                  <a:cubicBezTo>
                    <a:pt x="955" y="728"/>
                    <a:pt x="946" y="739"/>
                    <a:pt x="940" y="749"/>
                  </a:cubicBezTo>
                  <a:cubicBezTo>
                    <a:pt x="934" y="778"/>
                    <a:pt x="927" y="807"/>
                    <a:pt x="925" y="836"/>
                  </a:cubicBezTo>
                  <a:cubicBezTo>
                    <a:pt x="931" y="914"/>
                    <a:pt x="887" y="1024"/>
                    <a:pt x="911" y="1120"/>
                  </a:cubicBezTo>
                  <a:cubicBezTo>
                    <a:pt x="894" y="1120"/>
                    <a:pt x="894" y="1120"/>
                    <a:pt x="894" y="1120"/>
                  </a:cubicBezTo>
                  <a:cubicBezTo>
                    <a:pt x="879" y="1061"/>
                    <a:pt x="892" y="966"/>
                    <a:pt x="909" y="857"/>
                  </a:cubicBezTo>
                  <a:cubicBezTo>
                    <a:pt x="884" y="875"/>
                    <a:pt x="864" y="911"/>
                    <a:pt x="864" y="988"/>
                  </a:cubicBezTo>
                  <a:cubicBezTo>
                    <a:pt x="843" y="1435"/>
                    <a:pt x="843" y="1435"/>
                    <a:pt x="843" y="1435"/>
                  </a:cubicBezTo>
                  <a:cubicBezTo>
                    <a:pt x="852" y="1437"/>
                    <a:pt x="861" y="1438"/>
                    <a:pt x="872" y="1438"/>
                  </a:cubicBezTo>
                  <a:cubicBezTo>
                    <a:pt x="905" y="1438"/>
                    <a:pt x="932" y="1418"/>
                    <a:pt x="955" y="1369"/>
                  </a:cubicBezTo>
                  <a:cubicBezTo>
                    <a:pt x="958" y="1369"/>
                    <a:pt x="958" y="1369"/>
                    <a:pt x="958" y="1369"/>
                  </a:cubicBezTo>
                  <a:cubicBezTo>
                    <a:pt x="958" y="1374"/>
                    <a:pt x="958" y="1374"/>
                    <a:pt x="958" y="1374"/>
                  </a:cubicBezTo>
                  <a:cubicBezTo>
                    <a:pt x="1154" y="1374"/>
                    <a:pt x="1154" y="1374"/>
                    <a:pt x="1154" y="1374"/>
                  </a:cubicBezTo>
                  <a:cubicBezTo>
                    <a:pt x="1154" y="1370"/>
                    <a:pt x="1154" y="1370"/>
                    <a:pt x="1154" y="1370"/>
                  </a:cubicBezTo>
                  <a:cubicBezTo>
                    <a:pt x="1160" y="1370"/>
                    <a:pt x="1160" y="1370"/>
                    <a:pt x="1160" y="1370"/>
                  </a:cubicBezTo>
                  <a:cubicBezTo>
                    <a:pt x="1160" y="1521"/>
                    <a:pt x="1160" y="1521"/>
                    <a:pt x="1160" y="1521"/>
                  </a:cubicBezTo>
                  <a:cubicBezTo>
                    <a:pt x="1158" y="1521"/>
                    <a:pt x="1156" y="1522"/>
                    <a:pt x="1154" y="1522"/>
                  </a:cubicBezTo>
                  <a:cubicBezTo>
                    <a:pt x="1154" y="1377"/>
                    <a:pt x="1154" y="1377"/>
                    <a:pt x="1154" y="1377"/>
                  </a:cubicBezTo>
                  <a:cubicBezTo>
                    <a:pt x="958" y="1377"/>
                    <a:pt x="958" y="1377"/>
                    <a:pt x="958" y="1377"/>
                  </a:cubicBezTo>
                  <a:cubicBezTo>
                    <a:pt x="958" y="1382"/>
                    <a:pt x="958" y="1382"/>
                    <a:pt x="958" y="1382"/>
                  </a:cubicBezTo>
                  <a:cubicBezTo>
                    <a:pt x="1146" y="1382"/>
                    <a:pt x="1146" y="1382"/>
                    <a:pt x="1146" y="1382"/>
                  </a:cubicBezTo>
                  <a:cubicBezTo>
                    <a:pt x="1146" y="1525"/>
                    <a:pt x="1146" y="1525"/>
                    <a:pt x="1146" y="1525"/>
                  </a:cubicBezTo>
                  <a:cubicBezTo>
                    <a:pt x="1144" y="1526"/>
                    <a:pt x="1142" y="1526"/>
                    <a:pt x="1140" y="1527"/>
                  </a:cubicBezTo>
                  <a:cubicBezTo>
                    <a:pt x="1140" y="1399"/>
                    <a:pt x="1140" y="1399"/>
                    <a:pt x="1140" y="1399"/>
                  </a:cubicBezTo>
                  <a:cubicBezTo>
                    <a:pt x="1125" y="1399"/>
                    <a:pt x="1125" y="1399"/>
                    <a:pt x="1125" y="1399"/>
                  </a:cubicBezTo>
                  <a:cubicBezTo>
                    <a:pt x="1125" y="1534"/>
                    <a:pt x="1125" y="1534"/>
                    <a:pt x="1125" y="1534"/>
                  </a:cubicBezTo>
                  <a:cubicBezTo>
                    <a:pt x="1123" y="1535"/>
                    <a:pt x="1121" y="1536"/>
                    <a:pt x="1119" y="1537"/>
                  </a:cubicBezTo>
                  <a:cubicBezTo>
                    <a:pt x="1119" y="1485"/>
                    <a:pt x="1119" y="1485"/>
                    <a:pt x="1119" y="1485"/>
                  </a:cubicBezTo>
                  <a:cubicBezTo>
                    <a:pt x="1113" y="1485"/>
                    <a:pt x="1113" y="1485"/>
                    <a:pt x="1113" y="1485"/>
                  </a:cubicBezTo>
                  <a:cubicBezTo>
                    <a:pt x="1113" y="1541"/>
                    <a:pt x="1113" y="1541"/>
                    <a:pt x="1113" y="1541"/>
                  </a:cubicBezTo>
                  <a:cubicBezTo>
                    <a:pt x="1111" y="1542"/>
                    <a:pt x="1109" y="1544"/>
                    <a:pt x="1107" y="1545"/>
                  </a:cubicBezTo>
                  <a:cubicBezTo>
                    <a:pt x="1107" y="1485"/>
                    <a:pt x="1107" y="1485"/>
                    <a:pt x="1107" y="1485"/>
                  </a:cubicBezTo>
                  <a:cubicBezTo>
                    <a:pt x="1101" y="1485"/>
                    <a:pt x="1101" y="1485"/>
                    <a:pt x="1101" y="1485"/>
                  </a:cubicBezTo>
                  <a:cubicBezTo>
                    <a:pt x="1101" y="1549"/>
                    <a:pt x="1101" y="1549"/>
                    <a:pt x="1101" y="1549"/>
                  </a:cubicBezTo>
                  <a:cubicBezTo>
                    <a:pt x="1099" y="1551"/>
                    <a:pt x="1097" y="1552"/>
                    <a:pt x="1095" y="1554"/>
                  </a:cubicBezTo>
                  <a:cubicBezTo>
                    <a:pt x="1095" y="1485"/>
                    <a:pt x="1095" y="1485"/>
                    <a:pt x="1095" y="1485"/>
                  </a:cubicBezTo>
                  <a:cubicBezTo>
                    <a:pt x="1072" y="1485"/>
                    <a:pt x="1072" y="1485"/>
                    <a:pt x="1072" y="1485"/>
                  </a:cubicBezTo>
                  <a:cubicBezTo>
                    <a:pt x="1072" y="1575"/>
                    <a:pt x="1072" y="1575"/>
                    <a:pt x="1072" y="1575"/>
                  </a:cubicBezTo>
                  <a:cubicBezTo>
                    <a:pt x="1072" y="1575"/>
                    <a:pt x="1072" y="1575"/>
                    <a:pt x="1071" y="1576"/>
                  </a:cubicBezTo>
                  <a:cubicBezTo>
                    <a:pt x="1067" y="1576"/>
                    <a:pt x="1067" y="1576"/>
                    <a:pt x="1067" y="1576"/>
                  </a:cubicBezTo>
                  <a:cubicBezTo>
                    <a:pt x="1067" y="1399"/>
                    <a:pt x="1067" y="1399"/>
                    <a:pt x="1067" y="1399"/>
                  </a:cubicBezTo>
                  <a:cubicBezTo>
                    <a:pt x="962" y="1399"/>
                    <a:pt x="962" y="1399"/>
                    <a:pt x="962" y="1399"/>
                  </a:cubicBezTo>
                  <a:cubicBezTo>
                    <a:pt x="1054" y="1487"/>
                    <a:pt x="1054" y="1487"/>
                    <a:pt x="1054" y="1487"/>
                  </a:cubicBezTo>
                  <a:cubicBezTo>
                    <a:pt x="842" y="1487"/>
                    <a:pt x="842" y="1487"/>
                    <a:pt x="842" y="1487"/>
                  </a:cubicBezTo>
                  <a:cubicBezTo>
                    <a:pt x="842" y="1508"/>
                    <a:pt x="842" y="1508"/>
                    <a:pt x="842" y="1508"/>
                  </a:cubicBezTo>
                  <a:close/>
                  <a:moveTo>
                    <a:pt x="1605" y="1820"/>
                  </a:moveTo>
                  <a:cubicBezTo>
                    <a:pt x="1415" y="1820"/>
                    <a:pt x="1415" y="1820"/>
                    <a:pt x="1415" y="1820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605" y="1829"/>
                    <a:pt x="1605" y="1829"/>
                    <a:pt x="1605" y="1829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245" y="1931"/>
                  </a:moveTo>
                  <a:cubicBezTo>
                    <a:pt x="1194" y="1931"/>
                    <a:pt x="1194" y="1931"/>
                    <a:pt x="1194" y="1931"/>
                  </a:cubicBezTo>
                  <a:cubicBezTo>
                    <a:pt x="1194" y="1953"/>
                    <a:pt x="1194" y="1953"/>
                    <a:pt x="1194" y="1953"/>
                  </a:cubicBezTo>
                  <a:cubicBezTo>
                    <a:pt x="1245" y="1953"/>
                    <a:pt x="1245" y="1953"/>
                    <a:pt x="1245" y="1953"/>
                  </a:cubicBezTo>
                  <a:cubicBezTo>
                    <a:pt x="1245" y="1931"/>
                    <a:pt x="1245" y="1931"/>
                    <a:pt x="1245" y="1931"/>
                  </a:cubicBezTo>
                  <a:close/>
                  <a:moveTo>
                    <a:pt x="1239" y="1937"/>
                  </a:moveTo>
                  <a:cubicBezTo>
                    <a:pt x="1239" y="1945"/>
                    <a:pt x="1239" y="1945"/>
                    <a:pt x="1239" y="1945"/>
                  </a:cubicBezTo>
                  <a:cubicBezTo>
                    <a:pt x="1200" y="1945"/>
                    <a:pt x="1200" y="1945"/>
                    <a:pt x="1200" y="1945"/>
                  </a:cubicBezTo>
                  <a:cubicBezTo>
                    <a:pt x="1200" y="1937"/>
                    <a:pt x="1200" y="1937"/>
                    <a:pt x="1200" y="1937"/>
                  </a:cubicBezTo>
                  <a:cubicBezTo>
                    <a:pt x="1239" y="1937"/>
                    <a:pt x="1239" y="1937"/>
                    <a:pt x="1239" y="1937"/>
                  </a:cubicBezTo>
                  <a:close/>
                  <a:moveTo>
                    <a:pt x="1245" y="1904"/>
                  </a:moveTo>
                  <a:cubicBezTo>
                    <a:pt x="1194" y="1904"/>
                    <a:pt x="1194" y="1904"/>
                    <a:pt x="1194" y="1904"/>
                  </a:cubicBezTo>
                  <a:cubicBezTo>
                    <a:pt x="1194" y="1925"/>
                    <a:pt x="1194" y="1925"/>
                    <a:pt x="1194" y="1925"/>
                  </a:cubicBezTo>
                  <a:cubicBezTo>
                    <a:pt x="1245" y="1925"/>
                    <a:pt x="1245" y="1925"/>
                    <a:pt x="1245" y="1925"/>
                  </a:cubicBezTo>
                  <a:cubicBezTo>
                    <a:pt x="1245" y="1904"/>
                    <a:pt x="1245" y="1904"/>
                    <a:pt x="1245" y="1904"/>
                  </a:cubicBezTo>
                  <a:close/>
                  <a:moveTo>
                    <a:pt x="1239" y="1909"/>
                  </a:moveTo>
                  <a:cubicBezTo>
                    <a:pt x="1239" y="1918"/>
                    <a:pt x="1239" y="1918"/>
                    <a:pt x="1239" y="1918"/>
                  </a:cubicBezTo>
                  <a:cubicBezTo>
                    <a:pt x="1200" y="1918"/>
                    <a:pt x="1200" y="1918"/>
                    <a:pt x="1200" y="1918"/>
                  </a:cubicBezTo>
                  <a:cubicBezTo>
                    <a:pt x="1200" y="1909"/>
                    <a:pt x="1200" y="1909"/>
                    <a:pt x="1200" y="1909"/>
                  </a:cubicBezTo>
                  <a:cubicBezTo>
                    <a:pt x="1239" y="1909"/>
                    <a:pt x="1239" y="1909"/>
                    <a:pt x="1239" y="1909"/>
                  </a:cubicBezTo>
                  <a:close/>
                  <a:moveTo>
                    <a:pt x="1264" y="1812"/>
                  </a:moveTo>
                  <a:cubicBezTo>
                    <a:pt x="1264" y="1812"/>
                    <a:pt x="1264" y="1812"/>
                    <a:pt x="1264" y="1812"/>
                  </a:cubicBezTo>
                  <a:cubicBezTo>
                    <a:pt x="1264" y="1838"/>
                    <a:pt x="1264" y="1838"/>
                    <a:pt x="1264" y="1838"/>
                  </a:cubicBezTo>
                  <a:cubicBezTo>
                    <a:pt x="1409" y="1838"/>
                    <a:pt x="1409" y="1838"/>
                    <a:pt x="1409" y="1838"/>
                  </a:cubicBezTo>
                  <a:cubicBezTo>
                    <a:pt x="1409" y="1845"/>
                    <a:pt x="1409" y="1845"/>
                    <a:pt x="1409" y="1845"/>
                  </a:cubicBezTo>
                  <a:cubicBezTo>
                    <a:pt x="1264" y="1845"/>
                    <a:pt x="1264" y="1845"/>
                    <a:pt x="1264" y="1845"/>
                  </a:cubicBezTo>
                  <a:cubicBezTo>
                    <a:pt x="1264" y="1866"/>
                    <a:pt x="1264" y="1866"/>
                    <a:pt x="1264" y="1866"/>
                  </a:cubicBezTo>
                  <a:cubicBezTo>
                    <a:pt x="1408" y="1866"/>
                    <a:pt x="1408" y="1866"/>
                    <a:pt x="1408" y="1866"/>
                  </a:cubicBezTo>
                  <a:cubicBezTo>
                    <a:pt x="1408" y="1872"/>
                    <a:pt x="1408" y="1872"/>
                    <a:pt x="1408" y="1872"/>
                  </a:cubicBezTo>
                  <a:cubicBezTo>
                    <a:pt x="1264" y="1872"/>
                    <a:pt x="1264" y="1872"/>
                    <a:pt x="1264" y="1872"/>
                  </a:cubicBezTo>
                  <a:cubicBezTo>
                    <a:pt x="1264" y="1893"/>
                    <a:pt x="1264" y="1893"/>
                    <a:pt x="1264" y="1893"/>
                  </a:cubicBezTo>
                  <a:cubicBezTo>
                    <a:pt x="1402" y="1893"/>
                    <a:pt x="1402" y="1893"/>
                    <a:pt x="1402" y="1893"/>
                  </a:cubicBezTo>
                  <a:cubicBezTo>
                    <a:pt x="1397" y="1897"/>
                    <a:pt x="1393" y="1902"/>
                    <a:pt x="1389" y="1906"/>
                  </a:cubicBezTo>
                  <a:cubicBezTo>
                    <a:pt x="1264" y="1906"/>
                    <a:pt x="1264" y="1906"/>
                    <a:pt x="1264" y="1906"/>
                  </a:cubicBezTo>
                  <a:cubicBezTo>
                    <a:pt x="1264" y="1924"/>
                    <a:pt x="1264" y="1924"/>
                    <a:pt x="1264" y="1924"/>
                  </a:cubicBezTo>
                  <a:cubicBezTo>
                    <a:pt x="1384" y="1924"/>
                    <a:pt x="1384" y="1924"/>
                    <a:pt x="1384" y="1924"/>
                  </a:cubicBezTo>
                  <a:cubicBezTo>
                    <a:pt x="1384" y="1931"/>
                    <a:pt x="1384" y="1931"/>
                    <a:pt x="1384" y="1931"/>
                  </a:cubicBezTo>
                  <a:cubicBezTo>
                    <a:pt x="1264" y="1931"/>
                    <a:pt x="1264" y="1931"/>
                    <a:pt x="1264" y="1931"/>
                  </a:cubicBezTo>
                  <a:cubicBezTo>
                    <a:pt x="1264" y="1953"/>
                    <a:pt x="1264" y="1953"/>
                    <a:pt x="1264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611" y="1953"/>
                    <a:pt x="1611" y="1953"/>
                    <a:pt x="1611" y="1953"/>
                  </a:cubicBezTo>
                  <a:cubicBezTo>
                    <a:pt x="1611" y="1908"/>
                    <a:pt x="1611" y="1908"/>
                    <a:pt x="1611" y="1908"/>
                  </a:cubicBezTo>
                  <a:cubicBezTo>
                    <a:pt x="1610" y="1900"/>
                    <a:pt x="1606" y="1893"/>
                    <a:pt x="1597" y="1888"/>
                  </a:cubicBezTo>
                  <a:cubicBezTo>
                    <a:pt x="1595" y="1834"/>
                    <a:pt x="1595" y="1834"/>
                    <a:pt x="1595" y="1834"/>
                  </a:cubicBezTo>
                  <a:cubicBezTo>
                    <a:pt x="1611" y="1834"/>
                    <a:pt x="1611" y="1834"/>
                    <a:pt x="1611" y="1834"/>
                  </a:cubicBezTo>
                  <a:cubicBezTo>
                    <a:pt x="1611" y="1816"/>
                    <a:pt x="1611" y="1816"/>
                    <a:pt x="1611" y="1816"/>
                  </a:cubicBezTo>
                  <a:cubicBezTo>
                    <a:pt x="2081" y="1821"/>
                    <a:pt x="2081" y="1821"/>
                    <a:pt x="2081" y="1821"/>
                  </a:cubicBezTo>
                  <a:cubicBezTo>
                    <a:pt x="1880" y="2109"/>
                    <a:pt x="1548" y="2298"/>
                    <a:pt x="1174" y="2298"/>
                  </a:cubicBezTo>
                  <a:cubicBezTo>
                    <a:pt x="799" y="2298"/>
                    <a:pt x="466" y="2109"/>
                    <a:pt x="266" y="1820"/>
                  </a:cubicBezTo>
                  <a:cubicBezTo>
                    <a:pt x="749" y="1820"/>
                    <a:pt x="749" y="1820"/>
                    <a:pt x="749" y="1820"/>
                  </a:cubicBezTo>
                  <a:cubicBezTo>
                    <a:pt x="749" y="1834"/>
                    <a:pt x="749" y="1834"/>
                    <a:pt x="749" y="1834"/>
                  </a:cubicBezTo>
                  <a:cubicBezTo>
                    <a:pt x="765" y="1834"/>
                    <a:pt x="765" y="1834"/>
                    <a:pt x="765" y="1834"/>
                  </a:cubicBezTo>
                  <a:cubicBezTo>
                    <a:pt x="764" y="1888"/>
                    <a:pt x="764" y="1888"/>
                    <a:pt x="764" y="1888"/>
                  </a:cubicBezTo>
                  <a:cubicBezTo>
                    <a:pt x="754" y="1893"/>
                    <a:pt x="751" y="1900"/>
                    <a:pt x="750" y="1908"/>
                  </a:cubicBezTo>
                  <a:cubicBezTo>
                    <a:pt x="749" y="1953"/>
                    <a:pt x="749" y="1953"/>
                    <a:pt x="749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1096" y="1953"/>
                    <a:pt x="1096" y="1953"/>
                    <a:pt x="1096" y="1953"/>
                  </a:cubicBezTo>
                  <a:cubicBezTo>
                    <a:pt x="1096" y="1931"/>
                    <a:pt x="1096" y="1931"/>
                    <a:pt x="1096" y="1931"/>
                  </a:cubicBezTo>
                  <a:cubicBezTo>
                    <a:pt x="976" y="1931"/>
                    <a:pt x="976" y="1931"/>
                    <a:pt x="976" y="1931"/>
                  </a:cubicBezTo>
                  <a:cubicBezTo>
                    <a:pt x="976" y="1924"/>
                    <a:pt x="976" y="1924"/>
                    <a:pt x="976" y="1924"/>
                  </a:cubicBezTo>
                  <a:cubicBezTo>
                    <a:pt x="1096" y="1924"/>
                    <a:pt x="1096" y="1924"/>
                    <a:pt x="1096" y="1924"/>
                  </a:cubicBezTo>
                  <a:cubicBezTo>
                    <a:pt x="1096" y="1906"/>
                    <a:pt x="1096" y="1906"/>
                    <a:pt x="1096" y="1906"/>
                  </a:cubicBezTo>
                  <a:cubicBezTo>
                    <a:pt x="971" y="1906"/>
                    <a:pt x="971" y="1906"/>
                    <a:pt x="971" y="1906"/>
                  </a:cubicBezTo>
                  <a:cubicBezTo>
                    <a:pt x="967" y="1902"/>
                    <a:pt x="963" y="1897"/>
                    <a:pt x="958" y="1893"/>
                  </a:cubicBezTo>
                  <a:cubicBezTo>
                    <a:pt x="1096" y="1893"/>
                    <a:pt x="1096" y="1893"/>
                    <a:pt x="1096" y="1893"/>
                  </a:cubicBezTo>
                  <a:cubicBezTo>
                    <a:pt x="1096" y="1872"/>
                    <a:pt x="1096" y="1872"/>
                    <a:pt x="1096" y="1872"/>
                  </a:cubicBezTo>
                  <a:cubicBezTo>
                    <a:pt x="953" y="1872"/>
                    <a:pt x="953" y="1872"/>
                    <a:pt x="953" y="1872"/>
                  </a:cubicBezTo>
                  <a:cubicBezTo>
                    <a:pt x="952" y="1866"/>
                    <a:pt x="952" y="1866"/>
                    <a:pt x="952" y="1866"/>
                  </a:cubicBezTo>
                  <a:cubicBezTo>
                    <a:pt x="1096" y="1866"/>
                    <a:pt x="1096" y="1866"/>
                    <a:pt x="1096" y="1866"/>
                  </a:cubicBezTo>
                  <a:cubicBezTo>
                    <a:pt x="1096" y="1845"/>
                    <a:pt x="1096" y="1845"/>
                    <a:pt x="1096" y="1845"/>
                  </a:cubicBezTo>
                  <a:cubicBezTo>
                    <a:pt x="952" y="1845"/>
                    <a:pt x="952" y="1845"/>
                    <a:pt x="952" y="1845"/>
                  </a:cubicBezTo>
                  <a:cubicBezTo>
                    <a:pt x="951" y="1838"/>
                    <a:pt x="951" y="1838"/>
                    <a:pt x="951" y="1838"/>
                  </a:cubicBezTo>
                  <a:cubicBezTo>
                    <a:pt x="1096" y="1838"/>
                    <a:pt x="1096" y="1838"/>
                    <a:pt x="1096" y="1838"/>
                  </a:cubicBezTo>
                  <a:cubicBezTo>
                    <a:pt x="1096" y="1803"/>
                    <a:pt x="1096" y="1803"/>
                    <a:pt x="1096" y="1803"/>
                  </a:cubicBezTo>
                  <a:cubicBezTo>
                    <a:pt x="1116" y="1803"/>
                    <a:pt x="1116" y="1803"/>
                    <a:pt x="1116" y="1803"/>
                  </a:cubicBezTo>
                  <a:cubicBezTo>
                    <a:pt x="1116" y="1811"/>
                    <a:pt x="1116" y="1811"/>
                    <a:pt x="1116" y="1811"/>
                  </a:cubicBezTo>
                  <a:cubicBezTo>
                    <a:pt x="1116" y="1815"/>
                    <a:pt x="1116" y="1815"/>
                    <a:pt x="1116" y="1815"/>
                  </a:cubicBezTo>
                  <a:cubicBezTo>
                    <a:pt x="1116" y="1817"/>
                    <a:pt x="1116" y="1817"/>
                    <a:pt x="1116" y="1817"/>
                  </a:cubicBezTo>
                  <a:cubicBezTo>
                    <a:pt x="1166" y="1817"/>
                    <a:pt x="1166" y="1817"/>
                    <a:pt x="1166" y="1817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3"/>
                    <a:pt x="1166" y="1803"/>
                    <a:pt x="1166" y="1803"/>
                  </a:cubicBezTo>
                  <a:cubicBezTo>
                    <a:pt x="1194" y="1803"/>
                    <a:pt x="1194" y="1803"/>
                    <a:pt x="1194" y="1803"/>
                  </a:cubicBezTo>
                  <a:cubicBezTo>
                    <a:pt x="1194" y="1817"/>
                    <a:pt x="1194" y="1817"/>
                    <a:pt x="1194" y="1817"/>
                  </a:cubicBezTo>
                  <a:cubicBezTo>
                    <a:pt x="1245" y="1817"/>
                    <a:pt x="1245" y="1817"/>
                    <a:pt x="1245" y="1817"/>
                  </a:cubicBezTo>
                  <a:cubicBezTo>
                    <a:pt x="1245" y="1803"/>
                    <a:pt x="1245" y="1803"/>
                    <a:pt x="1245" y="1803"/>
                  </a:cubicBezTo>
                  <a:cubicBezTo>
                    <a:pt x="1264" y="1803"/>
                    <a:pt x="1264" y="1803"/>
                    <a:pt x="1264" y="1803"/>
                  </a:cubicBezTo>
                  <a:cubicBezTo>
                    <a:pt x="1264" y="1812"/>
                    <a:pt x="1264" y="1812"/>
                    <a:pt x="1264" y="1812"/>
                  </a:cubicBezTo>
                  <a:close/>
                  <a:moveTo>
                    <a:pt x="1384" y="1937"/>
                  </a:moveTo>
                  <a:cubicBezTo>
                    <a:pt x="1270" y="1937"/>
                    <a:pt x="1270" y="1937"/>
                    <a:pt x="1270" y="1937"/>
                  </a:cubicBezTo>
                  <a:cubicBezTo>
                    <a:pt x="1270" y="1945"/>
                    <a:pt x="1270" y="1945"/>
                    <a:pt x="1270" y="1945"/>
                  </a:cubicBezTo>
                  <a:cubicBezTo>
                    <a:pt x="1384" y="1945"/>
                    <a:pt x="1384" y="1945"/>
                    <a:pt x="1384" y="1945"/>
                  </a:cubicBezTo>
                  <a:cubicBezTo>
                    <a:pt x="1384" y="1937"/>
                    <a:pt x="1384" y="1937"/>
                    <a:pt x="1384" y="1937"/>
                  </a:cubicBezTo>
                  <a:close/>
                  <a:moveTo>
                    <a:pt x="1384" y="1911"/>
                  </a:moveTo>
                  <a:cubicBezTo>
                    <a:pt x="1269" y="1911"/>
                    <a:pt x="1269" y="1911"/>
                    <a:pt x="1269" y="1911"/>
                  </a:cubicBezTo>
                  <a:cubicBezTo>
                    <a:pt x="1269" y="1918"/>
                    <a:pt x="1269" y="1918"/>
                    <a:pt x="1269" y="1918"/>
                  </a:cubicBezTo>
                  <a:cubicBezTo>
                    <a:pt x="1384" y="1918"/>
                    <a:pt x="1384" y="1918"/>
                    <a:pt x="1384" y="1918"/>
                  </a:cubicBezTo>
                  <a:cubicBezTo>
                    <a:pt x="1384" y="1911"/>
                    <a:pt x="1384" y="1911"/>
                    <a:pt x="1384" y="1911"/>
                  </a:cubicBezTo>
                  <a:close/>
                  <a:moveTo>
                    <a:pt x="1408" y="1878"/>
                  </a:moveTo>
                  <a:cubicBezTo>
                    <a:pt x="1270" y="1878"/>
                    <a:pt x="1270" y="1878"/>
                    <a:pt x="1270" y="1878"/>
                  </a:cubicBezTo>
                  <a:cubicBezTo>
                    <a:pt x="1270" y="1887"/>
                    <a:pt x="1270" y="1887"/>
                    <a:pt x="1270" y="1887"/>
                  </a:cubicBezTo>
                  <a:cubicBezTo>
                    <a:pt x="1407" y="1887"/>
                    <a:pt x="1407" y="1887"/>
                    <a:pt x="1407" y="1887"/>
                  </a:cubicBezTo>
                  <a:cubicBezTo>
                    <a:pt x="1408" y="1878"/>
                    <a:pt x="1408" y="1878"/>
                    <a:pt x="1408" y="1878"/>
                  </a:cubicBezTo>
                  <a:close/>
                  <a:moveTo>
                    <a:pt x="1409" y="1852"/>
                  </a:moveTo>
                  <a:cubicBezTo>
                    <a:pt x="1270" y="1852"/>
                    <a:pt x="1270" y="1852"/>
                    <a:pt x="1270" y="1852"/>
                  </a:cubicBezTo>
                  <a:cubicBezTo>
                    <a:pt x="1270" y="1860"/>
                    <a:pt x="1270" y="1860"/>
                    <a:pt x="1270" y="1860"/>
                  </a:cubicBezTo>
                  <a:cubicBezTo>
                    <a:pt x="1408" y="1860"/>
                    <a:pt x="1408" y="1860"/>
                    <a:pt x="1408" y="1860"/>
                  </a:cubicBezTo>
                  <a:cubicBezTo>
                    <a:pt x="1409" y="1852"/>
                    <a:pt x="1409" y="1852"/>
                    <a:pt x="1409" y="1852"/>
                  </a:cubicBezTo>
                  <a:close/>
                  <a:moveTo>
                    <a:pt x="1410" y="1824"/>
                  </a:moveTo>
                  <a:cubicBezTo>
                    <a:pt x="1270" y="1824"/>
                    <a:pt x="1270" y="1824"/>
                    <a:pt x="1270" y="1824"/>
                  </a:cubicBezTo>
                  <a:cubicBezTo>
                    <a:pt x="1270" y="1832"/>
                    <a:pt x="1270" y="1832"/>
                    <a:pt x="1270" y="1832"/>
                  </a:cubicBezTo>
                  <a:cubicBezTo>
                    <a:pt x="1409" y="1832"/>
                    <a:pt x="1409" y="1832"/>
                    <a:pt x="1409" y="1832"/>
                  </a:cubicBezTo>
                  <a:cubicBezTo>
                    <a:pt x="1410" y="1824"/>
                    <a:pt x="1410" y="1824"/>
                    <a:pt x="1410" y="1824"/>
                  </a:cubicBezTo>
                  <a:close/>
                  <a:moveTo>
                    <a:pt x="1605" y="1820"/>
                  </a:moveTo>
                  <a:cubicBezTo>
                    <a:pt x="1605" y="1829"/>
                    <a:pt x="1605" y="1829"/>
                    <a:pt x="1605" y="1829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415" y="1820"/>
                    <a:pt x="1415" y="1820"/>
                    <a:pt x="1415" y="1820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589" y="1835"/>
                  </a:moveTo>
                  <a:cubicBezTo>
                    <a:pt x="1415" y="1835"/>
                    <a:pt x="1415" y="1835"/>
                    <a:pt x="1415" y="1835"/>
                  </a:cubicBezTo>
                  <a:cubicBezTo>
                    <a:pt x="1415" y="1887"/>
                    <a:pt x="1415" y="1887"/>
                    <a:pt x="1415" y="1887"/>
                  </a:cubicBezTo>
                  <a:cubicBezTo>
                    <a:pt x="1589" y="1887"/>
                    <a:pt x="1589" y="1887"/>
                    <a:pt x="1589" y="1887"/>
                  </a:cubicBezTo>
                  <a:cubicBezTo>
                    <a:pt x="1589" y="1835"/>
                    <a:pt x="1589" y="1835"/>
                    <a:pt x="1589" y="1835"/>
                  </a:cubicBezTo>
                  <a:close/>
                  <a:moveTo>
                    <a:pt x="1578" y="1893"/>
                  </a:moveTo>
                  <a:cubicBezTo>
                    <a:pt x="1419" y="1893"/>
                    <a:pt x="1419" y="1893"/>
                    <a:pt x="1419" y="1893"/>
                  </a:cubicBezTo>
                  <a:cubicBezTo>
                    <a:pt x="1404" y="1898"/>
                    <a:pt x="1397" y="1907"/>
                    <a:pt x="1391" y="1917"/>
                  </a:cubicBezTo>
                  <a:cubicBezTo>
                    <a:pt x="1391" y="1944"/>
                    <a:pt x="1391" y="1944"/>
                    <a:pt x="1391" y="1944"/>
                  </a:cubicBezTo>
                  <a:cubicBezTo>
                    <a:pt x="1604" y="1944"/>
                    <a:pt x="1604" y="1944"/>
                    <a:pt x="1604" y="1944"/>
                  </a:cubicBezTo>
                  <a:cubicBezTo>
                    <a:pt x="1604" y="1913"/>
                    <a:pt x="1604" y="1913"/>
                    <a:pt x="1604" y="1913"/>
                  </a:cubicBezTo>
                  <a:cubicBezTo>
                    <a:pt x="1603" y="1900"/>
                    <a:pt x="1595" y="1894"/>
                    <a:pt x="1578" y="1893"/>
                  </a:cubicBezTo>
                  <a:close/>
                  <a:moveTo>
                    <a:pt x="1245" y="1850"/>
                  </a:moveTo>
                  <a:cubicBezTo>
                    <a:pt x="1194" y="1850"/>
                    <a:pt x="1194" y="1850"/>
                    <a:pt x="1194" y="1850"/>
                  </a:cubicBezTo>
                  <a:cubicBezTo>
                    <a:pt x="1194" y="1871"/>
                    <a:pt x="1194" y="1871"/>
                    <a:pt x="1194" y="1871"/>
                  </a:cubicBezTo>
                  <a:cubicBezTo>
                    <a:pt x="1245" y="1871"/>
                    <a:pt x="1245" y="1871"/>
                    <a:pt x="1245" y="1871"/>
                  </a:cubicBezTo>
                  <a:cubicBezTo>
                    <a:pt x="1245" y="1850"/>
                    <a:pt x="1245" y="1850"/>
                    <a:pt x="1245" y="1850"/>
                  </a:cubicBezTo>
                  <a:close/>
                  <a:moveTo>
                    <a:pt x="1239" y="1856"/>
                  </a:moveTo>
                  <a:cubicBezTo>
                    <a:pt x="1200" y="1856"/>
                    <a:pt x="1200" y="1856"/>
                    <a:pt x="1200" y="1856"/>
                  </a:cubicBezTo>
                  <a:cubicBezTo>
                    <a:pt x="1200" y="1864"/>
                    <a:pt x="1200" y="1864"/>
                    <a:pt x="1200" y="1864"/>
                  </a:cubicBezTo>
                  <a:cubicBezTo>
                    <a:pt x="1239" y="1864"/>
                    <a:pt x="1239" y="1864"/>
                    <a:pt x="1239" y="1864"/>
                  </a:cubicBezTo>
                  <a:cubicBezTo>
                    <a:pt x="1239" y="1856"/>
                    <a:pt x="1239" y="1856"/>
                    <a:pt x="1239" y="1856"/>
                  </a:cubicBezTo>
                  <a:close/>
                  <a:moveTo>
                    <a:pt x="1245" y="1876"/>
                  </a:moveTo>
                  <a:cubicBezTo>
                    <a:pt x="1194" y="1876"/>
                    <a:pt x="1194" y="1876"/>
                    <a:pt x="1194" y="1876"/>
                  </a:cubicBezTo>
                  <a:cubicBezTo>
                    <a:pt x="1194" y="1897"/>
                    <a:pt x="1194" y="1897"/>
                    <a:pt x="1194" y="1897"/>
                  </a:cubicBezTo>
                  <a:cubicBezTo>
                    <a:pt x="1245" y="1897"/>
                    <a:pt x="1245" y="1897"/>
                    <a:pt x="1245" y="1897"/>
                  </a:cubicBezTo>
                  <a:cubicBezTo>
                    <a:pt x="1245" y="1876"/>
                    <a:pt x="1245" y="1876"/>
                    <a:pt x="1245" y="1876"/>
                  </a:cubicBezTo>
                  <a:close/>
                  <a:moveTo>
                    <a:pt x="1239" y="1881"/>
                  </a:moveTo>
                  <a:cubicBezTo>
                    <a:pt x="1200" y="1881"/>
                    <a:pt x="1200" y="1881"/>
                    <a:pt x="1200" y="1881"/>
                  </a:cubicBezTo>
                  <a:cubicBezTo>
                    <a:pt x="1200" y="1890"/>
                    <a:pt x="1200" y="1890"/>
                    <a:pt x="1200" y="1890"/>
                  </a:cubicBezTo>
                  <a:cubicBezTo>
                    <a:pt x="1239" y="1890"/>
                    <a:pt x="1239" y="1890"/>
                    <a:pt x="1239" y="1890"/>
                  </a:cubicBezTo>
                  <a:cubicBezTo>
                    <a:pt x="1239" y="1881"/>
                    <a:pt x="1239" y="1881"/>
                    <a:pt x="1239" y="1881"/>
                  </a:cubicBezTo>
                  <a:close/>
                  <a:moveTo>
                    <a:pt x="1245" y="1823"/>
                  </a:moveTo>
                  <a:cubicBezTo>
                    <a:pt x="1194" y="1823"/>
                    <a:pt x="1194" y="1823"/>
                    <a:pt x="1194" y="1823"/>
                  </a:cubicBezTo>
                  <a:cubicBezTo>
                    <a:pt x="1194" y="1844"/>
                    <a:pt x="1194" y="1844"/>
                    <a:pt x="1194" y="1844"/>
                  </a:cubicBezTo>
                  <a:cubicBezTo>
                    <a:pt x="1245" y="1844"/>
                    <a:pt x="1245" y="1844"/>
                    <a:pt x="1245" y="1844"/>
                  </a:cubicBezTo>
                  <a:cubicBezTo>
                    <a:pt x="1245" y="1823"/>
                    <a:pt x="1245" y="1823"/>
                    <a:pt x="1245" y="1823"/>
                  </a:cubicBezTo>
                  <a:close/>
                  <a:moveTo>
                    <a:pt x="1239" y="1828"/>
                  </a:moveTo>
                  <a:cubicBezTo>
                    <a:pt x="1200" y="1828"/>
                    <a:pt x="1200" y="1828"/>
                    <a:pt x="1200" y="1828"/>
                  </a:cubicBezTo>
                  <a:cubicBezTo>
                    <a:pt x="1200" y="1837"/>
                    <a:pt x="1200" y="1837"/>
                    <a:pt x="1200" y="1837"/>
                  </a:cubicBezTo>
                  <a:cubicBezTo>
                    <a:pt x="1239" y="1837"/>
                    <a:pt x="1239" y="1837"/>
                    <a:pt x="1239" y="1837"/>
                  </a:cubicBezTo>
                  <a:cubicBezTo>
                    <a:pt x="1239" y="1828"/>
                    <a:pt x="1239" y="1828"/>
                    <a:pt x="1239" y="1828"/>
                  </a:cubicBezTo>
                  <a:close/>
                  <a:moveTo>
                    <a:pt x="1245" y="1796"/>
                  </a:moveTo>
                  <a:cubicBezTo>
                    <a:pt x="1194" y="1796"/>
                    <a:pt x="1194" y="1796"/>
                    <a:pt x="1194" y="1796"/>
                  </a:cubicBezTo>
                  <a:cubicBezTo>
                    <a:pt x="1194" y="1796"/>
                    <a:pt x="1194" y="1796"/>
                    <a:pt x="1194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98" y="1796"/>
                    <a:pt x="1098" y="1796"/>
                    <a:pt x="1098" y="1796"/>
                  </a:cubicBezTo>
                  <a:cubicBezTo>
                    <a:pt x="1098" y="1589"/>
                    <a:pt x="1098" y="1589"/>
                    <a:pt x="1098" y="1589"/>
                  </a:cubicBezTo>
                  <a:cubicBezTo>
                    <a:pt x="1134" y="1560"/>
                    <a:pt x="1150" y="1555"/>
                    <a:pt x="1182" y="1555"/>
                  </a:cubicBezTo>
                  <a:cubicBezTo>
                    <a:pt x="1222" y="1555"/>
                    <a:pt x="1235" y="1564"/>
                    <a:pt x="1268" y="1596"/>
                  </a:cubicBezTo>
                  <a:cubicBezTo>
                    <a:pt x="1268" y="1796"/>
                    <a:pt x="1268" y="1796"/>
                    <a:pt x="1268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194" y="1796"/>
                  </a:moveTo>
                  <a:cubicBezTo>
                    <a:pt x="1194" y="1797"/>
                    <a:pt x="1194" y="1797"/>
                    <a:pt x="1194" y="1797"/>
                  </a:cubicBezTo>
                  <a:cubicBezTo>
                    <a:pt x="1166" y="1797"/>
                    <a:pt x="1166" y="1797"/>
                    <a:pt x="1166" y="1797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94" y="1796"/>
                    <a:pt x="1194" y="1796"/>
                    <a:pt x="1194" y="1796"/>
                  </a:cubicBezTo>
                  <a:close/>
                  <a:moveTo>
                    <a:pt x="1245" y="1796"/>
                  </a:moveTo>
                  <a:cubicBezTo>
                    <a:pt x="1268" y="1796"/>
                    <a:pt x="1268" y="1796"/>
                    <a:pt x="1268" y="1796"/>
                  </a:cubicBezTo>
                  <a:cubicBezTo>
                    <a:pt x="1274" y="1796"/>
                    <a:pt x="1274" y="1796"/>
                    <a:pt x="1274" y="1796"/>
                  </a:cubicBezTo>
                  <a:cubicBezTo>
                    <a:pt x="1274" y="1592"/>
                    <a:pt x="1274" y="1592"/>
                    <a:pt x="1274" y="1592"/>
                  </a:cubicBezTo>
                  <a:cubicBezTo>
                    <a:pt x="1242" y="1561"/>
                    <a:pt x="1225" y="1547"/>
                    <a:pt x="1183" y="1548"/>
                  </a:cubicBezTo>
                  <a:cubicBezTo>
                    <a:pt x="1144" y="1548"/>
                    <a:pt x="1123" y="1557"/>
                    <a:pt x="1092" y="1586"/>
                  </a:cubicBezTo>
                  <a:cubicBezTo>
                    <a:pt x="1092" y="1797"/>
                    <a:pt x="1092" y="1797"/>
                    <a:pt x="1092" y="1797"/>
                  </a:cubicBezTo>
                  <a:cubicBezTo>
                    <a:pt x="1116" y="1797"/>
                    <a:pt x="1116" y="1797"/>
                    <a:pt x="1116" y="1797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73" y="1796"/>
                    <a:pt x="1073" y="1796"/>
                    <a:pt x="1073" y="1796"/>
                  </a:cubicBezTo>
                  <a:cubicBezTo>
                    <a:pt x="1073" y="1584"/>
                    <a:pt x="1073" y="1584"/>
                    <a:pt x="1073" y="1584"/>
                  </a:cubicBezTo>
                  <a:cubicBezTo>
                    <a:pt x="1104" y="1551"/>
                    <a:pt x="1141" y="1525"/>
                    <a:pt x="1188" y="1524"/>
                  </a:cubicBezTo>
                  <a:cubicBezTo>
                    <a:pt x="1228" y="1526"/>
                    <a:pt x="1262" y="1553"/>
                    <a:pt x="1292" y="1587"/>
                  </a:cubicBezTo>
                  <a:cubicBezTo>
                    <a:pt x="1292" y="1796"/>
                    <a:pt x="1292" y="1796"/>
                    <a:pt x="1292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200" y="1803"/>
                  </a:moveTo>
                  <a:cubicBezTo>
                    <a:pt x="1200" y="1810"/>
                    <a:pt x="1200" y="1810"/>
                    <a:pt x="1200" y="1810"/>
                  </a:cubicBezTo>
                  <a:cubicBezTo>
                    <a:pt x="1239" y="1810"/>
                    <a:pt x="1239" y="1810"/>
                    <a:pt x="1239" y="1810"/>
                  </a:cubicBezTo>
                  <a:cubicBezTo>
                    <a:pt x="1239" y="1803"/>
                    <a:pt x="1239" y="1803"/>
                    <a:pt x="1239" y="1803"/>
                  </a:cubicBezTo>
                  <a:cubicBezTo>
                    <a:pt x="1200" y="1803"/>
                    <a:pt x="1200" y="1803"/>
                    <a:pt x="1200" y="1803"/>
                  </a:cubicBezTo>
                  <a:close/>
                  <a:moveTo>
                    <a:pt x="1270" y="1803"/>
                  </a:moveTo>
                  <a:cubicBezTo>
                    <a:pt x="1270" y="1811"/>
                    <a:pt x="1270" y="1811"/>
                    <a:pt x="1270" y="1811"/>
                  </a:cubicBezTo>
                  <a:cubicBezTo>
                    <a:pt x="1519" y="1811"/>
                    <a:pt x="1519" y="1811"/>
                    <a:pt x="1519" y="1811"/>
                  </a:cubicBezTo>
                  <a:cubicBezTo>
                    <a:pt x="1519" y="1803"/>
                    <a:pt x="1519" y="1803"/>
                    <a:pt x="1519" y="1803"/>
                  </a:cubicBezTo>
                  <a:cubicBezTo>
                    <a:pt x="1436" y="1803"/>
                    <a:pt x="1353" y="1803"/>
                    <a:pt x="1270" y="1803"/>
                  </a:cubicBezTo>
                  <a:close/>
                  <a:moveTo>
                    <a:pt x="1090" y="1811"/>
                  </a:moveTo>
                  <a:cubicBezTo>
                    <a:pt x="1090" y="1803"/>
                    <a:pt x="1090" y="1803"/>
                    <a:pt x="1090" y="1803"/>
                  </a:cubicBezTo>
                  <a:cubicBezTo>
                    <a:pt x="1067" y="1803"/>
                    <a:pt x="1067" y="1803"/>
                    <a:pt x="1067" y="1803"/>
                  </a:cubicBezTo>
                  <a:cubicBezTo>
                    <a:pt x="1053" y="1803"/>
                    <a:pt x="1053" y="1803"/>
                    <a:pt x="1053" y="1803"/>
                  </a:cubicBezTo>
                  <a:cubicBezTo>
                    <a:pt x="843" y="1803"/>
                    <a:pt x="843" y="1803"/>
                    <a:pt x="843" y="1803"/>
                  </a:cubicBezTo>
                  <a:cubicBezTo>
                    <a:pt x="843" y="1811"/>
                    <a:pt x="843" y="1811"/>
                    <a:pt x="843" y="1811"/>
                  </a:cubicBezTo>
                  <a:cubicBezTo>
                    <a:pt x="1090" y="1811"/>
                    <a:pt x="1090" y="1811"/>
                    <a:pt x="1090" y="1811"/>
                  </a:cubicBezTo>
                  <a:close/>
                  <a:moveTo>
                    <a:pt x="1174" y="0"/>
                  </a:moveTo>
                  <a:cubicBezTo>
                    <a:pt x="1820" y="0"/>
                    <a:pt x="2348" y="531"/>
                    <a:pt x="2348" y="1182"/>
                  </a:cubicBezTo>
                  <a:cubicBezTo>
                    <a:pt x="2348" y="1834"/>
                    <a:pt x="1820" y="2365"/>
                    <a:pt x="1174" y="2365"/>
                  </a:cubicBezTo>
                  <a:cubicBezTo>
                    <a:pt x="527" y="2365"/>
                    <a:pt x="0" y="1834"/>
                    <a:pt x="0" y="1182"/>
                  </a:cubicBezTo>
                  <a:cubicBezTo>
                    <a:pt x="0" y="531"/>
                    <a:pt x="527" y="0"/>
                    <a:pt x="1174" y="0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268" y="1811"/>
                  </a:moveTo>
                  <a:cubicBezTo>
                    <a:pt x="391" y="1811"/>
                    <a:pt x="391" y="1811"/>
                    <a:pt x="391" y="1811"/>
                  </a:cubicBezTo>
                  <a:cubicBezTo>
                    <a:pt x="391" y="1767"/>
                    <a:pt x="391" y="1767"/>
                    <a:pt x="391" y="1767"/>
                  </a:cubicBezTo>
                  <a:cubicBezTo>
                    <a:pt x="242" y="1767"/>
                    <a:pt x="242" y="1767"/>
                    <a:pt x="242" y="1767"/>
                  </a:cubicBezTo>
                  <a:cubicBezTo>
                    <a:pt x="268" y="1811"/>
                    <a:pt x="268" y="1811"/>
                    <a:pt x="268" y="1811"/>
                  </a:cubicBezTo>
                  <a:close/>
                  <a:moveTo>
                    <a:pt x="394" y="1811"/>
                  </a:moveTo>
                  <a:cubicBezTo>
                    <a:pt x="402" y="1811"/>
                    <a:pt x="402" y="1811"/>
                    <a:pt x="402" y="1811"/>
                  </a:cubicBezTo>
                  <a:cubicBezTo>
                    <a:pt x="402" y="1687"/>
                    <a:pt x="402" y="1687"/>
                    <a:pt x="402" y="1687"/>
                  </a:cubicBezTo>
                  <a:cubicBezTo>
                    <a:pt x="394" y="1687"/>
                    <a:pt x="394" y="1687"/>
                    <a:pt x="394" y="1687"/>
                  </a:cubicBezTo>
                  <a:cubicBezTo>
                    <a:pt x="394" y="1811"/>
                    <a:pt x="394" y="1811"/>
                    <a:pt x="394" y="1811"/>
                  </a:cubicBezTo>
                  <a:close/>
                  <a:moveTo>
                    <a:pt x="407" y="1811"/>
                  </a:moveTo>
                  <a:cubicBezTo>
                    <a:pt x="415" y="1811"/>
                    <a:pt x="415" y="1811"/>
                    <a:pt x="415" y="1811"/>
                  </a:cubicBezTo>
                  <a:cubicBezTo>
                    <a:pt x="415" y="1687"/>
                    <a:pt x="415" y="1687"/>
                    <a:pt x="415" y="1687"/>
                  </a:cubicBezTo>
                  <a:cubicBezTo>
                    <a:pt x="407" y="1687"/>
                    <a:pt x="407" y="1687"/>
                    <a:pt x="407" y="1687"/>
                  </a:cubicBezTo>
                  <a:cubicBezTo>
                    <a:pt x="407" y="1811"/>
                    <a:pt x="407" y="1811"/>
                    <a:pt x="407" y="1811"/>
                  </a:cubicBezTo>
                  <a:close/>
                  <a:moveTo>
                    <a:pt x="420" y="1811"/>
                  </a:moveTo>
                  <a:cubicBezTo>
                    <a:pt x="428" y="1811"/>
                    <a:pt x="428" y="1811"/>
                    <a:pt x="428" y="1811"/>
                  </a:cubicBezTo>
                  <a:cubicBezTo>
                    <a:pt x="428" y="1687"/>
                    <a:pt x="428" y="1687"/>
                    <a:pt x="428" y="1687"/>
                  </a:cubicBezTo>
                  <a:cubicBezTo>
                    <a:pt x="420" y="1687"/>
                    <a:pt x="420" y="1687"/>
                    <a:pt x="420" y="1687"/>
                  </a:cubicBezTo>
                  <a:cubicBezTo>
                    <a:pt x="420" y="1811"/>
                    <a:pt x="420" y="1811"/>
                    <a:pt x="420" y="1811"/>
                  </a:cubicBezTo>
                  <a:close/>
                  <a:moveTo>
                    <a:pt x="433" y="1811"/>
                  </a:moveTo>
                  <a:cubicBezTo>
                    <a:pt x="441" y="1811"/>
                    <a:pt x="441" y="1811"/>
                    <a:pt x="441" y="1811"/>
                  </a:cubicBezTo>
                  <a:cubicBezTo>
                    <a:pt x="441" y="1687"/>
                    <a:pt x="441" y="1687"/>
                    <a:pt x="441" y="1687"/>
                  </a:cubicBezTo>
                  <a:cubicBezTo>
                    <a:pt x="433" y="1687"/>
                    <a:pt x="433" y="1687"/>
                    <a:pt x="433" y="1687"/>
                  </a:cubicBezTo>
                  <a:cubicBezTo>
                    <a:pt x="433" y="1811"/>
                    <a:pt x="433" y="1811"/>
                    <a:pt x="433" y="1811"/>
                  </a:cubicBezTo>
                  <a:close/>
                  <a:moveTo>
                    <a:pt x="446" y="1811"/>
                  </a:moveTo>
                  <a:cubicBezTo>
                    <a:pt x="454" y="1811"/>
                    <a:pt x="454" y="1811"/>
                    <a:pt x="454" y="1811"/>
                  </a:cubicBezTo>
                  <a:cubicBezTo>
                    <a:pt x="454" y="1687"/>
                    <a:pt x="454" y="1687"/>
                    <a:pt x="454" y="1687"/>
                  </a:cubicBezTo>
                  <a:cubicBezTo>
                    <a:pt x="446" y="1687"/>
                    <a:pt x="446" y="1687"/>
                    <a:pt x="446" y="1687"/>
                  </a:cubicBezTo>
                  <a:cubicBezTo>
                    <a:pt x="446" y="1811"/>
                    <a:pt x="446" y="1811"/>
                    <a:pt x="446" y="1811"/>
                  </a:cubicBezTo>
                  <a:close/>
                  <a:moveTo>
                    <a:pt x="459" y="1811"/>
                  </a:moveTo>
                  <a:cubicBezTo>
                    <a:pt x="466" y="1811"/>
                    <a:pt x="466" y="1811"/>
                    <a:pt x="466" y="1811"/>
                  </a:cubicBezTo>
                  <a:cubicBezTo>
                    <a:pt x="466" y="1687"/>
                    <a:pt x="466" y="1687"/>
                    <a:pt x="466" y="1687"/>
                  </a:cubicBezTo>
                  <a:cubicBezTo>
                    <a:pt x="459" y="1687"/>
                    <a:pt x="459" y="1687"/>
                    <a:pt x="459" y="1687"/>
                  </a:cubicBezTo>
                  <a:cubicBezTo>
                    <a:pt x="459" y="1811"/>
                    <a:pt x="459" y="1811"/>
                    <a:pt x="459" y="1811"/>
                  </a:cubicBezTo>
                  <a:close/>
                  <a:moveTo>
                    <a:pt x="472" y="1811"/>
                  </a:moveTo>
                  <a:cubicBezTo>
                    <a:pt x="479" y="1811"/>
                    <a:pt x="479" y="1811"/>
                    <a:pt x="479" y="1811"/>
                  </a:cubicBezTo>
                  <a:cubicBezTo>
                    <a:pt x="479" y="1687"/>
                    <a:pt x="479" y="1687"/>
                    <a:pt x="479" y="1687"/>
                  </a:cubicBezTo>
                  <a:cubicBezTo>
                    <a:pt x="472" y="1687"/>
                    <a:pt x="472" y="1687"/>
                    <a:pt x="472" y="1687"/>
                  </a:cubicBezTo>
                  <a:cubicBezTo>
                    <a:pt x="472" y="1811"/>
                    <a:pt x="472" y="1811"/>
                    <a:pt x="472" y="1811"/>
                  </a:cubicBezTo>
                  <a:close/>
                  <a:moveTo>
                    <a:pt x="485" y="1811"/>
                  </a:moveTo>
                  <a:cubicBezTo>
                    <a:pt x="492" y="1811"/>
                    <a:pt x="492" y="1811"/>
                    <a:pt x="492" y="1811"/>
                  </a:cubicBezTo>
                  <a:cubicBezTo>
                    <a:pt x="492" y="1687"/>
                    <a:pt x="492" y="1687"/>
                    <a:pt x="492" y="1687"/>
                  </a:cubicBezTo>
                  <a:cubicBezTo>
                    <a:pt x="485" y="1687"/>
                    <a:pt x="485" y="1687"/>
                    <a:pt x="485" y="1687"/>
                  </a:cubicBezTo>
                  <a:cubicBezTo>
                    <a:pt x="485" y="1811"/>
                    <a:pt x="485" y="1811"/>
                    <a:pt x="485" y="1811"/>
                  </a:cubicBezTo>
                  <a:close/>
                  <a:moveTo>
                    <a:pt x="498" y="1811"/>
                  </a:moveTo>
                  <a:cubicBezTo>
                    <a:pt x="505" y="1811"/>
                    <a:pt x="505" y="1811"/>
                    <a:pt x="505" y="1811"/>
                  </a:cubicBezTo>
                  <a:cubicBezTo>
                    <a:pt x="505" y="1687"/>
                    <a:pt x="505" y="1687"/>
                    <a:pt x="505" y="1687"/>
                  </a:cubicBezTo>
                  <a:cubicBezTo>
                    <a:pt x="498" y="1687"/>
                    <a:pt x="498" y="1687"/>
                    <a:pt x="498" y="1687"/>
                  </a:cubicBezTo>
                  <a:cubicBezTo>
                    <a:pt x="498" y="1811"/>
                    <a:pt x="498" y="1811"/>
                    <a:pt x="498" y="1811"/>
                  </a:cubicBezTo>
                  <a:close/>
                  <a:moveTo>
                    <a:pt x="510" y="1811"/>
                  </a:moveTo>
                  <a:cubicBezTo>
                    <a:pt x="518" y="1811"/>
                    <a:pt x="518" y="1811"/>
                    <a:pt x="518" y="1811"/>
                  </a:cubicBezTo>
                  <a:cubicBezTo>
                    <a:pt x="518" y="1687"/>
                    <a:pt x="518" y="1687"/>
                    <a:pt x="518" y="1687"/>
                  </a:cubicBezTo>
                  <a:cubicBezTo>
                    <a:pt x="510" y="1687"/>
                    <a:pt x="510" y="1687"/>
                    <a:pt x="510" y="1687"/>
                  </a:cubicBezTo>
                  <a:cubicBezTo>
                    <a:pt x="510" y="1811"/>
                    <a:pt x="510" y="1811"/>
                    <a:pt x="510" y="1811"/>
                  </a:cubicBezTo>
                  <a:close/>
                  <a:moveTo>
                    <a:pt x="523" y="1811"/>
                  </a:moveTo>
                  <a:cubicBezTo>
                    <a:pt x="531" y="1811"/>
                    <a:pt x="531" y="1811"/>
                    <a:pt x="531" y="1811"/>
                  </a:cubicBezTo>
                  <a:cubicBezTo>
                    <a:pt x="531" y="1766"/>
                    <a:pt x="531" y="1766"/>
                    <a:pt x="531" y="1766"/>
                  </a:cubicBezTo>
                  <a:cubicBezTo>
                    <a:pt x="523" y="1766"/>
                    <a:pt x="523" y="1766"/>
                    <a:pt x="523" y="1766"/>
                  </a:cubicBezTo>
                  <a:cubicBezTo>
                    <a:pt x="523" y="1811"/>
                    <a:pt x="523" y="1811"/>
                    <a:pt x="523" y="1811"/>
                  </a:cubicBezTo>
                  <a:close/>
                  <a:moveTo>
                    <a:pt x="536" y="1811"/>
                  </a:moveTo>
                  <a:cubicBezTo>
                    <a:pt x="544" y="1811"/>
                    <a:pt x="544" y="1811"/>
                    <a:pt x="544" y="1811"/>
                  </a:cubicBezTo>
                  <a:cubicBezTo>
                    <a:pt x="544" y="1766"/>
                    <a:pt x="544" y="1766"/>
                    <a:pt x="544" y="1766"/>
                  </a:cubicBezTo>
                  <a:cubicBezTo>
                    <a:pt x="536" y="1766"/>
                    <a:pt x="536" y="1766"/>
                    <a:pt x="536" y="1766"/>
                  </a:cubicBezTo>
                  <a:cubicBezTo>
                    <a:pt x="536" y="1811"/>
                    <a:pt x="536" y="1811"/>
                    <a:pt x="536" y="1811"/>
                  </a:cubicBezTo>
                  <a:close/>
                  <a:moveTo>
                    <a:pt x="549" y="1811"/>
                  </a:moveTo>
                  <a:cubicBezTo>
                    <a:pt x="557" y="1811"/>
                    <a:pt x="557" y="1811"/>
                    <a:pt x="557" y="1811"/>
                  </a:cubicBezTo>
                  <a:cubicBezTo>
                    <a:pt x="557" y="1766"/>
                    <a:pt x="557" y="1766"/>
                    <a:pt x="557" y="1766"/>
                  </a:cubicBezTo>
                  <a:cubicBezTo>
                    <a:pt x="549" y="1766"/>
                    <a:pt x="549" y="1766"/>
                    <a:pt x="549" y="1766"/>
                  </a:cubicBezTo>
                  <a:cubicBezTo>
                    <a:pt x="549" y="1811"/>
                    <a:pt x="549" y="1811"/>
                    <a:pt x="549" y="1811"/>
                  </a:cubicBezTo>
                  <a:close/>
                  <a:moveTo>
                    <a:pt x="562" y="1811"/>
                  </a:moveTo>
                  <a:cubicBezTo>
                    <a:pt x="570" y="1811"/>
                    <a:pt x="570" y="1811"/>
                    <a:pt x="570" y="1811"/>
                  </a:cubicBezTo>
                  <a:cubicBezTo>
                    <a:pt x="570" y="1766"/>
                    <a:pt x="570" y="1766"/>
                    <a:pt x="570" y="1766"/>
                  </a:cubicBezTo>
                  <a:cubicBezTo>
                    <a:pt x="562" y="1766"/>
                    <a:pt x="562" y="1766"/>
                    <a:pt x="562" y="1766"/>
                  </a:cubicBezTo>
                  <a:cubicBezTo>
                    <a:pt x="562" y="1811"/>
                    <a:pt x="562" y="1811"/>
                    <a:pt x="562" y="1811"/>
                  </a:cubicBezTo>
                  <a:close/>
                  <a:moveTo>
                    <a:pt x="575" y="1811"/>
                  </a:moveTo>
                  <a:cubicBezTo>
                    <a:pt x="582" y="1811"/>
                    <a:pt x="582" y="1811"/>
                    <a:pt x="582" y="1811"/>
                  </a:cubicBezTo>
                  <a:cubicBezTo>
                    <a:pt x="582" y="1766"/>
                    <a:pt x="582" y="1766"/>
                    <a:pt x="582" y="1766"/>
                  </a:cubicBezTo>
                  <a:cubicBezTo>
                    <a:pt x="575" y="1766"/>
                    <a:pt x="575" y="1766"/>
                    <a:pt x="575" y="1766"/>
                  </a:cubicBezTo>
                  <a:cubicBezTo>
                    <a:pt x="575" y="1811"/>
                    <a:pt x="575" y="1811"/>
                    <a:pt x="575" y="1811"/>
                  </a:cubicBezTo>
                  <a:close/>
                  <a:moveTo>
                    <a:pt x="588" y="1811"/>
                  </a:moveTo>
                  <a:cubicBezTo>
                    <a:pt x="595" y="1811"/>
                    <a:pt x="595" y="1811"/>
                    <a:pt x="595" y="1811"/>
                  </a:cubicBezTo>
                  <a:cubicBezTo>
                    <a:pt x="595" y="1766"/>
                    <a:pt x="595" y="1766"/>
                    <a:pt x="595" y="1766"/>
                  </a:cubicBezTo>
                  <a:cubicBezTo>
                    <a:pt x="588" y="1766"/>
                    <a:pt x="588" y="1766"/>
                    <a:pt x="588" y="1766"/>
                  </a:cubicBezTo>
                  <a:cubicBezTo>
                    <a:pt x="588" y="1811"/>
                    <a:pt x="588" y="1811"/>
                    <a:pt x="588" y="1811"/>
                  </a:cubicBezTo>
                  <a:close/>
                  <a:moveTo>
                    <a:pt x="601" y="1811"/>
                  </a:moveTo>
                  <a:cubicBezTo>
                    <a:pt x="608" y="1811"/>
                    <a:pt x="608" y="1811"/>
                    <a:pt x="608" y="1811"/>
                  </a:cubicBezTo>
                  <a:cubicBezTo>
                    <a:pt x="608" y="1766"/>
                    <a:pt x="608" y="1766"/>
                    <a:pt x="608" y="1766"/>
                  </a:cubicBezTo>
                  <a:cubicBezTo>
                    <a:pt x="601" y="1766"/>
                    <a:pt x="601" y="1766"/>
                    <a:pt x="601" y="1766"/>
                  </a:cubicBezTo>
                  <a:cubicBezTo>
                    <a:pt x="601" y="1811"/>
                    <a:pt x="601" y="1811"/>
                    <a:pt x="601" y="1811"/>
                  </a:cubicBezTo>
                  <a:close/>
                  <a:moveTo>
                    <a:pt x="614" y="1811"/>
                  </a:moveTo>
                  <a:cubicBezTo>
                    <a:pt x="621" y="1811"/>
                    <a:pt x="621" y="1811"/>
                    <a:pt x="621" y="1811"/>
                  </a:cubicBezTo>
                  <a:cubicBezTo>
                    <a:pt x="621" y="1766"/>
                    <a:pt x="621" y="1766"/>
                    <a:pt x="621" y="1766"/>
                  </a:cubicBezTo>
                  <a:cubicBezTo>
                    <a:pt x="614" y="1766"/>
                    <a:pt x="614" y="1766"/>
                    <a:pt x="614" y="1766"/>
                  </a:cubicBezTo>
                  <a:cubicBezTo>
                    <a:pt x="614" y="1811"/>
                    <a:pt x="614" y="1811"/>
                    <a:pt x="614" y="1811"/>
                  </a:cubicBezTo>
                  <a:close/>
                  <a:moveTo>
                    <a:pt x="626" y="1811"/>
                  </a:moveTo>
                  <a:cubicBezTo>
                    <a:pt x="634" y="1811"/>
                    <a:pt x="634" y="1811"/>
                    <a:pt x="634" y="1811"/>
                  </a:cubicBezTo>
                  <a:cubicBezTo>
                    <a:pt x="634" y="1766"/>
                    <a:pt x="634" y="1766"/>
                    <a:pt x="634" y="1766"/>
                  </a:cubicBezTo>
                  <a:cubicBezTo>
                    <a:pt x="626" y="1766"/>
                    <a:pt x="626" y="1766"/>
                    <a:pt x="626" y="1766"/>
                  </a:cubicBezTo>
                  <a:cubicBezTo>
                    <a:pt x="626" y="1811"/>
                    <a:pt x="626" y="1811"/>
                    <a:pt x="626" y="1811"/>
                  </a:cubicBezTo>
                  <a:close/>
                  <a:moveTo>
                    <a:pt x="639" y="1811"/>
                  </a:moveTo>
                  <a:cubicBezTo>
                    <a:pt x="647" y="1811"/>
                    <a:pt x="647" y="1811"/>
                    <a:pt x="647" y="1811"/>
                  </a:cubicBezTo>
                  <a:cubicBezTo>
                    <a:pt x="647" y="1766"/>
                    <a:pt x="647" y="1766"/>
                    <a:pt x="647" y="1766"/>
                  </a:cubicBezTo>
                  <a:cubicBezTo>
                    <a:pt x="639" y="1766"/>
                    <a:pt x="639" y="1766"/>
                    <a:pt x="639" y="1766"/>
                  </a:cubicBezTo>
                  <a:cubicBezTo>
                    <a:pt x="639" y="1811"/>
                    <a:pt x="639" y="1811"/>
                    <a:pt x="639" y="1811"/>
                  </a:cubicBezTo>
                  <a:close/>
                  <a:moveTo>
                    <a:pt x="652" y="1811"/>
                  </a:moveTo>
                  <a:cubicBezTo>
                    <a:pt x="660" y="1811"/>
                    <a:pt x="660" y="1811"/>
                    <a:pt x="660" y="1811"/>
                  </a:cubicBezTo>
                  <a:cubicBezTo>
                    <a:pt x="660" y="1766"/>
                    <a:pt x="660" y="1766"/>
                    <a:pt x="660" y="1766"/>
                  </a:cubicBezTo>
                  <a:cubicBezTo>
                    <a:pt x="652" y="1766"/>
                    <a:pt x="652" y="1766"/>
                    <a:pt x="652" y="1766"/>
                  </a:cubicBezTo>
                  <a:cubicBezTo>
                    <a:pt x="652" y="1811"/>
                    <a:pt x="652" y="1811"/>
                    <a:pt x="652" y="1811"/>
                  </a:cubicBezTo>
                  <a:close/>
                  <a:moveTo>
                    <a:pt x="665" y="1811"/>
                  </a:moveTo>
                  <a:cubicBezTo>
                    <a:pt x="673" y="1811"/>
                    <a:pt x="673" y="1811"/>
                    <a:pt x="673" y="1811"/>
                  </a:cubicBezTo>
                  <a:cubicBezTo>
                    <a:pt x="673" y="1766"/>
                    <a:pt x="673" y="1766"/>
                    <a:pt x="673" y="1766"/>
                  </a:cubicBezTo>
                  <a:cubicBezTo>
                    <a:pt x="665" y="1766"/>
                    <a:pt x="665" y="1766"/>
                    <a:pt x="665" y="1766"/>
                  </a:cubicBezTo>
                  <a:cubicBezTo>
                    <a:pt x="665" y="1811"/>
                    <a:pt x="665" y="1811"/>
                    <a:pt x="665" y="1811"/>
                  </a:cubicBezTo>
                  <a:close/>
                  <a:moveTo>
                    <a:pt x="678" y="1811"/>
                  </a:moveTo>
                  <a:cubicBezTo>
                    <a:pt x="685" y="1811"/>
                    <a:pt x="685" y="1811"/>
                    <a:pt x="685" y="1811"/>
                  </a:cubicBezTo>
                  <a:cubicBezTo>
                    <a:pt x="685" y="1766"/>
                    <a:pt x="685" y="1766"/>
                    <a:pt x="685" y="1766"/>
                  </a:cubicBezTo>
                  <a:cubicBezTo>
                    <a:pt x="678" y="1766"/>
                    <a:pt x="678" y="1766"/>
                    <a:pt x="678" y="1766"/>
                  </a:cubicBezTo>
                  <a:cubicBezTo>
                    <a:pt x="678" y="1811"/>
                    <a:pt x="678" y="1811"/>
                    <a:pt x="678" y="1811"/>
                  </a:cubicBezTo>
                  <a:close/>
                  <a:moveTo>
                    <a:pt x="691" y="1811"/>
                  </a:moveTo>
                  <a:cubicBezTo>
                    <a:pt x="698" y="1811"/>
                    <a:pt x="698" y="1811"/>
                    <a:pt x="698" y="1811"/>
                  </a:cubicBezTo>
                  <a:cubicBezTo>
                    <a:pt x="698" y="1766"/>
                    <a:pt x="698" y="1766"/>
                    <a:pt x="698" y="1766"/>
                  </a:cubicBezTo>
                  <a:cubicBezTo>
                    <a:pt x="691" y="1766"/>
                    <a:pt x="691" y="1766"/>
                    <a:pt x="691" y="1766"/>
                  </a:cubicBezTo>
                  <a:cubicBezTo>
                    <a:pt x="691" y="1811"/>
                    <a:pt x="691" y="1811"/>
                    <a:pt x="691" y="1811"/>
                  </a:cubicBezTo>
                  <a:close/>
                  <a:moveTo>
                    <a:pt x="704" y="1811"/>
                  </a:moveTo>
                  <a:cubicBezTo>
                    <a:pt x="711" y="1811"/>
                    <a:pt x="711" y="1811"/>
                    <a:pt x="711" y="1811"/>
                  </a:cubicBezTo>
                  <a:cubicBezTo>
                    <a:pt x="711" y="1766"/>
                    <a:pt x="711" y="1766"/>
                    <a:pt x="711" y="1766"/>
                  </a:cubicBezTo>
                  <a:cubicBezTo>
                    <a:pt x="704" y="1766"/>
                    <a:pt x="704" y="1766"/>
                    <a:pt x="704" y="1766"/>
                  </a:cubicBezTo>
                  <a:cubicBezTo>
                    <a:pt x="704" y="1811"/>
                    <a:pt x="704" y="1811"/>
                    <a:pt x="704" y="1811"/>
                  </a:cubicBezTo>
                  <a:close/>
                  <a:moveTo>
                    <a:pt x="717" y="1811"/>
                  </a:moveTo>
                  <a:cubicBezTo>
                    <a:pt x="724" y="1811"/>
                    <a:pt x="724" y="1811"/>
                    <a:pt x="724" y="1811"/>
                  </a:cubicBezTo>
                  <a:cubicBezTo>
                    <a:pt x="724" y="1766"/>
                    <a:pt x="724" y="1766"/>
                    <a:pt x="724" y="1766"/>
                  </a:cubicBezTo>
                  <a:cubicBezTo>
                    <a:pt x="717" y="1766"/>
                    <a:pt x="717" y="1766"/>
                    <a:pt x="717" y="1766"/>
                  </a:cubicBezTo>
                  <a:cubicBezTo>
                    <a:pt x="717" y="1811"/>
                    <a:pt x="717" y="1811"/>
                    <a:pt x="717" y="1811"/>
                  </a:cubicBezTo>
                  <a:close/>
                  <a:moveTo>
                    <a:pt x="730" y="1811"/>
                  </a:moveTo>
                  <a:cubicBezTo>
                    <a:pt x="737" y="1811"/>
                    <a:pt x="737" y="1811"/>
                    <a:pt x="737" y="1811"/>
                  </a:cubicBezTo>
                  <a:cubicBezTo>
                    <a:pt x="737" y="1766"/>
                    <a:pt x="737" y="1766"/>
                    <a:pt x="737" y="1766"/>
                  </a:cubicBezTo>
                  <a:cubicBezTo>
                    <a:pt x="730" y="1766"/>
                    <a:pt x="730" y="1766"/>
                    <a:pt x="730" y="1766"/>
                  </a:cubicBezTo>
                  <a:cubicBezTo>
                    <a:pt x="730" y="1811"/>
                    <a:pt x="730" y="1811"/>
                    <a:pt x="730" y="1811"/>
                  </a:cubicBezTo>
                  <a:close/>
                  <a:moveTo>
                    <a:pt x="742" y="1811"/>
                  </a:moveTo>
                  <a:cubicBezTo>
                    <a:pt x="750" y="1811"/>
                    <a:pt x="750" y="1811"/>
                    <a:pt x="750" y="1811"/>
                  </a:cubicBezTo>
                  <a:cubicBezTo>
                    <a:pt x="750" y="1766"/>
                    <a:pt x="750" y="1766"/>
                    <a:pt x="750" y="1766"/>
                  </a:cubicBezTo>
                  <a:cubicBezTo>
                    <a:pt x="742" y="1766"/>
                    <a:pt x="742" y="1766"/>
                    <a:pt x="742" y="1766"/>
                  </a:cubicBezTo>
                  <a:cubicBezTo>
                    <a:pt x="742" y="1811"/>
                    <a:pt x="742" y="1811"/>
                    <a:pt x="742" y="1811"/>
                  </a:cubicBezTo>
                  <a:close/>
                  <a:moveTo>
                    <a:pt x="755" y="1811"/>
                  </a:moveTo>
                  <a:cubicBezTo>
                    <a:pt x="763" y="1811"/>
                    <a:pt x="763" y="1811"/>
                    <a:pt x="763" y="1811"/>
                  </a:cubicBezTo>
                  <a:cubicBezTo>
                    <a:pt x="763" y="1766"/>
                    <a:pt x="763" y="1766"/>
                    <a:pt x="763" y="1766"/>
                  </a:cubicBezTo>
                  <a:cubicBezTo>
                    <a:pt x="755" y="1766"/>
                    <a:pt x="755" y="1766"/>
                    <a:pt x="755" y="1766"/>
                  </a:cubicBezTo>
                  <a:cubicBezTo>
                    <a:pt x="755" y="1811"/>
                    <a:pt x="755" y="1811"/>
                    <a:pt x="755" y="1811"/>
                  </a:cubicBezTo>
                  <a:close/>
                  <a:moveTo>
                    <a:pt x="768" y="1811"/>
                  </a:moveTo>
                  <a:cubicBezTo>
                    <a:pt x="776" y="1811"/>
                    <a:pt x="776" y="1811"/>
                    <a:pt x="776" y="1811"/>
                  </a:cubicBezTo>
                  <a:cubicBezTo>
                    <a:pt x="776" y="1766"/>
                    <a:pt x="776" y="1766"/>
                    <a:pt x="776" y="1766"/>
                  </a:cubicBezTo>
                  <a:cubicBezTo>
                    <a:pt x="768" y="1766"/>
                    <a:pt x="768" y="1766"/>
                    <a:pt x="768" y="1766"/>
                  </a:cubicBezTo>
                  <a:cubicBezTo>
                    <a:pt x="768" y="1811"/>
                    <a:pt x="768" y="1811"/>
                    <a:pt x="768" y="1811"/>
                  </a:cubicBezTo>
                  <a:close/>
                  <a:moveTo>
                    <a:pt x="781" y="1811"/>
                  </a:moveTo>
                  <a:cubicBezTo>
                    <a:pt x="789" y="1811"/>
                    <a:pt x="789" y="1811"/>
                    <a:pt x="789" y="1811"/>
                  </a:cubicBezTo>
                  <a:cubicBezTo>
                    <a:pt x="789" y="1766"/>
                    <a:pt x="789" y="1766"/>
                    <a:pt x="789" y="1766"/>
                  </a:cubicBezTo>
                  <a:cubicBezTo>
                    <a:pt x="781" y="1766"/>
                    <a:pt x="781" y="1766"/>
                    <a:pt x="781" y="1766"/>
                  </a:cubicBezTo>
                  <a:cubicBezTo>
                    <a:pt x="781" y="1811"/>
                    <a:pt x="781" y="1811"/>
                    <a:pt x="781" y="1811"/>
                  </a:cubicBezTo>
                  <a:close/>
                  <a:moveTo>
                    <a:pt x="794" y="1811"/>
                  </a:moveTo>
                  <a:cubicBezTo>
                    <a:pt x="801" y="1811"/>
                    <a:pt x="801" y="1811"/>
                    <a:pt x="801" y="1811"/>
                  </a:cubicBezTo>
                  <a:cubicBezTo>
                    <a:pt x="801" y="1766"/>
                    <a:pt x="801" y="1766"/>
                    <a:pt x="801" y="1766"/>
                  </a:cubicBezTo>
                  <a:cubicBezTo>
                    <a:pt x="794" y="1766"/>
                    <a:pt x="794" y="1766"/>
                    <a:pt x="794" y="1766"/>
                  </a:cubicBezTo>
                  <a:cubicBezTo>
                    <a:pt x="794" y="1811"/>
                    <a:pt x="794" y="1811"/>
                    <a:pt x="794" y="1811"/>
                  </a:cubicBezTo>
                  <a:close/>
                  <a:moveTo>
                    <a:pt x="807" y="1811"/>
                  </a:moveTo>
                  <a:cubicBezTo>
                    <a:pt x="814" y="1811"/>
                    <a:pt x="814" y="1811"/>
                    <a:pt x="814" y="1811"/>
                  </a:cubicBezTo>
                  <a:cubicBezTo>
                    <a:pt x="814" y="1766"/>
                    <a:pt x="814" y="1766"/>
                    <a:pt x="814" y="1766"/>
                  </a:cubicBezTo>
                  <a:cubicBezTo>
                    <a:pt x="807" y="1766"/>
                    <a:pt x="807" y="1766"/>
                    <a:pt x="807" y="1766"/>
                  </a:cubicBezTo>
                  <a:cubicBezTo>
                    <a:pt x="807" y="1811"/>
                    <a:pt x="807" y="1811"/>
                    <a:pt x="807" y="1811"/>
                  </a:cubicBezTo>
                  <a:close/>
                  <a:moveTo>
                    <a:pt x="820" y="1811"/>
                  </a:moveTo>
                  <a:cubicBezTo>
                    <a:pt x="827" y="1811"/>
                    <a:pt x="827" y="1811"/>
                    <a:pt x="827" y="1811"/>
                  </a:cubicBezTo>
                  <a:cubicBezTo>
                    <a:pt x="827" y="1766"/>
                    <a:pt x="827" y="1766"/>
                    <a:pt x="827" y="1766"/>
                  </a:cubicBezTo>
                  <a:cubicBezTo>
                    <a:pt x="820" y="1766"/>
                    <a:pt x="820" y="1766"/>
                    <a:pt x="820" y="1766"/>
                  </a:cubicBezTo>
                  <a:cubicBezTo>
                    <a:pt x="820" y="1811"/>
                    <a:pt x="820" y="1811"/>
                    <a:pt x="820" y="1811"/>
                  </a:cubicBezTo>
                  <a:close/>
                  <a:moveTo>
                    <a:pt x="1527" y="1756"/>
                  </a:moveTo>
                  <a:cubicBezTo>
                    <a:pt x="1527" y="1632"/>
                    <a:pt x="1527" y="1632"/>
                    <a:pt x="1527" y="1632"/>
                  </a:cubicBezTo>
                  <a:cubicBezTo>
                    <a:pt x="1836" y="1632"/>
                    <a:pt x="1836" y="1632"/>
                    <a:pt x="1836" y="1632"/>
                  </a:cubicBezTo>
                  <a:cubicBezTo>
                    <a:pt x="1870" y="1630"/>
                    <a:pt x="1899" y="1616"/>
                    <a:pt x="1912" y="1583"/>
                  </a:cubicBezTo>
                  <a:cubicBezTo>
                    <a:pt x="1916" y="1577"/>
                    <a:pt x="1916" y="1577"/>
                    <a:pt x="1916" y="1577"/>
                  </a:cubicBezTo>
                  <a:cubicBezTo>
                    <a:pt x="1973" y="1464"/>
                    <a:pt x="2005" y="1337"/>
                    <a:pt x="2005" y="1203"/>
                  </a:cubicBezTo>
                  <a:cubicBezTo>
                    <a:pt x="2005" y="748"/>
                    <a:pt x="1634" y="377"/>
                    <a:pt x="1179" y="377"/>
                  </a:cubicBezTo>
                  <a:cubicBezTo>
                    <a:pt x="724" y="377"/>
                    <a:pt x="352" y="748"/>
                    <a:pt x="352" y="1203"/>
                  </a:cubicBezTo>
                  <a:cubicBezTo>
                    <a:pt x="352" y="1349"/>
                    <a:pt x="390" y="1485"/>
                    <a:pt x="456" y="1604"/>
                  </a:cubicBezTo>
                  <a:cubicBezTo>
                    <a:pt x="474" y="1619"/>
                    <a:pt x="506" y="1631"/>
                    <a:pt x="527" y="1632"/>
                  </a:cubicBezTo>
                  <a:cubicBezTo>
                    <a:pt x="834" y="1632"/>
                    <a:pt x="834" y="1632"/>
                    <a:pt x="834" y="1632"/>
                  </a:cubicBezTo>
                  <a:cubicBezTo>
                    <a:pt x="834" y="1756"/>
                    <a:pt x="834" y="1756"/>
                    <a:pt x="834" y="1756"/>
                  </a:cubicBezTo>
                  <a:cubicBezTo>
                    <a:pt x="777" y="1756"/>
                    <a:pt x="777" y="1756"/>
                    <a:pt x="777" y="1756"/>
                  </a:cubicBezTo>
                  <a:cubicBezTo>
                    <a:pt x="777" y="1658"/>
                    <a:pt x="777" y="1658"/>
                    <a:pt x="777" y="1658"/>
                  </a:cubicBezTo>
                  <a:cubicBezTo>
                    <a:pt x="753" y="1657"/>
                    <a:pt x="732" y="1659"/>
                    <a:pt x="708" y="1658"/>
                  </a:cubicBezTo>
                  <a:cubicBezTo>
                    <a:pt x="708" y="1756"/>
                    <a:pt x="708" y="1756"/>
                    <a:pt x="708" y="1756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49" y="1658"/>
                    <a:pt x="649" y="1658"/>
                    <a:pt x="649" y="1658"/>
                  </a:cubicBezTo>
                  <a:cubicBezTo>
                    <a:pt x="600" y="1658"/>
                    <a:pt x="600" y="1658"/>
                    <a:pt x="600" y="1658"/>
                  </a:cubicBezTo>
                  <a:cubicBezTo>
                    <a:pt x="579" y="1658"/>
                    <a:pt x="579" y="1658"/>
                    <a:pt x="579" y="1658"/>
                  </a:cubicBezTo>
                  <a:cubicBezTo>
                    <a:pt x="579" y="1756"/>
                    <a:pt x="579" y="1756"/>
                    <a:pt x="579" y="1756"/>
                  </a:cubicBezTo>
                  <a:cubicBezTo>
                    <a:pt x="522" y="1756"/>
                    <a:pt x="522" y="1756"/>
                    <a:pt x="522" y="1756"/>
                  </a:cubicBezTo>
                  <a:cubicBezTo>
                    <a:pt x="522" y="1637"/>
                    <a:pt x="522" y="1637"/>
                    <a:pt x="522" y="1637"/>
                  </a:cubicBezTo>
                  <a:cubicBezTo>
                    <a:pt x="518" y="1637"/>
                    <a:pt x="518" y="1637"/>
                    <a:pt x="518" y="1637"/>
                  </a:cubicBezTo>
                  <a:cubicBezTo>
                    <a:pt x="518" y="1655"/>
                    <a:pt x="518" y="1655"/>
                    <a:pt x="518" y="1655"/>
                  </a:cubicBezTo>
                  <a:cubicBezTo>
                    <a:pt x="371" y="1655"/>
                    <a:pt x="371" y="1655"/>
                    <a:pt x="371" y="1655"/>
                  </a:cubicBezTo>
                  <a:cubicBezTo>
                    <a:pt x="371" y="1613"/>
                    <a:pt x="371" y="1613"/>
                    <a:pt x="371" y="1613"/>
                  </a:cubicBezTo>
                  <a:cubicBezTo>
                    <a:pt x="357" y="1615"/>
                    <a:pt x="357" y="1615"/>
                    <a:pt x="357" y="1615"/>
                  </a:cubicBezTo>
                  <a:cubicBezTo>
                    <a:pt x="357" y="1581"/>
                    <a:pt x="357" y="1581"/>
                    <a:pt x="357" y="1581"/>
                  </a:cubicBezTo>
                  <a:cubicBezTo>
                    <a:pt x="380" y="1581"/>
                    <a:pt x="380" y="1581"/>
                    <a:pt x="380" y="1581"/>
                  </a:cubicBezTo>
                  <a:cubicBezTo>
                    <a:pt x="394" y="1581"/>
                    <a:pt x="401" y="1564"/>
                    <a:pt x="408" y="1554"/>
                  </a:cubicBezTo>
                  <a:cubicBezTo>
                    <a:pt x="394" y="1560"/>
                    <a:pt x="380" y="1562"/>
                    <a:pt x="366" y="1560"/>
                  </a:cubicBezTo>
                  <a:cubicBezTo>
                    <a:pt x="365" y="1559"/>
                    <a:pt x="331" y="1540"/>
                    <a:pt x="316" y="1522"/>
                  </a:cubicBezTo>
                  <a:cubicBezTo>
                    <a:pt x="311" y="1515"/>
                    <a:pt x="312" y="1509"/>
                    <a:pt x="311" y="1503"/>
                  </a:cubicBezTo>
                  <a:cubicBezTo>
                    <a:pt x="297" y="1503"/>
                    <a:pt x="297" y="1503"/>
                    <a:pt x="297" y="1503"/>
                  </a:cubicBezTo>
                  <a:cubicBezTo>
                    <a:pt x="297" y="1538"/>
                    <a:pt x="264" y="1547"/>
                    <a:pt x="241" y="1559"/>
                  </a:cubicBezTo>
                  <a:cubicBezTo>
                    <a:pt x="201" y="1553"/>
                    <a:pt x="201" y="1553"/>
                    <a:pt x="201" y="1553"/>
                  </a:cubicBezTo>
                  <a:cubicBezTo>
                    <a:pt x="220" y="1587"/>
                    <a:pt x="234" y="1580"/>
                    <a:pt x="265" y="1581"/>
                  </a:cubicBezTo>
                  <a:cubicBezTo>
                    <a:pt x="265" y="1615"/>
                    <a:pt x="265" y="1615"/>
                    <a:pt x="265" y="1615"/>
                  </a:cubicBezTo>
                  <a:cubicBezTo>
                    <a:pt x="249" y="1615"/>
                    <a:pt x="249" y="1615"/>
                    <a:pt x="249" y="1615"/>
                  </a:cubicBezTo>
                  <a:cubicBezTo>
                    <a:pt x="249" y="1730"/>
                    <a:pt x="249" y="1730"/>
                    <a:pt x="249" y="1730"/>
                  </a:cubicBezTo>
                  <a:cubicBezTo>
                    <a:pt x="225" y="1757"/>
                    <a:pt x="225" y="1757"/>
                    <a:pt x="225" y="1757"/>
                  </a:cubicBezTo>
                  <a:cubicBezTo>
                    <a:pt x="124" y="1589"/>
                    <a:pt x="66" y="1392"/>
                    <a:pt x="66" y="1182"/>
                  </a:cubicBezTo>
                  <a:cubicBezTo>
                    <a:pt x="66" y="568"/>
                    <a:pt x="564" y="67"/>
                    <a:pt x="1174" y="67"/>
                  </a:cubicBezTo>
                  <a:cubicBezTo>
                    <a:pt x="1784" y="67"/>
                    <a:pt x="2281" y="568"/>
                    <a:pt x="2281" y="1182"/>
                  </a:cubicBezTo>
                  <a:cubicBezTo>
                    <a:pt x="2281" y="1388"/>
                    <a:pt x="2225" y="1582"/>
                    <a:pt x="2128" y="1748"/>
                  </a:cubicBezTo>
                  <a:cubicBezTo>
                    <a:pt x="2112" y="1730"/>
                    <a:pt x="2112" y="1730"/>
                    <a:pt x="2112" y="1730"/>
                  </a:cubicBezTo>
                  <a:cubicBezTo>
                    <a:pt x="2112" y="1615"/>
                    <a:pt x="2112" y="1615"/>
                    <a:pt x="2112" y="1615"/>
                  </a:cubicBezTo>
                  <a:cubicBezTo>
                    <a:pt x="2095" y="1615"/>
                    <a:pt x="2095" y="1615"/>
                    <a:pt x="2095" y="1615"/>
                  </a:cubicBezTo>
                  <a:cubicBezTo>
                    <a:pt x="2095" y="1581"/>
                    <a:pt x="2095" y="1581"/>
                    <a:pt x="2095" y="1581"/>
                  </a:cubicBezTo>
                  <a:cubicBezTo>
                    <a:pt x="2126" y="1580"/>
                    <a:pt x="2141" y="1587"/>
                    <a:pt x="2159" y="1553"/>
                  </a:cubicBezTo>
                  <a:cubicBezTo>
                    <a:pt x="2119" y="1559"/>
                    <a:pt x="2119" y="1559"/>
                    <a:pt x="2119" y="1559"/>
                  </a:cubicBezTo>
                  <a:cubicBezTo>
                    <a:pt x="2096" y="1547"/>
                    <a:pt x="2064" y="1538"/>
                    <a:pt x="2063" y="1503"/>
                  </a:cubicBezTo>
                  <a:cubicBezTo>
                    <a:pt x="2049" y="1503"/>
                    <a:pt x="2049" y="1503"/>
                    <a:pt x="2049" y="1503"/>
                  </a:cubicBezTo>
                  <a:cubicBezTo>
                    <a:pt x="2049" y="1509"/>
                    <a:pt x="2050" y="1515"/>
                    <a:pt x="2045" y="1522"/>
                  </a:cubicBezTo>
                  <a:cubicBezTo>
                    <a:pt x="2029" y="1540"/>
                    <a:pt x="1995" y="1559"/>
                    <a:pt x="1994" y="1560"/>
                  </a:cubicBezTo>
                  <a:cubicBezTo>
                    <a:pt x="1980" y="1562"/>
                    <a:pt x="1967" y="1560"/>
                    <a:pt x="1953" y="1554"/>
                  </a:cubicBezTo>
                  <a:cubicBezTo>
                    <a:pt x="1960" y="1564"/>
                    <a:pt x="1966" y="1581"/>
                    <a:pt x="1980" y="1581"/>
                  </a:cubicBezTo>
                  <a:cubicBezTo>
                    <a:pt x="2003" y="1581"/>
                    <a:pt x="2003" y="1581"/>
                    <a:pt x="2003" y="1581"/>
                  </a:cubicBezTo>
                  <a:cubicBezTo>
                    <a:pt x="2003" y="1615"/>
                    <a:pt x="2003" y="1615"/>
                    <a:pt x="2003" y="1615"/>
                  </a:cubicBezTo>
                  <a:cubicBezTo>
                    <a:pt x="1990" y="1613"/>
                    <a:pt x="1990" y="1613"/>
                    <a:pt x="1990" y="1613"/>
                  </a:cubicBezTo>
                  <a:cubicBezTo>
                    <a:pt x="1989" y="1655"/>
                    <a:pt x="1989" y="1655"/>
                    <a:pt x="1989" y="1655"/>
                  </a:cubicBezTo>
                  <a:cubicBezTo>
                    <a:pt x="1843" y="1655"/>
                    <a:pt x="1843" y="1655"/>
                    <a:pt x="1843" y="1655"/>
                  </a:cubicBezTo>
                  <a:cubicBezTo>
                    <a:pt x="1843" y="1637"/>
                    <a:pt x="1843" y="1637"/>
                    <a:pt x="1843" y="1637"/>
                  </a:cubicBezTo>
                  <a:cubicBezTo>
                    <a:pt x="1838" y="1637"/>
                    <a:pt x="1838" y="1637"/>
                    <a:pt x="1838" y="1637"/>
                  </a:cubicBezTo>
                  <a:cubicBezTo>
                    <a:pt x="1838" y="1756"/>
                    <a:pt x="1838" y="1756"/>
                    <a:pt x="1838" y="1756"/>
                  </a:cubicBezTo>
                  <a:cubicBezTo>
                    <a:pt x="1781" y="1756"/>
                    <a:pt x="1781" y="1756"/>
                    <a:pt x="1781" y="1756"/>
                  </a:cubicBezTo>
                  <a:cubicBezTo>
                    <a:pt x="1781" y="1658"/>
                    <a:pt x="1781" y="1658"/>
                    <a:pt x="1781" y="1658"/>
                  </a:cubicBezTo>
                  <a:cubicBezTo>
                    <a:pt x="1761" y="1658"/>
                    <a:pt x="1761" y="1658"/>
                    <a:pt x="1761" y="1658"/>
                  </a:cubicBezTo>
                  <a:cubicBezTo>
                    <a:pt x="1711" y="1658"/>
                    <a:pt x="1711" y="1658"/>
                    <a:pt x="1711" y="1658"/>
                  </a:cubicBezTo>
                  <a:cubicBezTo>
                    <a:pt x="1711" y="1756"/>
                    <a:pt x="1711" y="1756"/>
                    <a:pt x="1711" y="1756"/>
                  </a:cubicBezTo>
                  <a:cubicBezTo>
                    <a:pt x="1653" y="1756"/>
                    <a:pt x="1653" y="1756"/>
                    <a:pt x="1653" y="1756"/>
                  </a:cubicBezTo>
                  <a:cubicBezTo>
                    <a:pt x="1653" y="1658"/>
                    <a:pt x="1653" y="1658"/>
                    <a:pt x="1653" y="1658"/>
                  </a:cubicBezTo>
                  <a:cubicBezTo>
                    <a:pt x="1628" y="1659"/>
                    <a:pt x="1608" y="1657"/>
                    <a:pt x="1583" y="1658"/>
                  </a:cubicBezTo>
                  <a:cubicBezTo>
                    <a:pt x="1583" y="1756"/>
                    <a:pt x="1583" y="1756"/>
                    <a:pt x="1583" y="1756"/>
                  </a:cubicBezTo>
                  <a:cubicBezTo>
                    <a:pt x="1527" y="1756"/>
                    <a:pt x="1527" y="1756"/>
                    <a:pt x="1527" y="1756"/>
                  </a:cubicBezTo>
                  <a:close/>
                  <a:moveTo>
                    <a:pt x="1533" y="1811"/>
                  </a:moveTo>
                  <a:cubicBezTo>
                    <a:pt x="1541" y="1811"/>
                    <a:pt x="1541" y="1811"/>
                    <a:pt x="1541" y="1811"/>
                  </a:cubicBezTo>
                  <a:cubicBezTo>
                    <a:pt x="1541" y="1766"/>
                    <a:pt x="1541" y="1766"/>
                    <a:pt x="1541" y="1766"/>
                  </a:cubicBezTo>
                  <a:cubicBezTo>
                    <a:pt x="1533" y="1766"/>
                    <a:pt x="1533" y="1766"/>
                    <a:pt x="1533" y="1766"/>
                  </a:cubicBezTo>
                  <a:cubicBezTo>
                    <a:pt x="1533" y="1811"/>
                    <a:pt x="1533" y="1811"/>
                    <a:pt x="1533" y="1811"/>
                  </a:cubicBezTo>
                  <a:close/>
                  <a:moveTo>
                    <a:pt x="1546" y="1811"/>
                  </a:moveTo>
                  <a:cubicBezTo>
                    <a:pt x="1554" y="1811"/>
                    <a:pt x="1554" y="1811"/>
                    <a:pt x="1554" y="1811"/>
                  </a:cubicBezTo>
                  <a:cubicBezTo>
                    <a:pt x="1554" y="1766"/>
                    <a:pt x="1554" y="1766"/>
                    <a:pt x="1554" y="1766"/>
                  </a:cubicBezTo>
                  <a:cubicBezTo>
                    <a:pt x="1546" y="1766"/>
                    <a:pt x="1546" y="1766"/>
                    <a:pt x="1546" y="1766"/>
                  </a:cubicBezTo>
                  <a:cubicBezTo>
                    <a:pt x="1546" y="1811"/>
                    <a:pt x="1546" y="1811"/>
                    <a:pt x="1546" y="1811"/>
                  </a:cubicBezTo>
                  <a:close/>
                  <a:moveTo>
                    <a:pt x="1559" y="1811"/>
                  </a:moveTo>
                  <a:cubicBezTo>
                    <a:pt x="1567" y="1811"/>
                    <a:pt x="1567" y="1811"/>
                    <a:pt x="1567" y="1811"/>
                  </a:cubicBezTo>
                  <a:cubicBezTo>
                    <a:pt x="1567" y="1766"/>
                    <a:pt x="1567" y="1766"/>
                    <a:pt x="1567" y="1766"/>
                  </a:cubicBezTo>
                  <a:cubicBezTo>
                    <a:pt x="1559" y="1766"/>
                    <a:pt x="1559" y="1766"/>
                    <a:pt x="1559" y="1766"/>
                  </a:cubicBezTo>
                  <a:cubicBezTo>
                    <a:pt x="1559" y="1811"/>
                    <a:pt x="1559" y="1811"/>
                    <a:pt x="1559" y="1811"/>
                  </a:cubicBezTo>
                  <a:close/>
                  <a:moveTo>
                    <a:pt x="1572" y="1811"/>
                  </a:moveTo>
                  <a:cubicBezTo>
                    <a:pt x="1579" y="1811"/>
                    <a:pt x="1579" y="1811"/>
                    <a:pt x="1579" y="1811"/>
                  </a:cubicBezTo>
                  <a:cubicBezTo>
                    <a:pt x="1579" y="1766"/>
                    <a:pt x="1579" y="1766"/>
                    <a:pt x="1579" y="1766"/>
                  </a:cubicBezTo>
                  <a:cubicBezTo>
                    <a:pt x="1572" y="1766"/>
                    <a:pt x="1572" y="1766"/>
                    <a:pt x="1572" y="1766"/>
                  </a:cubicBezTo>
                  <a:cubicBezTo>
                    <a:pt x="1572" y="1811"/>
                    <a:pt x="1572" y="1811"/>
                    <a:pt x="1572" y="1811"/>
                  </a:cubicBezTo>
                  <a:close/>
                  <a:moveTo>
                    <a:pt x="1585" y="1811"/>
                  </a:moveTo>
                  <a:cubicBezTo>
                    <a:pt x="1592" y="1811"/>
                    <a:pt x="1592" y="1811"/>
                    <a:pt x="1592" y="1811"/>
                  </a:cubicBezTo>
                  <a:cubicBezTo>
                    <a:pt x="1592" y="1766"/>
                    <a:pt x="1592" y="1766"/>
                    <a:pt x="1592" y="1766"/>
                  </a:cubicBezTo>
                  <a:cubicBezTo>
                    <a:pt x="1585" y="1766"/>
                    <a:pt x="1585" y="1766"/>
                    <a:pt x="1585" y="1766"/>
                  </a:cubicBezTo>
                  <a:cubicBezTo>
                    <a:pt x="1585" y="1811"/>
                    <a:pt x="1585" y="1811"/>
                    <a:pt x="1585" y="1811"/>
                  </a:cubicBezTo>
                  <a:close/>
                  <a:moveTo>
                    <a:pt x="1598" y="1811"/>
                  </a:moveTo>
                  <a:cubicBezTo>
                    <a:pt x="1605" y="1811"/>
                    <a:pt x="1605" y="1811"/>
                    <a:pt x="1605" y="1811"/>
                  </a:cubicBezTo>
                  <a:cubicBezTo>
                    <a:pt x="1605" y="1766"/>
                    <a:pt x="1605" y="1766"/>
                    <a:pt x="1605" y="1766"/>
                  </a:cubicBezTo>
                  <a:cubicBezTo>
                    <a:pt x="1598" y="1766"/>
                    <a:pt x="1598" y="1766"/>
                    <a:pt x="1598" y="1766"/>
                  </a:cubicBezTo>
                  <a:cubicBezTo>
                    <a:pt x="1598" y="1811"/>
                    <a:pt x="1598" y="1811"/>
                    <a:pt x="1598" y="1811"/>
                  </a:cubicBezTo>
                  <a:close/>
                  <a:moveTo>
                    <a:pt x="1611" y="1811"/>
                  </a:moveTo>
                  <a:cubicBezTo>
                    <a:pt x="1618" y="1811"/>
                    <a:pt x="1618" y="1811"/>
                    <a:pt x="1618" y="1811"/>
                  </a:cubicBezTo>
                  <a:cubicBezTo>
                    <a:pt x="1618" y="1766"/>
                    <a:pt x="1618" y="1766"/>
                    <a:pt x="1618" y="1766"/>
                  </a:cubicBezTo>
                  <a:cubicBezTo>
                    <a:pt x="1611" y="1766"/>
                    <a:pt x="1611" y="1766"/>
                    <a:pt x="1611" y="1766"/>
                  </a:cubicBezTo>
                  <a:cubicBezTo>
                    <a:pt x="1611" y="1811"/>
                    <a:pt x="1611" y="1811"/>
                    <a:pt x="1611" y="1811"/>
                  </a:cubicBezTo>
                  <a:close/>
                  <a:moveTo>
                    <a:pt x="1623" y="1811"/>
                  </a:moveTo>
                  <a:cubicBezTo>
                    <a:pt x="1631" y="1811"/>
                    <a:pt x="1631" y="1811"/>
                    <a:pt x="1631" y="1811"/>
                  </a:cubicBezTo>
                  <a:cubicBezTo>
                    <a:pt x="1631" y="1766"/>
                    <a:pt x="1631" y="1766"/>
                    <a:pt x="1631" y="1766"/>
                  </a:cubicBezTo>
                  <a:cubicBezTo>
                    <a:pt x="1623" y="1766"/>
                    <a:pt x="1623" y="1766"/>
                    <a:pt x="1623" y="1766"/>
                  </a:cubicBezTo>
                  <a:cubicBezTo>
                    <a:pt x="1623" y="1811"/>
                    <a:pt x="1623" y="1811"/>
                    <a:pt x="1623" y="1811"/>
                  </a:cubicBezTo>
                  <a:close/>
                  <a:moveTo>
                    <a:pt x="1636" y="1811"/>
                  </a:moveTo>
                  <a:cubicBezTo>
                    <a:pt x="1644" y="1811"/>
                    <a:pt x="1644" y="1811"/>
                    <a:pt x="1644" y="1811"/>
                  </a:cubicBezTo>
                  <a:cubicBezTo>
                    <a:pt x="1644" y="1766"/>
                    <a:pt x="1644" y="1766"/>
                    <a:pt x="1644" y="1766"/>
                  </a:cubicBezTo>
                  <a:cubicBezTo>
                    <a:pt x="1636" y="1766"/>
                    <a:pt x="1636" y="1766"/>
                    <a:pt x="1636" y="1766"/>
                  </a:cubicBezTo>
                  <a:cubicBezTo>
                    <a:pt x="1636" y="1811"/>
                    <a:pt x="1636" y="1811"/>
                    <a:pt x="1636" y="1811"/>
                  </a:cubicBezTo>
                  <a:close/>
                  <a:moveTo>
                    <a:pt x="1649" y="1811"/>
                  </a:moveTo>
                  <a:cubicBezTo>
                    <a:pt x="1657" y="1811"/>
                    <a:pt x="1657" y="1811"/>
                    <a:pt x="1657" y="1811"/>
                  </a:cubicBezTo>
                  <a:cubicBezTo>
                    <a:pt x="1657" y="1766"/>
                    <a:pt x="1657" y="1766"/>
                    <a:pt x="1657" y="1766"/>
                  </a:cubicBezTo>
                  <a:cubicBezTo>
                    <a:pt x="1649" y="1766"/>
                    <a:pt x="1649" y="1766"/>
                    <a:pt x="1649" y="1766"/>
                  </a:cubicBezTo>
                  <a:cubicBezTo>
                    <a:pt x="1649" y="1811"/>
                    <a:pt x="1649" y="1811"/>
                    <a:pt x="1649" y="1811"/>
                  </a:cubicBezTo>
                  <a:close/>
                  <a:moveTo>
                    <a:pt x="1662" y="1811"/>
                  </a:moveTo>
                  <a:cubicBezTo>
                    <a:pt x="1670" y="1811"/>
                    <a:pt x="1670" y="1811"/>
                    <a:pt x="1670" y="1811"/>
                  </a:cubicBezTo>
                  <a:cubicBezTo>
                    <a:pt x="1670" y="1766"/>
                    <a:pt x="1670" y="1766"/>
                    <a:pt x="1670" y="1766"/>
                  </a:cubicBezTo>
                  <a:cubicBezTo>
                    <a:pt x="1662" y="1766"/>
                    <a:pt x="1662" y="1766"/>
                    <a:pt x="1662" y="1766"/>
                  </a:cubicBezTo>
                  <a:cubicBezTo>
                    <a:pt x="1662" y="1811"/>
                    <a:pt x="1662" y="1811"/>
                    <a:pt x="1662" y="1811"/>
                  </a:cubicBezTo>
                  <a:close/>
                  <a:moveTo>
                    <a:pt x="1675" y="1811"/>
                  </a:moveTo>
                  <a:cubicBezTo>
                    <a:pt x="1683" y="1811"/>
                    <a:pt x="1683" y="1811"/>
                    <a:pt x="1683" y="1811"/>
                  </a:cubicBezTo>
                  <a:cubicBezTo>
                    <a:pt x="1683" y="1766"/>
                    <a:pt x="1683" y="1766"/>
                    <a:pt x="1683" y="1766"/>
                  </a:cubicBezTo>
                  <a:cubicBezTo>
                    <a:pt x="1675" y="1766"/>
                    <a:pt x="1675" y="1766"/>
                    <a:pt x="1675" y="1766"/>
                  </a:cubicBezTo>
                  <a:cubicBezTo>
                    <a:pt x="1675" y="1811"/>
                    <a:pt x="1675" y="1811"/>
                    <a:pt x="1675" y="1811"/>
                  </a:cubicBezTo>
                  <a:close/>
                  <a:moveTo>
                    <a:pt x="1688" y="1811"/>
                  </a:moveTo>
                  <a:cubicBezTo>
                    <a:pt x="1695" y="1811"/>
                    <a:pt x="1695" y="1811"/>
                    <a:pt x="1695" y="1811"/>
                  </a:cubicBezTo>
                  <a:cubicBezTo>
                    <a:pt x="1695" y="1766"/>
                    <a:pt x="1695" y="1766"/>
                    <a:pt x="1695" y="1766"/>
                  </a:cubicBezTo>
                  <a:cubicBezTo>
                    <a:pt x="1688" y="1766"/>
                    <a:pt x="1688" y="1766"/>
                    <a:pt x="1688" y="1766"/>
                  </a:cubicBezTo>
                  <a:cubicBezTo>
                    <a:pt x="1688" y="1811"/>
                    <a:pt x="1688" y="1811"/>
                    <a:pt x="1688" y="1811"/>
                  </a:cubicBezTo>
                  <a:close/>
                  <a:moveTo>
                    <a:pt x="1701" y="1811"/>
                  </a:moveTo>
                  <a:cubicBezTo>
                    <a:pt x="1708" y="1811"/>
                    <a:pt x="1708" y="1811"/>
                    <a:pt x="1708" y="1811"/>
                  </a:cubicBezTo>
                  <a:cubicBezTo>
                    <a:pt x="1708" y="1766"/>
                    <a:pt x="1708" y="1766"/>
                    <a:pt x="1708" y="1766"/>
                  </a:cubicBezTo>
                  <a:cubicBezTo>
                    <a:pt x="1701" y="1766"/>
                    <a:pt x="1701" y="1766"/>
                    <a:pt x="1701" y="1766"/>
                  </a:cubicBezTo>
                  <a:cubicBezTo>
                    <a:pt x="1701" y="1811"/>
                    <a:pt x="1701" y="1811"/>
                    <a:pt x="1701" y="1811"/>
                  </a:cubicBezTo>
                  <a:close/>
                  <a:moveTo>
                    <a:pt x="1714" y="1811"/>
                  </a:moveTo>
                  <a:cubicBezTo>
                    <a:pt x="1721" y="1811"/>
                    <a:pt x="1721" y="1811"/>
                    <a:pt x="1721" y="1811"/>
                  </a:cubicBezTo>
                  <a:cubicBezTo>
                    <a:pt x="1721" y="1766"/>
                    <a:pt x="1721" y="1766"/>
                    <a:pt x="1721" y="1766"/>
                  </a:cubicBezTo>
                  <a:cubicBezTo>
                    <a:pt x="1714" y="1766"/>
                    <a:pt x="1714" y="1766"/>
                    <a:pt x="1714" y="1766"/>
                  </a:cubicBezTo>
                  <a:cubicBezTo>
                    <a:pt x="1714" y="1811"/>
                    <a:pt x="1714" y="1811"/>
                    <a:pt x="1714" y="1811"/>
                  </a:cubicBezTo>
                  <a:close/>
                  <a:moveTo>
                    <a:pt x="1727" y="1811"/>
                  </a:moveTo>
                  <a:cubicBezTo>
                    <a:pt x="1734" y="1811"/>
                    <a:pt x="1734" y="1811"/>
                    <a:pt x="1734" y="1811"/>
                  </a:cubicBezTo>
                  <a:cubicBezTo>
                    <a:pt x="1734" y="1766"/>
                    <a:pt x="1734" y="1766"/>
                    <a:pt x="1734" y="1766"/>
                  </a:cubicBezTo>
                  <a:cubicBezTo>
                    <a:pt x="1727" y="1766"/>
                    <a:pt x="1727" y="1766"/>
                    <a:pt x="1727" y="1766"/>
                  </a:cubicBezTo>
                  <a:cubicBezTo>
                    <a:pt x="1727" y="1811"/>
                    <a:pt x="1727" y="1811"/>
                    <a:pt x="1727" y="1811"/>
                  </a:cubicBezTo>
                  <a:close/>
                  <a:moveTo>
                    <a:pt x="1739" y="1811"/>
                  </a:moveTo>
                  <a:cubicBezTo>
                    <a:pt x="1747" y="1811"/>
                    <a:pt x="1747" y="1811"/>
                    <a:pt x="1747" y="1811"/>
                  </a:cubicBezTo>
                  <a:cubicBezTo>
                    <a:pt x="1747" y="1766"/>
                    <a:pt x="1747" y="1766"/>
                    <a:pt x="1747" y="1766"/>
                  </a:cubicBezTo>
                  <a:cubicBezTo>
                    <a:pt x="1739" y="1766"/>
                    <a:pt x="1739" y="1766"/>
                    <a:pt x="1739" y="1766"/>
                  </a:cubicBezTo>
                  <a:cubicBezTo>
                    <a:pt x="1739" y="1811"/>
                    <a:pt x="1739" y="1811"/>
                    <a:pt x="1739" y="1811"/>
                  </a:cubicBezTo>
                  <a:close/>
                  <a:moveTo>
                    <a:pt x="1752" y="1811"/>
                  </a:moveTo>
                  <a:cubicBezTo>
                    <a:pt x="1760" y="1811"/>
                    <a:pt x="1760" y="1811"/>
                    <a:pt x="1760" y="1811"/>
                  </a:cubicBezTo>
                  <a:cubicBezTo>
                    <a:pt x="1760" y="1766"/>
                    <a:pt x="1760" y="1766"/>
                    <a:pt x="1760" y="1766"/>
                  </a:cubicBezTo>
                  <a:cubicBezTo>
                    <a:pt x="1752" y="1766"/>
                    <a:pt x="1752" y="1766"/>
                    <a:pt x="1752" y="1766"/>
                  </a:cubicBezTo>
                  <a:cubicBezTo>
                    <a:pt x="1752" y="1811"/>
                    <a:pt x="1752" y="1811"/>
                    <a:pt x="1752" y="1811"/>
                  </a:cubicBezTo>
                  <a:close/>
                  <a:moveTo>
                    <a:pt x="1765" y="1811"/>
                  </a:moveTo>
                  <a:cubicBezTo>
                    <a:pt x="1773" y="1811"/>
                    <a:pt x="1773" y="1811"/>
                    <a:pt x="1773" y="1811"/>
                  </a:cubicBezTo>
                  <a:cubicBezTo>
                    <a:pt x="1773" y="1766"/>
                    <a:pt x="1773" y="1766"/>
                    <a:pt x="1773" y="1766"/>
                  </a:cubicBezTo>
                  <a:cubicBezTo>
                    <a:pt x="1765" y="1766"/>
                    <a:pt x="1765" y="1766"/>
                    <a:pt x="1765" y="1766"/>
                  </a:cubicBezTo>
                  <a:cubicBezTo>
                    <a:pt x="1765" y="1811"/>
                    <a:pt x="1765" y="1811"/>
                    <a:pt x="1765" y="1811"/>
                  </a:cubicBezTo>
                  <a:close/>
                  <a:moveTo>
                    <a:pt x="1778" y="1811"/>
                  </a:moveTo>
                  <a:cubicBezTo>
                    <a:pt x="1786" y="1811"/>
                    <a:pt x="1786" y="1811"/>
                    <a:pt x="1786" y="1811"/>
                  </a:cubicBezTo>
                  <a:cubicBezTo>
                    <a:pt x="1786" y="1766"/>
                    <a:pt x="1786" y="1766"/>
                    <a:pt x="1786" y="1766"/>
                  </a:cubicBezTo>
                  <a:cubicBezTo>
                    <a:pt x="1778" y="1766"/>
                    <a:pt x="1778" y="1766"/>
                    <a:pt x="1778" y="1766"/>
                  </a:cubicBezTo>
                  <a:cubicBezTo>
                    <a:pt x="1778" y="1811"/>
                    <a:pt x="1778" y="1811"/>
                    <a:pt x="1778" y="1811"/>
                  </a:cubicBezTo>
                  <a:close/>
                  <a:moveTo>
                    <a:pt x="1791" y="1811"/>
                  </a:moveTo>
                  <a:cubicBezTo>
                    <a:pt x="1798" y="1811"/>
                    <a:pt x="1798" y="1811"/>
                    <a:pt x="1798" y="1811"/>
                  </a:cubicBezTo>
                  <a:cubicBezTo>
                    <a:pt x="1798" y="1766"/>
                    <a:pt x="1798" y="1766"/>
                    <a:pt x="1798" y="1766"/>
                  </a:cubicBezTo>
                  <a:cubicBezTo>
                    <a:pt x="1791" y="1766"/>
                    <a:pt x="1791" y="1766"/>
                    <a:pt x="1791" y="1766"/>
                  </a:cubicBezTo>
                  <a:cubicBezTo>
                    <a:pt x="1791" y="1811"/>
                    <a:pt x="1791" y="1811"/>
                    <a:pt x="1791" y="1811"/>
                  </a:cubicBezTo>
                  <a:close/>
                  <a:moveTo>
                    <a:pt x="1804" y="1811"/>
                  </a:moveTo>
                  <a:cubicBezTo>
                    <a:pt x="1811" y="1811"/>
                    <a:pt x="1811" y="1811"/>
                    <a:pt x="1811" y="1811"/>
                  </a:cubicBezTo>
                  <a:cubicBezTo>
                    <a:pt x="1811" y="1766"/>
                    <a:pt x="1811" y="1766"/>
                    <a:pt x="1811" y="1766"/>
                  </a:cubicBezTo>
                  <a:cubicBezTo>
                    <a:pt x="1804" y="1766"/>
                    <a:pt x="1804" y="1766"/>
                    <a:pt x="1804" y="1766"/>
                  </a:cubicBezTo>
                  <a:cubicBezTo>
                    <a:pt x="1804" y="1811"/>
                    <a:pt x="1804" y="1811"/>
                    <a:pt x="1804" y="1811"/>
                  </a:cubicBezTo>
                  <a:close/>
                  <a:moveTo>
                    <a:pt x="1817" y="1811"/>
                  </a:moveTo>
                  <a:cubicBezTo>
                    <a:pt x="1824" y="1811"/>
                    <a:pt x="1824" y="1811"/>
                    <a:pt x="1824" y="1811"/>
                  </a:cubicBezTo>
                  <a:cubicBezTo>
                    <a:pt x="1824" y="1766"/>
                    <a:pt x="1824" y="1766"/>
                    <a:pt x="1824" y="1766"/>
                  </a:cubicBezTo>
                  <a:cubicBezTo>
                    <a:pt x="1817" y="1766"/>
                    <a:pt x="1817" y="1766"/>
                    <a:pt x="1817" y="1766"/>
                  </a:cubicBezTo>
                  <a:cubicBezTo>
                    <a:pt x="1817" y="1811"/>
                    <a:pt x="1817" y="1811"/>
                    <a:pt x="1817" y="1811"/>
                  </a:cubicBezTo>
                  <a:close/>
                  <a:moveTo>
                    <a:pt x="1830" y="1811"/>
                  </a:moveTo>
                  <a:cubicBezTo>
                    <a:pt x="1837" y="1811"/>
                    <a:pt x="1837" y="1811"/>
                    <a:pt x="1837" y="1811"/>
                  </a:cubicBezTo>
                  <a:cubicBezTo>
                    <a:pt x="1837" y="1766"/>
                    <a:pt x="1837" y="1766"/>
                    <a:pt x="1837" y="1766"/>
                  </a:cubicBezTo>
                  <a:cubicBezTo>
                    <a:pt x="1830" y="1766"/>
                    <a:pt x="1830" y="1766"/>
                    <a:pt x="1830" y="1766"/>
                  </a:cubicBezTo>
                  <a:cubicBezTo>
                    <a:pt x="1830" y="1811"/>
                    <a:pt x="1830" y="1811"/>
                    <a:pt x="1830" y="1811"/>
                  </a:cubicBezTo>
                  <a:close/>
                  <a:moveTo>
                    <a:pt x="1842" y="1811"/>
                  </a:moveTo>
                  <a:cubicBezTo>
                    <a:pt x="1850" y="1811"/>
                    <a:pt x="1850" y="1811"/>
                    <a:pt x="1850" y="1811"/>
                  </a:cubicBezTo>
                  <a:cubicBezTo>
                    <a:pt x="1850" y="1687"/>
                    <a:pt x="1850" y="1687"/>
                    <a:pt x="1850" y="1687"/>
                  </a:cubicBezTo>
                  <a:cubicBezTo>
                    <a:pt x="1842" y="1687"/>
                    <a:pt x="1842" y="1687"/>
                    <a:pt x="1842" y="1687"/>
                  </a:cubicBezTo>
                  <a:cubicBezTo>
                    <a:pt x="1842" y="1811"/>
                    <a:pt x="1842" y="1811"/>
                    <a:pt x="1842" y="1811"/>
                  </a:cubicBezTo>
                  <a:close/>
                  <a:moveTo>
                    <a:pt x="1855" y="1811"/>
                  </a:moveTo>
                  <a:cubicBezTo>
                    <a:pt x="1863" y="1811"/>
                    <a:pt x="1863" y="1811"/>
                    <a:pt x="1863" y="1811"/>
                  </a:cubicBezTo>
                  <a:cubicBezTo>
                    <a:pt x="1863" y="1687"/>
                    <a:pt x="1863" y="1687"/>
                    <a:pt x="1863" y="1687"/>
                  </a:cubicBezTo>
                  <a:cubicBezTo>
                    <a:pt x="1855" y="1687"/>
                    <a:pt x="1855" y="1687"/>
                    <a:pt x="1855" y="1687"/>
                  </a:cubicBezTo>
                  <a:cubicBezTo>
                    <a:pt x="1855" y="1811"/>
                    <a:pt x="1855" y="1811"/>
                    <a:pt x="1855" y="1811"/>
                  </a:cubicBezTo>
                  <a:close/>
                  <a:moveTo>
                    <a:pt x="1868" y="1811"/>
                  </a:moveTo>
                  <a:cubicBezTo>
                    <a:pt x="1876" y="1811"/>
                    <a:pt x="1876" y="1811"/>
                    <a:pt x="1876" y="1811"/>
                  </a:cubicBezTo>
                  <a:cubicBezTo>
                    <a:pt x="1876" y="1687"/>
                    <a:pt x="1876" y="1687"/>
                    <a:pt x="1876" y="1687"/>
                  </a:cubicBezTo>
                  <a:cubicBezTo>
                    <a:pt x="1868" y="1687"/>
                    <a:pt x="1868" y="1687"/>
                    <a:pt x="1868" y="1687"/>
                  </a:cubicBezTo>
                  <a:cubicBezTo>
                    <a:pt x="1868" y="1811"/>
                    <a:pt x="1868" y="1811"/>
                    <a:pt x="1868" y="1811"/>
                  </a:cubicBezTo>
                  <a:close/>
                  <a:moveTo>
                    <a:pt x="1881" y="1811"/>
                  </a:moveTo>
                  <a:cubicBezTo>
                    <a:pt x="1889" y="1811"/>
                    <a:pt x="1889" y="1811"/>
                    <a:pt x="1889" y="1811"/>
                  </a:cubicBezTo>
                  <a:cubicBezTo>
                    <a:pt x="1889" y="1687"/>
                    <a:pt x="1889" y="1687"/>
                    <a:pt x="1889" y="1687"/>
                  </a:cubicBezTo>
                  <a:cubicBezTo>
                    <a:pt x="1881" y="1687"/>
                    <a:pt x="1881" y="1687"/>
                    <a:pt x="1881" y="1687"/>
                  </a:cubicBezTo>
                  <a:cubicBezTo>
                    <a:pt x="1881" y="1811"/>
                    <a:pt x="1881" y="1811"/>
                    <a:pt x="1881" y="1811"/>
                  </a:cubicBezTo>
                  <a:close/>
                  <a:moveTo>
                    <a:pt x="1894" y="1811"/>
                  </a:moveTo>
                  <a:cubicBezTo>
                    <a:pt x="1902" y="1811"/>
                    <a:pt x="1902" y="1811"/>
                    <a:pt x="1902" y="1811"/>
                  </a:cubicBezTo>
                  <a:cubicBezTo>
                    <a:pt x="1902" y="1687"/>
                    <a:pt x="1902" y="1687"/>
                    <a:pt x="1902" y="1687"/>
                  </a:cubicBezTo>
                  <a:cubicBezTo>
                    <a:pt x="1894" y="1687"/>
                    <a:pt x="1894" y="1687"/>
                    <a:pt x="1894" y="1687"/>
                  </a:cubicBezTo>
                  <a:cubicBezTo>
                    <a:pt x="1894" y="1811"/>
                    <a:pt x="1894" y="1811"/>
                    <a:pt x="1894" y="1811"/>
                  </a:cubicBezTo>
                  <a:close/>
                  <a:moveTo>
                    <a:pt x="1907" y="1811"/>
                  </a:moveTo>
                  <a:cubicBezTo>
                    <a:pt x="1914" y="1811"/>
                    <a:pt x="1914" y="1811"/>
                    <a:pt x="1914" y="1811"/>
                  </a:cubicBezTo>
                  <a:cubicBezTo>
                    <a:pt x="1914" y="1687"/>
                    <a:pt x="1914" y="1687"/>
                    <a:pt x="1914" y="1687"/>
                  </a:cubicBezTo>
                  <a:cubicBezTo>
                    <a:pt x="1907" y="1687"/>
                    <a:pt x="1907" y="1687"/>
                    <a:pt x="1907" y="1687"/>
                  </a:cubicBezTo>
                  <a:cubicBezTo>
                    <a:pt x="1907" y="1811"/>
                    <a:pt x="1907" y="1811"/>
                    <a:pt x="1907" y="1811"/>
                  </a:cubicBezTo>
                  <a:close/>
                  <a:moveTo>
                    <a:pt x="1920" y="1811"/>
                  </a:moveTo>
                  <a:cubicBezTo>
                    <a:pt x="1927" y="1811"/>
                    <a:pt x="1927" y="1811"/>
                    <a:pt x="1927" y="1811"/>
                  </a:cubicBezTo>
                  <a:cubicBezTo>
                    <a:pt x="1927" y="1687"/>
                    <a:pt x="1927" y="1687"/>
                    <a:pt x="1927" y="1687"/>
                  </a:cubicBezTo>
                  <a:cubicBezTo>
                    <a:pt x="1920" y="1687"/>
                    <a:pt x="1920" y="1687"/>
                    <a:pt x="1920" y="1687"/>
                  </a:cubicBezTo>
                  <a:cubicBezTo>
                    <a:pt x="1920" y="1811"/>
                    <a:pt x="1920" y="1811"/>
                    <a:pt x="1920" y="1811"/>
                  </a:cubicBezTo>
                  <a:close/>
                  <a:moveTo>
                    <a:pt x="1933" y="1811"/>
                  </a:moveTo>
                  <a:cubicBezTo>
                    <a:pt x="1940" y="1811"/>
                    <a:pt x="1940" y="1811"/>
                    <a:pt x="1940" y="1811"/>
                  </a:cubicBezTo>
                  <a:cubicBezTo>
                    <a:pt x="1940" y="1687"/>
                    <a:pt x="1940" y="1687"/>
                    <a:pt x="1940" y="1687"/>
                  </a:cubicBezTo>
                  <a:cubicBezTo>
                    <a:pt x="1933" y="1687"/>
                    <a:pt x="1933" y="1687"/>
                    <a:pt x="1933" y="1687"/>
                  </a:cubicBezTo>
                  <a:cubicBezTo>
                    <a:pt x="1933" y="1811"/>
                    <a:pt x="1933" y="1811"/>
                    <a:pt x="1933" y="1811"/>
                  </a:cubicBezTo>
                  <a:close/>
                  <a:moveTo>
                    <a:pt x="1946" y="1811"/>
                  </a:moveTo>
                  <a:cubicBezTo>
                    <a:pt x="1953" y="1811"/>
                    <a:pt x="1953" y="1811"/>
                    <a:pt x="1953" y="1811"/>
                  </a:cubicBezTo>
                  <a:cubicBezTo>
                    <a:pt x="1953" y="1687"/>
                    <a:pt x="1953" y="1687"/>
                    <a:pt x="1953" y="1687"/>
                  </a:cubicBezTo>
                  <a:cubicBezTo>
                    <a:pt x="1946" y="1687"/>
                    <a:pt x="1946" y="1687"/>
                    <a:pt x="1946" y="1687"/>
                  </a:cubicBezTo>
                  <a:cubicBezTo>
                    <a:pt x="1946" y="1811"/>
                    <a:pt x="1946" y="1811"/>
                    <a:pt x="1946" y="1811"/>
                  </a:cubicBezTo>
                  <a:close/>
                  <a:moveTo>
                    <a:pt x="1958" y="1811"/>
                  </a:moveTo>
                  <a:cubicBezTo>
                    <a:pt x="1966" y="1811"/>
                    <a:pt x="1966" y="1811"/>
                    <a:pt x="1966" y="1811"/>
                  </a:cubicBezTo>
                  <a:cubicBezTo>
                    <a:pt x="1966" y="1687"/>
                    <a:pt x="1966" y="1687"/>
                    <a:pt x="1966" y="1687"/>
                  </a:cubicBezTo>
                  <a:cubicBezTo>
                    <a:pt x="1958" y="1687"/>
                    <a:pt x="1958" y="1687"/>
                    <a:pt x="1958" y="1687"/>
                  </a:cubicBezTo>
                  <a:cubicBezTo>
                    <a:pt x="1958" y="1811"/>
                    <a:pt x="1958" y="1811"/>
                    <a:pt x="1958" y="1811"/>
                  </a:cubicBezTo>
                  <a:close/>
                  <a:moveTo>
                    <a:pt x="1970" y="1811"/>
                  </a:moveTo>
                  <a:cubicBezTo>
                    <a:pt x="2087" y="1811"/>
                    <a:pt x="2087" y="1811"/>
                    <a:pt x="2087" y="1811"/>
                  </a:cubicBezTo>
                  <a:cubicBezTo>
                    <a:pt x="2097" y="1797"/>
                    <a:pt x="2107" y="1782"/>
                    <a:pt x="2116" y="1767"/>
                  </a:cubicBezTo>
                  <a:cubicBezTo>
                    <a:pt x="1970" y="1767"/>
                    <a:pt x="1970" y="1767"/>
                    <a:pt x="1970" y="1767"/>
                  </a:cubicBezTo>
                  <a:cubicBezTo>
                    <a:pt x="1970" y="1811"/>
                    <a:pt x="1970" y="1811"/>
                    <a:pt x="1970" y="1811"/>
                  </a:cubicBezTo>
                  <a:close/>
                  <a:moveTo>
                    <a:pt x="1116" y="1931"/>
                  </a:moveTo>
                  <a:cubicBezTo>
                    <a:pt x="1116" y="1953"/>
                    <a:pt x="1116" y="1953"/>
                    <a:pt x="1116" y="1953"/>
                  </a:cubicBezTo>
                  <a:cubicBezTo>
                    <a:pt x="1166" y="1953"/>
                    <a:pt x="1166" y="1953"/>
                    <a:pt x="1166" y="1953"/>
                  </a:cubicBezTo>
                  <a:cubicBezTo>
                    <a:pt x="1166" y="1931"/>
                    <a:pt x="1166" y="1931"/>
                    <a:pt x="1166" y="1931"/>
                  </a:cubicBezTo>
                  <a:cubicBezTo>
                    <a:pt x="1116" y="1931"/>
                    <a:pt x="1116" y="1931"/>
                    <a:pt x="1116" y="1931"/>
                  </a:cubicBezTo>
                  <a:close/>
                  <a:moveTo>
                    <a:pt x="1121" y="1937"/>
                  </a:moveTo>
                  <a:cubicBezTo>
                    <a:pt x="1121" y="1945"/>
                    <a:pt x="1121" y="1945"/>
                    <a:pt x="1121" y="1945"/>
                  </a:cubicBezTo>
                  <a:cubicBezTo>
                    <a:pt x="1160" y="1945"/>
                    <a:pt x="1160" y="1945"/>
                    <a:pt x="1160" y="1945"/>
                  </a:cubicBezTo>
                  <a:cubicBezTo>
                    <a:pt x="1160" y="1937"/>
                    <a:pt x="1160" y="1937"/>
                    <a:pt x="1160" y="1937"/>
                  </a:cubicBezTo>
                  <a:cubicBezTo>
                    <a:pt x="1121" y="1937"/>
                    <a:pt x="1121" y="1937"/>
                    <a:pt x="1121" y="1937"/>
                  </a:cubicBezTo>
                  <a:close/>
                  <a:moveTo>
                    <a:pt x="1116" y="1904"/>
                  </a:moveTo>
                  <a:cubicBezTo>
                    <a:pt x="1116" y="1925"/>
                    <a:pt x="1116" y="1925"/>
                    <a:pt x="1116" y="1925"/>
                  </a:cubicBezTo>
                  <a:cubicBezTo>
                    <a:pt x="1166" y="1925"/>
                    <a:pt x="1166" y="1925"/>
                    <a:pt x="1166" y="1925"/>
                  </a:cubicBezTo>
                  <a:cubicBezTo>
                    <a:pt x="1166" y="1904"/>
                    <a:pt x="1166" y="1904"/>
                    <a:pt x="1166" y="1904"/>
                  </a:cubicBezTo>
                  <a:cubicBezTo>
                    <a:pt x="1116" y="1904"/>
                    <a:pt x="1116" y="1904"/>
                    <a:pt x="1116" y="1904"/>
                  </a:cubicBezTo>
                  <a:close/>
                  <a:moveTo>
                    <a:pt x="1121" y="1909"/>
                  </a:moveTo>
                  <a:cubicBezTo>
                    <a:pt x="1121" y="1918"/>
                    <a:pt x="1121" y="1918"/>
                    <a:pt x="1121" y="1918"/>
                  </a:cubicBezTo>
                  <a:cubicBezTo>
                    <a:pt x="1160" y="1918"/>
                    <a:pt x="1160" y="1918"/>
                    <a:pt x="1160" y="1918"/>
                  </a:cubicBezTo>
                  <a:cubicBezTo>
                    <a:pt x="1160" y="1909"/>
                    <a:pt x="1160" y="1909"/>
                    <a:pt x="1160" y="1909"/>
                  </a:cubicBezTo>
                  <a:cubicBezTo>
                    <a:pt x="1121" y="1909"/>
                    <a:pt x="1121" y="1909"/>
                    <a:pt x="1121" y="1909"/>
                  </a:cubicBezTo>
                  <a:close/>
                  <a:moveTo>
                    <a:pt x="976" y="1937"/>
                  </a:moveTo>
                  <a:cubicBezTo>
                    <a:pt x="976" y="1945"/>
                    <a:pt x="976" y="1945"/>
                    <a:pt x="976" y="1945"/>
                  </a:cubicBezTo>
                  <a:cubicBezTo>
                    <a:pt x="1090" y="1945"/>
                    <a:pt x="1090" y="1945"/>
                    <a:pt x="1090" y="1945"/>
                  </a:cubicBezTo>
                  <a:cubicBezTo>
                    <a:pt x="1090" y="1937"/>
                    <a:pt x="1090" y="1937"/>
                    <a:pt x="1090" y="1937"/>
                  </a:cubicBezTo>
                  <a:cubicBezTo>
                    <a:pt x="976" y="1937"/>
                    <a:pt x="976" y="1937"/>
                    <a:pt x="976" y="1937"/>
                  </a:cubicBezTo>
                  <a:close/>
                  <a:moveTo>
                    <a:pt x="976" y="1911"/>
                  </a:moveTo>
                  <a:cubicBezTo>
                    <a:pt x="976" y="1918"/>
                    <a:pt x="976" y="1918"/>
                    <a:pt x="976" y="1918"/>
                  </a:cubicBezTo>
                  <a:cubicBezTo>
                    <a:pt x="1091" y="1918"/>
                    <a:pt x="1091" y="1918"/>
                    <a:pt x="1091" y="1918"/>
                  </a:cubicBezTo>
                  <a:cubicBezTo>
                    <a:pt x="1091" y="1911"/>
                    <a:pt x="1091" y="1911"/>
                    <a:pt x="1091" y="1911"/>
                  </a:cubicBezTo>
                  <a:cubicBezTo>
                    <a:pt x="976" y="1911"/>
                    <a:pt x="976" y="1911"/>
                    <a:pt x="976" y="1911"/>
                  </a:cubicBezTo>
                  <a:close/>
                  <a:moveTo>
                    <a:pt x="953" y="1878"/>
                  </a:moveTo>
                  <a:cubicBezTo>
                    <a:pt x="953" y="1887"/>
                    <a:pt x="953" y="1887"/>
                    <a:pt x="953" y="1887"/>
                  </a:cubicBezTo>
                  <a:cubicBezTo>
                    <a:pt x="1090" y="1887"/>
                    <a:pt x="1090" y="1887"/>
                    <a:pt x="1090" y="1887"/>
                  </a:cubicBezTo>
                  <a:cubicBezTo>
                    <a:pt x="1090" y="1878"/>
                    <a:pt x="1090" y="1878"/>
                    <a:pt x="1090" y="1878"/>
                  </a:cubicBezTo>
                  <a:cubicBezTo>
                    <a:pt x="953" y="1878"/>
                    <a:pt x="953" y="1878"/>
                    <a:pt x="953" y="1878"/>
                  </a:cubicBezTo>
                  <a:close/>
                  <a:moveTo>
                    <a:pt x="952" y="1852"/>
                  </a:moveTo>
                  <a:cubicBezTo>
                    <a:pt x="952" y="1860"/>
                    <a:pt x="952" y="1860"/>
                    <a:pt x="952" y="1860"/>
                  </a:cubicBezTo>
                  <a:cubicBezTo>
                    <a:pt x="1090" y="1860"/>
                    <a:pt x="1090" y="1860"/>
                    <a:pt x="1090" y="1860"/>
                  </a:cubicBezTo>
                  <a:cubicBezTo>
                    <a:pt x="1090" y="1852"/>
                    <a:pt x="1090" y="1852"/>
                    <a:pt x="1090" y="1852"/>
                  </a:cubicBezTo>
                  <a:cubicBezTo>
                    <a:pt x="952" y="1852"/>
                    <a:pt x="952" y="1852"/>
                    <a:pt x="952" y="1852"/>
                  </a:cubicBezTo>
                  <a:close/>
                  <a:moveTo>
                    <a:pt x="951" y="1824"/>
                  </a:moveTo>
                  <a:cubicBezTo>
                    <a:pt x="951" y="1832"/>
                    <a:pt x="951" y="1832"/>
                    <a:pt x="951" y="1832"/>
                  </a:cubicBezTo>
                  <a:cubicBezTo>
                    <a:pt x="1090" y="1832"/>
                    <a:pt x="1090" y="1832"/>
                    <a:pt x="1090" y="1832"/>
                  </a:cubicBezTo>
                  <a:cubicBezTo>
                    <a:pt x="1090" y="1824"/>
                    <a:pt x="1090" y="1824"/>
                    <a:pt x="1090" y="1824"/>
                  </a:cubicBezTo>
                  <a:cubicBezTo>
                    <a:pt x="951" y="1824"/>
                    <a:pt x="951" y="1824"/>
                    <a:pt x="951" y="1824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772" y="1835"/>
                  </a:moveTo>
                  <a:cubicBezTo>
                    <a:pt x="772" y="1887"/>
                    <a:pt x="772" y="1887"/>
                    <a:pt x="772" y="1887"/>
                  </a:cubicBezTo>
                  <a:cubicBezTo>
                    <a:pt x="945" y="1887"/>
                    <a:pt x="945" y="1887"/>
                    <a:pt x="945" y="1887"/>
                  </a:cubicBezTo>
                  <a:cubicBezTo>
                    <a:pt x="945" y="1835"/>
                    <a:pt x="945" y="1835"/>
                    <a:pt x="945" y="1835"/>
                  </a:cubicBezTo>
                  <a:cubicBezTo>
                    <a:pt x="772" y="1835"/>
                    <a:pt x="772" y="1835"/>
                    <a:pt x="772" y="1835"/>
                  </a:cubicBezTo>
                  <a:close/>
                  <a:moveTo>
                    <a:pt x="782" y="1893"/>
                  </a:moveTo>
                  <a:cubicBezTo>
                    <a:pt x="766" y="1894"/>
                    <a:pt x="757" y="1900"/>
                    <a:pt x="757" y="1913"/>
                  </a:cubicBezTo>
                  <a:cubicBezTo>
                    <a:pt x="757" y="1944"/>
                    <a:pt x="757" y="1944"/>
                    <a:pt x="757" y="1944"/>
                  </a:cubicBezTo>
                  <a:cubicBezTo>
                    <a:pt x="969" y="1944"/>
                    <a:pt x="969" y="1944"/>
                    <a:pt x="969" y="1944"/>
                  </a:cubicBezTo>
                  <a:cubicBezTo>
                    <a:pt x="969" y="1917"/>
                    <a:pt x="969" y="1917"/>
                    <a:pt x="969" y="1917"/>
                  </a:cubicBezTo>
                  <a:cubicBezTo>
                    <a:pt x="963" y="1907"/>
                    <a:pt x="957" y="1898"/>
                    <a:pt x="942" y="1893"/>
                  </a:cubicBezTo>
                  <a:cubicBezTo>
                    <a:pt x="782" y="1893"/>
                    <a:pt x="782" y="1893"/>
                    <a:pt x="782" y="1893"/>
                  </a:cubicBezTo>
                  <a:close/>
                  <a:moveTo>
                    <a:pt x="1116" y="1850"/>
                  </a:moveTo>
                  <a:cubicBezTo>
                    <a:pt x="1116" y="1871"/>
                    <a:pt x="1116" y="1871"/>
                    <a:pt x="1116" y="1871"/>
                  </a:cubicBezTo>
                  <a:cubicBezTo>
                    <a:pt x="1166" y="1871"/>
                    <a:pt x="1166" y="1871"/>
                    <a:pt x="1166" y="1871"/>
                  </a:cubicBezTo>
                  <a:cubicBezTo>
                    <a:pt x="1166" y="1850"/>
                    <a:pt x="1166" y="1850"/>
                    <a:pt x="1166" y="1850"/>
                  </a:cubicBezTo>
                  <a:cubicBezTo>
                    <a:pt x="1116" y="1850"/>
                    <a:pt x="1116" y="1850"/>
                    <a:pt x="1116" y="1850"/>
                  </a:cubicBezTo>
                  <a:close/>
                  <a:moveTo>
                    <a:pt x="1121" y="1856"/>
                  </a:moveTo>
                  <a:cubicBezTo>
                    <a:pt x="1121" y="1864"/>
                    <a:pt x="1121" y="1864"/>
                    <a:pt x="1121" y="1864"/>
                  </a:cubicBezTo>
                  <a:cubicBezTo>
                    <a:pt x="1160" y="1864"/>
                    <a:pt x="1160" y="1864"/>
                    <a:pt x="1160" y="1864"/>
                  </a:cubicBezTo>
                  <a:cubicBezTo>
                    <a:pt x="1160" y="1856"/>
                    <a:pt x="1160" y="1856"/>
                    <a:pt x="1160" y="1856"/>
                  </a:cubicBezTo>
                  <a:cubicBezTo>
                    <a:pt x="1121" y="1856"/>
                    <a:pt x="1121" y="1856"/>
                    <a:pt x="1121" y="1856"/>
                  </a:cubicBezTo>
                  <a:close/>
                  <a:moveTo>
                    <a:pt x="1116" y="1876"/>
                  </a:moveTo>
                  <a:cubicBezTo>
                    <a:pt x="1116" y="1897"/>
                    <a:pt x="1116" y="1897"/>
                    <a:pt x="1116" y="1897"/>
                  </a:cubicBezTo>
                  <a:cubicBezTo>
                    <a:pt x="1166" y="1897"/>
                    <a:pt x="1166" y="1897"/>
                    <a:pt x="1166" y="1897"/>
                  </a:cubicBezTo>
                  <a:cubicBezTo>
                    <a:pt x="1166" y="1876"/>
                    <a:pt x="1166" y="1876"/>
                    <a:pt x="1166" y="1876"/>
                  </a:cubicBezTo>
                  <a:cubicBezTo>
                    <a:pt x="1116" y="1876"/>
                    <a:pt x="1116" y="1876"/>
                    <a:pt x="1116" y="1876"/>
                  </a:cubicBezTo>
                  <a:close/>
                  <a:moveTo>
                    <a:pt x="1121" y="1881"/>
                  </a:moveTo>
                  <a:cubicBezTo>
                    <a:pt x="1121" y="1890"/>
                    <a:pt x="1121" y="1890"/>
                    <a:pt x="1121" y="1890"/>
                  </a:cubicBezTo>
                  <a:cubicBezTo>
                    <a:pt x="1160" y="1890"/>
                    <a:pt x="1160" y="1890"/>
                    <a:pt x="1160" y="1890"/>
                  </a:cubicBezTo>
                  <a:cubicBezTo>
                    <a:pt x="1160" y="1881"/>
                    <a:pt x="1160" y="1881"/>
                    <a:pt x="1160" y="1881"/>
                  </a:cubicBezTo>
                  <a:cubicBezTo>
                    <a:pt x="1121" y="1881"/>
                    <a:pt x="1121" y="1881"/>
                    <a:pt x="1121" y="1881"/>
                  </a:cubicBezTo>
                  <a:close/>
                  <a:moveTo>
                    <a:pt x="1116" y="1823"/>
                  </a:moveTo>
                  <a:cubicBezTo>
                    <a:pt x="1116" y="1844"/>
                    <a:pt x="1116" y="1844"/>
                    <a:pt x="1116" y="1844"/>
                  </a:cubicBezTo>
                  <a:cubicBezTo>
                    <a:pt x="1166" y="1844"/>
                    <a:pt x="1166" y="1844"/>
                    <a:pt x="1166" y="1844"/>
                  </a:cubicBezTo>
                  <a:cubicBezTo>
                    <a:pt x="1166" y="1823"/>
                    <a:pt x="1166" y="1823"/>
                    <a:pt x="1166" y="1823"/>
                  </a:cubicBezTo>
                  <a:cubicBezTo>
                    <a:pt x="1116" y="1823"/>
                    <a:pt x="1116" y="1823"/>
                    <a:pt x="1116" y="1823"/>
                  </a:cubicBezTo>
                  <a:close/>
                  <a:moveTo>
                    <a:pt x="1121" y="1828"/>
                  </a:moveTo>
                  <a:cubicBezTo>
                    <a:pt x="1121" y="1837"/>
                    <a:pt x="1121" y="1837"/>
                    <a:pt x="1121" y="1837"/>
                  </a:cubicBezTo>
                  <a:cubicBezTo>
                    <a:pt x="1160" y="1837"/>
                    <a:pt x="1160" y="1837"/>
                    <a:pt x="1160" y="1837"/>
                  </a:cubicBezTo>
                  <a:cubicBezTo>
                    <a:pt x="1160" y="1828"/>
                    <a:pt x="1160" y="1828"/>
                    <a:pt x="1160" y="1828"/>
                  </a:cubicBezTo>
                  <a:cubicBezTo>
                    <a:pt x="1121" y="1828"/>
                    <a:pt x="1121" y="1828"/>
                    <a:pt x="1121" y="1828"/>
                  </a:cubicBezTo>
                  <a:close/>
                  <a:moveTo>
                    <a:pt x="1160" y="1803"/>
                  </a:moveTo>
                  <a:cubicBezTo>
                    <a:pt x="1121" y="1803"/>
                    <a:pt x="1121" y="1803"/>
                    <a:pt x="1121" y="1803"/>
                  </a:cubicBezTo>
                  <a:cubicBezTo>
                    <a:pt x="1121" y="1810"/>
                    <a:pt x="1121" y="1810"/>
                    <a:pt x="1121" y="1810"/>
                  </a:cubicBezTo>
                  <a:cubicBezTo>
                    <a:pt x="1160" y="1810"/>
                    <a:pt x="1160" y="1810"/>
                    <a:pt x="1160" y="1810"/>
                  </a:cubicBezTo>
                  <a:cubicBezTo>
                    <a:pt x="1160" y="1803"/>
                    <a:pt x="1160" y="1803"/>
                    <a:pt x="1160" y="1803"/>
                  </a:cubicBezTo>
                  <a:close/>
                  <a:moveTo>
                    <a:pt x="1992" y="1687"/>
                  </a:moveTo>
                  <a:cubicBezTo>
                    <a:pt x="1984" y="1687"/>
                    <a:pt x="1984" y="1687"/>
                    <a:pt x="1984" y="1687"/>
                  </a:cubicBezTo>
                  <a:cubicBezTo>
                    <a:pt x="1984" y="1744"/>
                    <a:pt x="1984" y="1744"/>
                    <a:pt x="1984" y="1744"/>
                  </a:cubicBezTo>
                  <a:cubicBezTo>
                    <a:pt x="1992" y="1736"/>
                    <a:pt x="1992" y="1736"/>
                    <a:pt x="1992" y="1736"/>
                  </a:cubicBezTo>
                  <a:cubicBezTo>
                    <a:pt x="1992" y="1687"/>
                    <a:pt x="1992" y="1687"/>
                    <a:pt x="1992" y="1687"/>
                  </a:cubicBezTo>
                  <a:close/>
                  <a:moveTo>
                    <a:pt x="1979" y="1687"/>
                  </a:moveTo>
                  <a:cubicBezTo>
                    <a:pt x="1971" y="1687"/>
                    <a:pt x="1971" y="1687"/>
                    <a:pt x="1971" y="1687"/>
                  </a:cubicBezTo>
                  <a:cubicBezTo>
                    <a:pt x="1971" y="1760"/>
                    <a:pt x="1971" y="1760"/>
                    <a:pt x="1971" y="1760"/>
                  </a:cubicBezTo>
                  <a:cubicBezTo>
                    <a:pt x="1979" y="1760"/>
                    <a:pt x="1979" y="1760"/>
                    <a:pt x="1979" y="1760"/>
                  </a:cubicBezTo>
                  <a:cubicBezTo>
                    <a:pt x="1979" y="1687"/>
                    <a:pt x="1979" y="1687"/>
                    <a:pt x="1979" y="1687"/>
                  </a:cubicBezTo>
                  <a:close/>
                  <a:moveTo>
                    <a:pt x="2103" y="1731"/>
                  </a:moveTo>
                  <a:cubicBezTo>
                    <a:pt x="2003" y="1731"/>
                    <a:pt x="2003" y="1731"/>
                    <a:pt x="2003" y="1731"/>
                  </a:cubicBezTo>
                  <a:cubicBezTo>
                    <a:pt x="1983" y="1760"/>
                    <a:pt x="1983" y="1760"/>
                    <a:pt x="1983" y="1760"/>
                  </a:cubicBezTo>
                  <a:cubicBezTo>
                    <a:pt x="2121" y="1760"/>
                    <a:pt x="2121" y="1760"/>
                    <a:pt x="2121" y="1760"/>
                  </a:cubicBezTo>
                  <a:cubicBezTo>
                    <a:pt x="2122" y="1758"/>
                    <a:pt x="2123" y="1757"/>
                    <a:pt x="2124" y="1755"/>
                  </a:cubicBezTo>
                  <a:cubicBezTo>
                    <a:pt x="2103" y="1731"/>
                    <a:pt x="2103" y="1731"/>
                    <a:pt x="2103" y="1731"/>
                  </a:cubicBezTo>
                  <a:close/>
                  <a:moveTo>
                    <a:pt x="2020" y="1622"/>
                  </a:moveTo>
                  <a:cubicBezTo>
                    <a:pt x="1999" y="1622"/>
                    <a:pt x="1999" y="1622"/>
                    <a:pt x="1999" y="1622"/>
                  </a:cubicBezTo>
                  <a:cubicBezTo>
                    <a:pt x="1999" y="1724"/>
                    <a:pt x="1999" y="1724"/>
                    <a:pt x="1999" y="1724"/>
                  </a:cubicBezTo>
                  <a:cubicBezTo>
                    <a:pt x="2020" y="1724"/>
                    <a:pt x="2020" y="1724"/>
                    <a:pt x="2020" y="1724"/>
                  </a:cubicBezTo>
                  <a:cubicBezTo>
                    <a:pt x="2020" y="1622"/>
                    <a:pt x="2020" y="1622"/>
                    <a:pt x="2020" y="1622"/>
                  </a:cubicBezTo>
                  <a:close/>
                  <a:moveTo>
                    <a:pt x="2104" y="1622"/>
                  </a:moveTo>
                  <a:cubicBezTo>
                    <a:pt x="2082" y="1622"/>
                    <a:pt x="2082" y="1622"/>
                    <a:pt x="2082" y="1622"/>
                  </a:cubicBezTo>
                  <a:cubicBezTo>
                    <a:pt x="2082" y="1724"/>
                    <a:pt x="2082" y="1724"/>
                    <a:pt x="2082" y="1724"/>
                  </a:cubicBezTo>
                  <a:cubicBezTo>
                    <a:pt x="2104" y="1724"/>
                    <a:pt x="2104" y="1724"/>
                    <a:pt x="2104" y="1724"/>
                  </a:cubicBezTo>
                  <a:cubicBezTo>
                    <a:pt x="2104" y="1622"/>
                    <a:pt x="2104" y="1622"/>
                    <a:pt x="2104" y="1622"/>
                  </a:cubicBezTo>
                  <a:close/>
                  <a:moveTo>
                    <a:pt x="2088" y="1581"/>
                  </a:moveTo>
                  <a:cubicBezTo>
                    <a:pt x="2010" y="1581"/>
                    <a:pt x="2010" y="1581"/>
                    <a:pt x="2010" y="1581"/>
                  </a:cubicBezTo>
                  <a:cubicBezTo>
                    <a:pt x="2010" y="1615"/>
                    <a:pt x="2010" y="1615"/>
                    <a:pt x="2010" y="1615"/>
                  </a:cubicBezTo>
                  <a:cubicBezTo>
                    <a:pt x="2026" y="1615"/>
                    <a:pt x="2026" y="1615"/>
                    <a:pt x="2026" y="1615"/>
                  </a:cubicBezTo>
                  <a:cubicBezTo>
                    <a:pt x="2026" y="1638"/>
                    <a:pt x="2026" y="1638"/>
                    <a:pt x="2026" y="1638"/>
                  </a:cubicBezTo>
                  <a:cubicBezTo>
                    <a:pt x="2072" y="1638"/>
                    <a:pt x="2072" y="1638"/>
                    <a:pt x="2072" y="1638"/>
                  </a:cubicBezTo>
                  <a:cubicBezTo>
                    <a:pt x="2072" y="1615"/>
                    <a:pt x="2072" y="1615"/>
                    <a:pt x="2072" y="1615"/>
                  </a:cubicBezTo>
                  <a:cubicBezTo>
                    <a:pt x="2088" y="1615"/>
                    <a:pt x="2088" y="1615"/>
                    <a:pt x="2088" y="1615"/>
                  </a:cubicBezTo>
                  <a:cubicBezTo>
                    <a:pt x="2088" y="1581"/>
                    <a:pt x="2088" y="1581"/>
                    <a:pt x="2088" y="1581"/>
                  </a:cubicBezTo>
                  <a:close/>
                  <a:moveTo>
                    <a:pt x="369" y="1687"/>
                  </a:moveTo>
                  <a:cubicBezTo>
                    <a:pt x="369" y="1736"/>
                    <a:pt x="369" y="1736"/>
                    <a:pt x="369" y="1736"/>
                  </a:cubicBezTo>
                  <a:cubicBezTo>
                    <a:pt x="376" y="1744"/>
                    <a:pt x="376" y="1744"/>
                    <a:pt x="376" y="1744"/>
                  </a:cubicBezTo>
                  <a:cubicBezTo>
                    <a:pt x="376" y="1687"/>
                    <a:pt x="376" y="1687"/>
                    <a:pt x="376" y="1687"/>
                  </a:cubicBezTo>
                  <a:cubicBezTo>
                    <a:pt x="369" y="1687"/>
                    <a:pt x="369" y="1687"/>
                    <a:pt x="369" y="1687"/>
                  </a:cubicBezTo>
                  <a:close/>
                  <a:moveTo>
                    <a:pt x="382" y="1687"/>
                  </a:moveTo>
                  <a:cubicBezTo>
                    <a:pt x="382" y="1760"/>
                    <a:pt x="382" y="1760"/>
                    <a:pt x="382" y="1760"/>
                  </a:cubicBezTo>
                  <a:cubicBezTo>
                    <a:pt x="389" y="1760"/>
                    <a:pt x="389" y="1760"/>
                    <a:pt x="389" y="1760"/>
                  </a:cubicBezTo>
                  <a:cubicBezTo>
                    <a:pt x="389" y="1687"/>
                    <a:pt x="389" y="1687"/>
                    <a:pt x="389" y="1687"/>
                  </a:cubicBezTo>
                  <a:cubicBezTo>
                    <a:pt x="382" y="1687"/>
                    <a:pt x="382" y="1687"/>
                    <a:pt x="382" y="1687"/>
                  </a:cubicBezTo>
                  <a:close/>
                  <a:moveTo>
                    <a:pt x="257" y="1731"/>
                  </a:moveTo>
                  <a:cubicBezTo>
                    <a:pt x="233" y="1760"/>
                    <a:pt x="233" y="1760"/>
                    <a:pt x="233" y="1760"/>
                  </a:cubicBezTo>
                  <a:cubicBezTo>
                    <a:pt x="377" y="1760"/>
                    <a:pt x="377" y="1760"/>
                    <a:pt x="377" y="1760"/>
                  </a:cubicBezTo>
                  <a:cubicBezTo>
                    <a:pt x="358" y="1731"/>
                    <a:pt x="358" y="1731"/>
                    <a:pt x="358" y="1731"/>
                  </a:cubicBezTo>
                  <a:cubicBezTo>
                    <a:pt x="257" y="1731"/>
                    <a:pt x="257" y="1731"/>
                    <a:pt x="257" y="1731"/>
                  </a:cubicBezTo>
                  <a:close/>
                  <a:moveTo>
                    <a:pt x="340" y="1622"/>
                  </a:moveTo>
                  <a:cubicBezTo>
                    <a:pt x="340" y="1724"/>
                    <a:pt x="340" y="1724"/>
                    <a:pt x="340" y="1724"/>
                  </a:cubicBezTo>
                  <a:cubicBezTo>
                    <a:pt x="362" y="1724"/>
                    <a:pt x="362" y="1724"/>
                    <a:pt x="362" y="1724"/>
                  </a:cubicBezTo>
                  <a:cubicBezTo>
                    <a:pt x="362" y="1622"/>
                    <a:pt x="362" y="1622"/>
                    <a:pt x="362" y="1622"/>
                  </a:cubicBezTo>
                  <a:cubicBezTo>
                    <a:pt x="340" y="1622"/>
                    <a:pt x="340" y="1622"/>
                    <a:pt x="340" y="1622"/>
                  </a:cubicBezTo>
                  <a:close/>
                  <a:moveTo>
                    <a:pt x="257" y="1622"/>
                  </a:moveTo>
                  <a:cubicBezTo>
                    <a:pt x="257" y="1724"/>
                    <a:pt x="257" y="1724"/>
                    <a:pt x="257" y="1724"/>
                  </a:cubicBezTo>
                  <a:cubicBezTo>
                    <a:pt x="279" y="1724"/>
                    <a:pt x="279" y="1724"/>
                    <a:pt x="279" y="1724"/>
                  </a:cubicBezTo>
                  <a:cubicBezTo>
                    <a:pt x="279" y="1622"/>
                    <a:pt x="279" y="1622"/>
                    <a:pt x="279" y="1622"/>
                  </a:cubicBezTo>
                  <a:cubicBezTo>
                    <a:pt x="257" y="1622"/>
                    <a:pt x="257" y="1622"/>
                    <a:pt x="257" y="1622"/>
                  </a:cubicBezTo>
                  <a:close/>
                  <a:moveTo>
                    <a:pt x="273" y="1581"/>
                  </a:moveTo>
                  <a:cubicBezTo>
                    <a:pt x="273" y="1615"/>
                    <a:pt x="273" y="1615"/>
                    <a:pt x="273" y="1615"/>
                  </a:cubicBezTo>
                  <a:cubicBezTo>
                    <a:pt x="289" y="1615"/>
                    <a:pt x="289" y="1615"/>
                    <a:pt x="289" y="1615"/>
                  </a:cubicBezTo>
                  <a:cubicBezTo>
                    <a:pt x="289" y="1638"/>
                    <a:pt x="289" y="1638"/>
                    <a:pt x="289" y="1638"/>
                  </a:cubicBezTo>
                  <a:cubicBezTo>
                    <a:pt x="334" y="1638"/>
                    <a:pt x="334" y="1638"/>
                    <a:pt x="334" y="1638"/>
                  </a:cubicBezTo>
                  <a:cubicBezTo>
                    <a:pt x="334" y="1615"/>
                    <a:pt x="334" y="1615"/>
                    <a:pt x="334" y="1615"/>
                  </a:cubicBezTo>
                  <a:cubicBezTo>
                    <a:pt x="350" y="1615"/>
                    <a:pt x="350" y="1615"/>
                    <a:pt x="350" y="1615"/>
                  </a:cubicBezTo>
                  <a:cubicBezTo>
                    <a:pt x="350" y="1581"/>
                    <a:pt x="350" y="1581"/>
                    <a:pt x="350" y="1581"/>
                  </a:cubicBezTo>
                  <a:cubicBezTo>
                    <a:pt x="273" y="1581"/>
                    <a:pt x="273" y="1581"/>
                    <a:pt x="273" y="1581"/>
                  </a:cubicBezTo>
                  <a:close/>
                  <a:moveTo>
                    <a:pt x="844" y="1797"/>
                  </a:moveTo>
                  <a:cubicBezTo>
                    <a:pt x="844" y="1762"/>
                    <a:pt x="844" y="1762"/>
                    <a:pt x="844" y="1762"/>
                  </a:cubicBezTo>
                  <a:cubicBezTo>
                    <a:pt x="891" y="1762"/>
                    <a:pt x="891" y="1762"/>
                    <a:pt x="891" y="1762"/>
                  </a:cubicBezTo>
                  <a:cubicBezTo>
                    <a:pt x="891" y="1797"/>
                    <a:pt x="891" y="1797"/>
                    <a:pt x="891" y="1797"/>
                  </a:cubicBezTo>
                  <a:cubicBezTo>
                    <a:pt x="844" y="1797"/>
                    <a:pt x="844" y="1797"/>
                    <a:pt x="844" y="1797"/>
                  </a:cubicBezTo>
                  <a:close/>
                  <a:moveTo>
                    <a:pt x="917" y="1797"/>
                  </a:moveTo>
                  <a:cubicBezTo>
                    <a:pt x="917" y="1762"/>
                    <a:pt x="917" y="1762"/>
                    <a:pt x="917" y="1762"/>
                  </a:cubicBezTo>
                  <a:cubicBezTo>
                    <a:pt x="970" y="1762"/>
                    <a:pt x="970" y="1762"/>
                    <a:pt x="970" y="1762"/>
                  </a:cubicBezTo>
                  <a:cubicBezTo>
                    <a:pt x="970" y="1797"/>
                    <a:pt x="970" y="1797"/>
                    <a:pt x="970" y="1797"/>
                  </a:cubicBezTo>
                  <a:cubicBezTo>
                    <a:pt x="917" y="1797"/>
                    <a:pt x="917" y="1797"/>
                    <a:pt x="917" y="1797"/>
                  </a:cubicBezTo>
                  <a:close/>
                  <a:moveTo>
                    <a:pt x="996" y="1797"/>
                  </a:moveTo>
                  <a:cubicBezTo>
                    <a:pt x="996" y="1759"/>
                    <a:pt x="996" y="1759"/>
                    <a:pt x="996" y="1759"/>
                  </a:cubicBezTo>
                  <a:cubicBezTo>
                    <a:pt x="1047" y="1759"/>
                    <a:pt x="1047" y="1759"/>
                    <a:pt x="1047" y="1759"/>
                  </a:cubicBezTo>
                  <a:cubicBezTo>
                    <a:pt x="1047" y="1797"/>
                    <a:pt x="1047" y="1797"/>
                    <a:pt x="1047" y="1797"/>
                  </a:cubicBezTo>
                  <a:cubicBezTo>
                    <a:pt x="996" y="1797"/>
                    <a:pt x="996" y="1797"/>
                    <a:pt x="996" y="1797"/>
                  </a:cubicBezTo>
                  <a:close/>
                  <a:moveTo>
                    <a:pt x="1315" y="1797"/>
                  </a:moveTo>
                  <a:cubicBezTo>
                    <a:pt x="1315" y="1759"/>
                    <a:pt x="1315" y="1759"/>
                    <a:pt x="1315" y="1759"/>
                  </a:cubicBezTo>
                  <a:cubicBezTo>
                    <a:pt x="1365" y="1759"/>
                    <a:pt x="1365" y="1759"/>
                    <a:pt x="1365" y="1759"/>
                  </a:cubicBezTo>
                  <a:cubicBezTo>
                    <a:pt x="1365" y="1797"/>
                    <a:pt x="1365" y="1797"/>
                    <a:pt x="1365" y="1797"/>
                  </a:cubicBezTo>
                  <a:cubicBezTo>
                    <a:pt x="1315" y="1797"/>
                    <a:pt x="1315" y="1797"/>
                    <a:pt x="1315" y="1797"/>
                  </a:cubicBezTo>
                  <a:close/>
                  <a:moveTo>
                    <a:pt x="1392" y="1797"/>
                  </a:moveTo>
                  <a:cubicBezTo>
                    <a:pt x="1392" y="1762"/>
                    <a:pt x="1392" y="1762"/>
                    <a:pt x="1392" y="1762"/>
                  </a:cubicBezTo>
                  <a:cubicBezTo>
                    <a:pt x="1444" y="1762"/>
                    <a:pt x="1444" y="1762"/>
                    <a:pt x="1444" y="1762"/>
                  </a:cubicBezTo>
                  <a:cubicBezTo>
                    <a:pt x="1444" y="1797"/>
                    <a:pt x="1444" y="1797"/>
                    <a:pt x="1444" y="1797"/>
                  </a:cubicBezTo>
                  <a:cubicBezTo>
                    <a:pt x="1392" y="1797"/>
                    <a:pt x="1392" y="1797"/>
                    <a:pt x="1392" y="1797"/>
                  </a:cubicBezTo>
                  <a:close/>
                  <a:moveTo>
                    <a:pt x="1471" y="1797"/>
                  </a:moveTo>
                  <a:cubicBezTo>
                    <a:pt x="1471" y="1762"/>
                    <a:pt x="1471" y="1762"/>
                    <a:pt x="1471" y="1762"/>
                  </a:cubicBezTo>
                  <a:cubicBezTo>
                    <a:pt x="1517" y="1762"/>
                    <a:pt x="1517" y="1762"/>
                    <a:pt x="1517" y="1762"/>
                  </a:cubicBezTo>
                  <a:cubicBezTo>
                    <a:pt x="1517" y="1797"/>
                    <a:pt x="1517" y="1797"/>
                    <a:pt x="1517" y="1797"/>
                  </a:cubicBezTo>
                  <a:cubicBezTo>
                    <a:pt x="1471" y="1797"/>
                    <a:pt x="1471" y="1797"/>
                    <a:pt x="1471" y="1797"/>
                  </a:cubicBezTo>
                  <a:close/>
                  <a:moveTo>
                    <a:pt x="1453" y="1280"/>
                  </a:moveTo>
                  <a:cubicBezTo>
                    <a:pt x="1452" y="1273"/>
                    <a:pt x="1452" y="1266"/>
                    <a:pt x="1452" y="1259"/>
                  </a:cubicBezTo>
                  <a:cubicBezTo>
                    <a:pt x="1478" y="1240"/>
                    <a:pt x="1502" y="1221"/>
                    <a:pt x="1522" y="1192"/>
                  </a:cubicBezTo>
                  <a:cubicBezTo>
                    <a:pt x="1540" y="1166"/>
                    <a:pt x="1558" y="1163"/>
                    <a:pt x="1576" y="1187"/>
                  </a:cubicBezTo>
                  <a:cubicBezTo>
                    <a:pt x="1591" y="1210"/>
                    <a:pt x="1605" y="1233"/>
                    <a:pt x="1620" y="1256"/>
                  </a:cubicBezTo>
                  <a:cubicBezTo>
                    <a:pt x="1636" y="1272"/>
                    <a:pt x="1662" y="1281"/>
                    <a:pt x="1688" y="1234"/>
                  </a:cubicBezTo>
                  <a:cubicBezTo>
                    <a:pt x="1699" y="1214"/>
                    <a:pt x="1707" y="1195"/>
                    <a:pt x="1718" y="1173"/>
                  </a:cubicBezTo>
                  <a:cubicBezTo>
                    <a:pt x="1735" y="1143"/>
                    <a:pt x="1751" y="1169"/>
                    <a:pt x="1763" y="1204"/>
                  </a:cubicBezTo>
                  <a:cubicBezTo>
                    <a:pt x="1766" y="1217"/>
                    <a:pt x="1782" y="1230"/>
                    <a:pt x="1827" y="1239"/>
                  </a:cubicBezTo>
                  <a:cubicBezTo>
                    <a:pt x="1846" y="1255"/>
                    <a:pt x="1863" y="1275"/>
                    <a:pt x="1875" y="1302"/>
                  </a:cubicBezTo>
                  <a:cubicBezTo>
                    <a:pt x="1884" y="1335"/>
                    <a:pt x="1893" y="1368"/>
                    <a:pt x="1902" y="1402"/>
                  </a:cubicBezTo>
                  <a:cubicBezTo>
                    <a:pt x="1908" y="1429"/>
                    <a:pt x="1910" y="1484"/>
                    <a:pt x="1912" y="1521"/>
                  </a:cubicBezTo>
                  <a:cubicBezTo>
                    <a:pt x="1902" y="1544"/>
                    <a:pt x="1891" y="1566"/>
                    <a:pt x="1879" y="1588"/>
                  </a:cubicBezTo>
                  <a:cubicBezTo>
                    <a:pt x="1843" y="1562"/>
                    <a:pt x="1843" y="1562"/>
                    <a:pt x="1843" y="1562"/>
                  </a:cubicBezTo>
                  <a:cubicBezTo>
                    <a:pt x="1843" y="1536"/>
                    <a:pt x="1843" y="1536"/>
                    <a:pt x="1843" y="1536"/>
                  </a:cubicBezTo>
                  <a:cubicBezTo>
                    <a:pt x="1824" y="1537"/>
                    <a:pt x="1824" y="1537"/>
                    <a:pt x="1824" y="1537"/>
                  </a:cubicBezTo>
                  <a:cubicBezTo>
                    <a:pt x="1824" y="1546"/>
                    <a:pt x="1824" y="1546"/>
                    <a:pt x="1824" y="1546"/>
                  </a:cubicBezTo>
                  <a:cubicBezTo>
                    <a:pt x="1809" y="1546"/>
                    <a:pt x="1809" y="1546"/>
                    <a:pt x="1809" y="1546"/>
                  </a:cubicBezTo>
                  <a:cubicBezTo>
                    <a:pt x="1809" y="1562"/>
                    <a:pt x="1809" y="1562"/>
                    <a:pt x="1809" y="1562"/>
                  </a:cubicBezTo>
                  <a:cubicBezTo>
                    <a:pt x="1527" y="1562"/>
                    <a:pt x="1527" y="1562"/>
                    <a:pt x="1527" y="1562"/>
                  </a:cubicBezTo>
                  <a:cubicBezTo>
                    <a:pt x="1527" y="1484"/>
                    <a:pt x="1527" y="1484"/>
                    <a:pt x="1527" y="1484"/>
                  </a:cubicBezTo>
                  <a:cubicBezTo>
                    <a:pt x="1556" y="1463"/>
                    <a:pt x="1573" y="1433"/>
                    <a:pt x="1587" y="1400"/>
                  </a:cubicBezTo>
                  <a:cubicBezTo>
                    <a:pt x="1567" y="1416"/>
                    <a:pt x="1547" y="1427"/>
                    <a:pt x="1524" y="1433"/>
                  </a:cubicBezTo>
                  <a:cubicBezTo>
                    <a:pt x="1520" y="1363"/>
                    <a:pt x="1493" y="1322"/>
                    <a:pt x="1468" y="1304"/>
                  </a:cubicBezTo>
                  <a:cubicBezTo>
                    <a:pt x="1474" y="1293"/>
                    <a:pt x="1480" y="1281"/>
                    <a:pt x="1486" y="1269"/>
                  </a:cubicBezTo>
                  <a:cubicBezTo>
                    <a:pt x="1475" y="1274"/>
                    <a:pt x="1464" y="1278"/>
                    <a:pt x="1453" y="1280"/>
                  </a:cubicBezTo>
                  <a:close/>
                  <a:moveTo>
                    <a:pt x="1927" y="1483"/>
                  </a:moveTo>
                  <a:cubicBezTo>
                    <a:pt x="1926" y="1441"/>
                    <a:pt x="1917" y="1397"/>
                    <a:pt x="1911" y="1358"/>
                  </a:cubicBezTo>
                  <a:cubicBezTo>
                    <a:pt x="1897" y="1323"/>
                    <a:pt x="1889" y="1291"/>
                    <a:pt x="1861" y="1250"/>
                  </a:cubicBezTo>
                  <a:cubicBezTo>
                    <a:pt x="1839" y="1216"/>
                    <a:pt x="1815" y="1216"/>
                    <a:pt x="1791" y="1215"/>
                  </a:cubicBezTo>
                  <a:cubicBezTo>
                    <a:pt x="1772" y="1197"/>
                    <a:pt x="1771" y="1182"/>
                    <a:pt x="1766" y="1167"/>
                  </a:cubicBezTo>
                  <a:cubicBezTo>
                    <a:pt x="1746" y="1132"/>
                    <a:pt x="1713" y="1119"/>
                    <a:pt x="1678" y="1227"/>
                  </a:cubicBezTo>
                  <a:cubicBezTo>
                    <a:pt x="1665" y="1243"/>
                    <a:pt x="1652" y="1256"/>
                    <a:pt x="1638" y="1249"/>
                  </a:cubicBezTo>
                  <a:cubicBezTo>
                    <a:pt x="1613" y="1224"/>
                    <a:pt x="1604" y="1202"/>
                    <a:pt x="1592" y="1180"/>
                  </a:cubicBezTo>
                  <a:cubicBezTo>
                    <a:pt x="1560" y="1144"/>
                    <a:pt x="1535" y="1148"/>
                    <a:pt x="1514" y="1178"/>
                  </a:cubicBezTo>
                  <a:cubicBezTo>
                    <a:pt x="1490" y="1203"/>
                    <a:pt x="1467" y="1228"/>
                    <a:pt x="1450" y="1238"/>
                  </a:cubicBezTo>
                  <a:cubicBezTo>
                    <a:pt x="1450" y="1222"/>
                    <a:pt x="1449" y="1204"/>
                    <a:pt x="1448" y="1189"/>
                  </a:cubicBezTo>
                  <a:cubicBezTo>
                    <a:pt x="1488" y="1154"/>
                    <a:pt x="1521" y="1118"/>
                    <a:pt x="1551" y="1086"/>
                  </a:cubicBezTo>
                  <a:cubicBezTo>
                    <a:pt x="1566" y="1069"/>
                    <a:pt x="1587" y="1068"/>
                    <a:pt x="1611" y="1086"/>
                  </a:cubicBezTo>
                  <a:cubicBezTo>
                    <a:pt x="1625" y="1095"/>
                    <a:pt x="1644" y="1085"/>
                    <a:pt x="1653" y="1060"/>
                  </a:cubicBezTo>
                  <a:cubicBezTo>
                    <a:pt x="1661" y="1036"/>
                    <a:pt x="1659" y="1014"/>
                    <a:pt x="1671" y="989"/>
                  </a:cubicBezTo>
                  <a:cubicBezTo>
                    <a:pt x="1674" y="987"/>
                    <a:pt x="1676" y="986"/>
                    <a:pt x="1679" y="984"/>
                  </a:cubicBezTo>
                  <a:cubicBezTo>
                    <a:pt x="1688" y="995"/>
                    <a:pt x="1698" y="1004"/>
                    <a:pt x="1714" y="1005"/>
                  </a:cubicBezTo>
                  <a:cubicBezTo>
                    <a:pt x="1721" y="1026"/>
                    <a:pt x="1729" y="1045"/>
                    <a:pt x="1740" y="1063"/>
                  </a:cubicBezTo>
                  <a:cubicBezTo>
                    <a:pt x="1767" y="1046"/>
                    <a:pt x="1789" y="1040"/>
                    <a:pt x="1798" y="1059"/>
                  </a:cubicBezTo>
                  <a:cubicBezTo>
                    <a:pt x="1812" y="1077"/>
                    <a:pt x="1814" y="1101"/>
                    <a:pt x="1813" y="1126"/>
                  </a:cubicBezTo>
                  <a:cubicBezTo>
                    <a:pt x="1818" y="1144"/>
                    <a:pt x="1826" y="1156"/>
                    <a:pt x="1851" y="1130"/>
                  </a:cubicBezTo>
                  <a:cubicBezTo>
                    <a:pt x="1868" y="1113"/>
                    <a:pt x="1878" y="1114"/>
                    <a:pt x="1889" y="1132"/>
                  </a:cubicBezTo>
                  <a:cubicBezTo>
                    <a:pt x="1901" y="1152"/>
                    <a:pt x="1915" y="1171"/>
                    <a:pt x="1929" y="1191"/>
                  </a:cubicBezTo>
                  <a:cubicBezTo>
                    <a:pt x="1942" y="1202"/>
                    <a:pt x="1959" y="1209"/>
                    <a:pt x="1978" y="1214"/>
                  </a:cubicBezTo>
                  <a:cubicBezTo>
                    <a:pt x="1977" y="1309"/>
                    <a:pt x="1959" y="1399"/>
                    <a:pt x="1927" y="1483"/>
                  </a:cubicBezTo>
                  <a:close/>
                  <a:moveTo>
                    <a:pt x="1978" y="1197"/>
                  </a:moveTo>
                  <a:cubicBezTo>
                    <a:pt x="1937" y="1191"/>
                    <a:pt x="1920" y="1153"/>
                    <a:pt x="1901" y="1118"/>
                  </a:cubicBezTo>
                  <a:cubicBezTo>
                    <a:pt x="1880" y="1087"/>
                    <a:pt x="1855" y="1103"/>
                    <a:pt x="1830" y="1126"/>
                  </a:cubicBezTo>
                  <a:cubicBezTo>
                    <a:pt x="1830" y="1095"/>
                    <a:pt x="1824" y="1071"/>
                    <a:pt x="1815" y="1053"/>
                  </a:cubicBezTo>
                  <a:cubicBezTo>
                    <a:pt x="1798" y="1021"/>
                    <a:pt x="1774" y="1020"/>
                    <a:pt x="1745" y="1040"/>
                  </a:cubicBezTo>
                  <a:cubicBezTo>
                    <a:pt x="1735" y="1024"/>
                    <a:pt x="1728" y="1009"/>
                    <a:pt x="1729" y="993"/>
                  </a:cubicBezTo>
                  <a:cubicBezTo>
                    <a:pt x="1726" y="991"/>
                    <a:pt x="1722" y="990"/>
                    <a:pt x="1719" y="989"/>
                  </a:cubicBezTo>
                  <a:cubicBezTo>
                    <a:pt x="1705" y="988"/>
                    <a:pt x="1697" y="981"/>
                    <a:pt x="1690" y="973"/>
                  </a:cubicBezTo>
                  <a:cubicBezTo>
                    <a:pt x="1683" y="964"/>
                    <a:pt x="1669" y="957"/>
                    <a:pt x="1659" y="974"/>
                  </a:cubicBezTo>
                  <a:cubicBezTo>
                    <a:pt x="1645" y="997"/>
                    <a:pt x="1644" y="1023"/>
                    <a:pt x="1640" y="1048"/>
                  </a:cubicBezTo>
                  <a:cubicBezTo>
                    <a:pt x="1633" y="1066"/>
                    <a:pt x="1626" y="1078"/>
                    <a:pt x="1605" y="1063"/>
                  </a:cubicBezTo>
                  <a:cubicBezTo>
                    <a:pt x="1580" y="1045"/>
                    <a:pt x="1554" y="1055"/>
                    <a:pt x="1531" y="1086"/>
                  </a:cubicBezTo>
                  <a:cubicBezTo>
                    <a:pt x="1506" y="1113"/>
                    <a:pt x="1479" y="1140"/>
                    <a:pt x="1449" y="1167"/>
                  </a:cubicBezTo>
                  <a:cubicBezTo>
                    <a:pt x="1441" y="1093"/>
                    <a:pt x="1431" y="1018"/>
                    <a:pt x="1424" y="944"/>
                  </a:cubicBezTo>
                  <a:cubicBezTo>
                    <a:pt x="1421" y="908"/>
                    <a:pt x="1407" y="877"/>
                    <a:pt x="1378" y="850"/>
                  </a:cubicBezTo>
                  <a:cubicBezTo>
                    <a:pt x="1380" y="849"/>
                    <a:pt x="1381" y="848"/>
                    <a:pt x="1383" y="847"/>
                  </a:cubicBezTo>
                  <a:cubicBezTo>
                    <a:pt x="1381" y="767"/>
                    <a:pt x="1370" y="738"/>
                    <a:pt x="1335" y="691"/>
                  </a:cubicBezTo>
                  <a:cubicBezTo>
                    <a:pt x="1325" y="651"/>
                    <a:pt x="1311" y="610"/>
                    <a:pt x="1272" y="572"/>
                  </a:cubicBezTo>
                  <a:cubicBezTo>
                    <a:pt x="1268" y="556"/>
                    <a:pt x="1259" y="527"/>
                    <a:pt x="1223" y="531"/>
                  </a:cubicBezTo>
                  <a:cubicBezTo>
                    <a:pt x="1215" y="532"/>
                    <a:pt x="1207" y="533"/>
                    <a:pt x="1199" y="535"/>
                  </a:cubicBezTo>
                  <a:cubicBezTo>
                    <a:pt x="1199" y="495"/>
                    <a:pt x="1199" y="495"/>
                    <a:pt x="1199" y="495"/>
                  </a:cubicBezTo>
                  <a:cubicBezTo>
                    <a:pt x="1184" y="495"/>
                    <a:pt x="1184" y="495"/>
                    <a:pt x="1184" y="495"/>
                  </a:cubicBezTo>
                  <a:cubicBezTo>
                    <a:pt x="1184" y="482"/>
                    <a:pt x="1184" y="482"/>
                    <a:pt x="1184" y="482"/>
                  </a:cubicBezTo>
                  <a:cubicBezTo>
                    <a:pt x="1195" y="481"/>
                    <a:pt x="1205" y="468"/>
                    <a:pt x="1205" y="459"/>
                  </a:cubicBezTo>
                  <a:cubicBezTo>
                    <a:pt x="1200" y="462"/>
                    <a:pt x="1190" y="465"/>
                    <a:pt x="1187" y="460"/>
                  </a:cubicBezTo>
                  <a:cubicBezTo>
                    <a:pt x="1183" y="453"/>
                    <a:pt x="1177" y="449"/>
                    <a:pt x="1170" y="439"/>
                  </a:cubicBezTo>
                  <a:cubicBezTo>
                    <a:pt x="1170" y="426"/>
                    <a:pt x="1170" y="426"/>
                    <a:pt x="1170" y="426"/>
                  </a:cubicBezTo>
                  <a:cubicBezTo>
                    <a:pt x="1162" y="426"/>
                    <a:pt x="1162" y="426"/>
                    <a:pt x="1162" y="426"/>
                  </a:cubicBezTo>
                  <a:cubicBezTo>
                    <a:pt x="1162" y="439"/>
                    <a:pt x="1162" y="439"/>
                    <a:pt x="1162" y="439"/>
                  </a:cubicBezTo>
                  <a:cubicBezTo>
                    <a:pt x="1142" y="465"/>
                    <a:pt x="1142" y="465"/>
                    <a:pt x="1142" y="465"/>
                  </a:cubicBezTo>
                  <a:cubicBezTo>
                    <a:pt x="1126" y="459"/>
                    <a:pt x="1126" y="459"/>
                    <a:pt x="1126" y="459"/>
                  </a:cubicBezTo>
                  <a:cubicBezTo>
                    <a:pt x="1130" y="469"/>
                    <a:pt x="1136" y="477"/>
                    <a:pt x="1146" y="484"/>
                  </a:cubicBezTo>
                  <a:cubicBezTo>
                    <a:pt x="1146" y="495"/>
                    <a:pt x="1146" y="495"/>
                    <a:pt x="1146" y="495"/>
                  </a:cubicBezTo>
                  <a:cubicBezTo>
                    <a:pt x="1133" y="495"/>
                    <a:pt x="1133" y="495"/>
                    <a:pt x="1133" y="495"/>
                  </a:cubicBezTo>
                  <a:cubicBezTo>
                    <a:pt x="1133" y="556"/>
                    <a:pt x="1133" y="556"/>
                    <a:pt x="1133" y="556"/>
                  </a:cubicBezTo>
                  <a:cubicBezTo>
                    <a:pt x="1122" y="561"/>
                    <a:pt x="1111" y="566"/>
                    <a:pt x="1100" y="571"/>
                  </a:cubicBezTo>
                  <a:cubicBezTo>
                    <a:pt x="1100" y="569"/>
                    <a:pt x="1100" y="567"/>
                    <a:pt x="1100" y="565"/>
                  </a:cubicBezTo>
                  <a:cubicBezTo>
                    <a:pt x="1113" y="560"/>
                    <a:pt x="1118" y="554"/>
                    <a:pt x="1120" y="547"/>
                  </a:cubicBezTo>
                  <a:cubicBezTo>
                    <a:pt x="1112" y="548"/>
                    <a:pt x="1103" y="549"/>
                    <a:pt x="1095" y="551"/>
                  </a:cubicBezTo>
                  <a:cubicBezTo>
                    <a:pt x="1088" y="545"/>
                    <a:pt x="1083" y="538"/>
                    <a:pt x="1081" y="532"/>
                  </a:cubicBezTo>
                  <a:cubicBezTo>
                    <a:pt x="1079" y="531"/>
                    <a:pt x="1076" y="532"/>
                    <a:pt x="1074" y="532"/>
                  </a:cubicBezTo>
                  <a:cubicBezTo>
                    <a:pt x="1073" y="539"/>
                    <a:pt x="1067" y="545"/>
                    <a:pt x="1060" y="551"/>
                  </a:cubicBezTo>
                  <a:cubicBezTo>
                    <a:pt x="1052" y="551"/>
                    <a:pt x="1044" y="551"/>
                    <a:pt x="1036" y="551"/>
                  </a:cubicBezTo>
                  <a:cubicBezTo>
                    <a:pt x="1038" y="558"/>
                    <a:pt x="1044" y="563"/>
                    <a:pt x="1057" y="566"/>
                  </a:cubicBezTo>
                  <a:cubicBezTo>
                    <a:pt x="1057" y="590"/>
                    <a:pt x="1057" y="590"/>
                    <a:pt x="1057" y="590"/>
                  </a:cubicBezTo>
                  <a:cubicBezTo>
                    <a:pt x="1018" y="607"/>
                    <a:pt x="988" y="634"/>
                    <a:pt x="979" y="690"/>
                  </a:cubicBezTo>
                  <a:cubicBezTo>
                    <a:pt x="952" y="709"/>
                    <a:pt x="927" y="728"/>
                    <a:pt x="924" y="749"/>
                  </a:cubicBezTo>
                  <a:cubicBezTo>
                    <a:pt x="919" y="775"/>
                    <a:pt x="915" y="800"/>
                    <a:pt x="911" y="825"/>
                  </a:cubicBezTo>
                  <a:cubicBezTo>
                    <a:pt x="910" y="825"/>
                    <a:pt x="910" y="825"/>
                    <a:pt x="910" y="825"/>
                  </a:cubicBezTo>
                  <a:cubicBezTo>
                    <a:pt x="874" y="856"/>
                    <a:pt x="854" y="891"/>
                    <a:pt x="850" y="931"/>
                  </a:cubicBezTo>
                  <a:cubicBezTo>
                    <a:pt x="832" y="949"/>
                    <a:pt x="808" y="957"/>
                    <a:pt x="800" y="972"/>
                  </a:cubicBezTo>
                  <a:cubicBezTo>
                    <a:pt x="784" y="1002"/>
                    <a:pt x="772" y="1074"/>
                    <a:pt x="762" y="1130"/>
                  </a:cubicBezTo>
                  <a:cubicBezTo>
                    <a:pt x="754" y="1195"/>
                    <a:pt x="754" y="1195"/>
                    <a:pt x="754" y="1195"/>
                  </a:cubicBezTo>
                  <a:cubicBezTo>
                    <a:pt x="748" y="1188"/>
                    <a:pt x="741" y="1180"/>
                    <a:pt x="734" y="1174"/>
                  </a:cubicBezTo>
                  <a:cubicBezTo>
                    <a:pt x="716" y="1160"/>
                    <a:pt x="697" y="1147"/>
                    <a:pt x="677" y="1183"/>
                  </a:cubicBezTo>
                  <a:cubicBezTo>
                    <a:pt x="656" y="1221"/>
                    <a:pt x="644" y="1210"/>
                    <a:pt x="636" y="1191"/>
                  </a:cubicBezTo>
                  <a:cubicBezTo>
                    <a:pt x="627" y="1168"/>
                    <a:pt x="614" y="1147"/>
                    <a:pt x="600" y="1126"/>
                  </a:cubicBezTo>
                  <a:cubicBezTo>
                    <a:pt x="580" y="1099"/>
                    <a:pt x="544" y="1097"/>
                    <a:pt x="536" y="1128"/>
                  </a:cubicBezTo>
                  <a:cubicBezTo>
                    <a:pt x="523" y="1181"/>
                    <a:pt x="537" y="1198"/>
                    <a:pt x="507" y="1170"/>
                  </a:cubicBezTo>
                  <a:cubicBezTo>
                    <a:pt x="488" y="1152"/>
                    <a:pt x="468" y="1158"/>
                    <a:pt x="451" y="1190"/>
                  </a:cubicBezTo>
                  <a:cubicBezTo>
                    <a:pt x="432" y="1223"/>
                    <a:pt x="405" y="1264"/>
                    <a:pt x="383" y="1279"/>
                  </a:cubicBezTo>
                  <a:cubicBezTo>
                    <a:pt x="381" y="1254"/>
                    <a:pt x="380" y="1229"/>
                    <a:pt x="380" y="1203"/>
                  </a:cubicBezTo>
                  <a:cubicBezTo>
                    <a:pt x="380" y="763"/>
                    <a:pt x="739" y="404"/>
                    <a:pt x="1179" y="404"/>
                  </a:cubicBezTo>
                  <a:cubicBezTo>
                    <a:pt x="1617" y="404"/>
                    <a:pt x="1974" y="760"/>
                    <a:pt x="1978" y="1197"/>
                  </a:cubicBezTo>
                  <a:close/>
                  <a:moveTo>
                    <a:pt x="1067" y="586"/>
                  </a:moveTo>
                  <a:cubicBezTo>
                    <a:pt x="1067" y="579"/>
                    <a:pt x="1067" y="571"/>
                    <a:pt x="1067" y="564"/>
                  </a:cubicBezTo>
                  <a:cubicBezTo>
                    <a:pt x="1069" y="564"/>
                    <a:pt x="1073" y="564"/>
                    <a:pt x="1075" y="564"/>
                  </a:cubicBezTo>
                  <a:cubicBezTo>
                    <a:pt x="1075" y="582"/>
                    <a:pt x="1075" y="582"/>
                    <a:pt x="1075" y="582"/>
                  </a:cubicBezTo>
                  <a:cubicBezTo>
                    <a:pt x="1072" y="584"/>
                    <a:pt x="1070" y="585"/>
                    <a:pt x="1067" y="586"/>
                  </a:cubicBezTo>
                  <a:close/>
                  <a:moveTo>
                    <a:pt x="1084" y="578"/>
                  </a:moveTo>
                  <a:cubicBezTo>
                    <a:pt x="1084" y="573"/>
                    <a:pt x="1084" y="569"/>
                    <a:pt x="1084" y="564"/>
                  </a:cubicBezTo>
                  <a:cubicBezTo>
                    <a:pt x="1086" y="564"/>
                    <a:pt x="1090" y="564"/>
                    <a:pt x="1091" y="564"/>
                  </a:cubicBezTo>
                  <a:cubicBezTo>
                    <a:pt x="1091" y="575"/>
                    <a:pt x="1091" y="575"/>
                    <a:pt x="1091" y="575"/>
                  </a:cubicBezTo>
                  <a:cubicBezTo>
                    <a:pt x="1089" y="576"/>
                    <a:pt x="1087" y="577"/>
                    <a:pt x="1084" y="578"/>
                  </a:cubicBezTo>
                  <a:close/>
                  <a:moveTo>
                    <a:pt x="1159" y="517"/>
                  </a:moveTo>
                  <a:cubicBezTo>
                    <a:pt x="1155" y="517"/>
                    <a:pt x="1152" y="520"/>
                    <a:pt x="1152" y="524"/>
                  </a:cubicBezTo>
                  <a:cubicBezTo>
                    <a:pt x="1152" y="545"/>
                    <a:pt x="1152" y="545"/>
                    <a:pt x="1152" y="545"/>
                  </a:cubicBezTo>
                  <a:cubicBezTo>
                    <a:pt x="1152" y="546"/>
                    <a:pt x="1152" y="547"/>
                    <a:pt x="1152" y="548"/>
                  </a:cubicBezTo>
                  <a:cubicBezTo>
                    <a:pt x="1148" y="550"/>
                    <a:pt x="1144" y="551"/>
                    <a:pt x="1140" y="553"/>
                  </a:cubicBezTo>
                  <a:cubicBezTo>
                    <a:pt x="1140" y="503"/>
                    <a:pt x="1140" y="503"/>
                    <a:pt x="1140" y="503"/>
                  </a:cubicBezTo>
                  <a:cubicBezTo>
                    <a:pt x="1195" y="503"/>
                    <a:pt x="1195" y="503"/>
                    <a:pt x="1195" y="503"/>
                  </a:cubicBezTo>
                  <a:cubicBezTo>
                    <a:pt x="1195" y="536"/>
                    <a:pt x="1195" y="536"/>
                    <a:pt x="1195" y="536"/>
                  </a:cubicBezTo>
                  <a:cubicBezTo>
                    <a:pt x="1190" y="537"/>
                    <a:pt x="1186" y="538"/>
                    <a:pt x="1182" y="539"/>
                  </a:cubicBezTo>
                  <a:cubicBezTo>
                    <a:pt x="1182" y="524"/>
                    <a:pt x="1182" y="524"/>
                    <a:pt x="1182" y="524"/>
                  </a:cubicBezTo>
                  <a:cubicBezTo>
                    <a:pt x="1182" y="520"/>
                    <a:pt x="1179" y="517"/>
                    <a:pt x="1174" y="517"/>
                  </a:cubicBezTo>
                  <a:cubicBezTo>
                    <a:pt x="1159" y="517"/>
                    <a:pt x="1159" y="517"/>
                    <a:pt x="1159" y="517"/>
                  </a:cubicBezTo>
                  <a:close/>
                  <a:moveTo>
                    <a:pt x="1157" y="480"/>
                  </a:moveTo>
                  <a:cubicBezTo>
                    <a:pt x="1156" y="484"/>
                    <a:pt x="1156" y="484"/>
                    <a:pt x="1156" y="484"/>
                  </a:cubicBezTo>
                  <a:cubicBezTo>
                    <a:pt x="1160" y="484"/>
                    <a:pt x="1160" y="484"/>
                    <a:pt x="1160" y="484"/>
                  </a:cubicBezTo>
                  <a:cubicBezTo>
                    <a:pt x="1160" y="489"/>
                    <a:pt x="1160" y="489"/>
                    <a:pt x="1160" y="489"/>
                  </a:cubicBezTo>
                  <a:cubicBezTo>
                    <a:pt x="1157" y="490"/>
                    <a:pt x="1157" y="490"/>
                    <a:pt x="1157" y="490"/>
                  </a:cubicBezTo>
                  <a:cubicBezTo>
                    <a:pt x="1157" y="492"/>
                    <a:pt x="1157" y="492"/>
                    <a:pt x="1157" y="492"/>
                  </a:cubicBezTo>
                  <a:cubicBezTo>
                    <a:pt x="1163" y="496"/>
                    <a:pt x="1163" y="496"/>
                    <a:pt x="1163" y="496"/>
                  </a:cubicBezTo>
                  <a:cubicBezTo>
                    <a:pt x="1170" y="496"/>
                    <a:pt x="1170" y="496"/>
                    <a:pt x="1170" y="496"/>
                  </a:cubicBezTo>
                  <a:cubicBezTo>
                    <a:pt x="1169" y="489"/>
                    <a:pt x="1169" y="489"/>
                    <a:pt x="1169" y="489"/>
                  </a:cubicBezTo>
                  <a:cubicBezTo>
                    <a:pt x="1173" y="488"/>
                    <a:pt x="1173" y="488"/>
                    <a:pt x="1173" y="488"/>
                  </a:cubicBezTo>
                  <a:cubicBezTo>
                    <a:pt x="1173" y="481"/>
                    <a:pt x="1173" y="481"/>
                    <a:pt x="1173" y="481"/>
                  </a:cubicBezTo>
                  <a:cubicBezTo>
                    <a:pt x="1157" y="480"/>
                    <a:pt x="1157" y="480"/>
                    <a:pt x="1157" y="480"/>
                  </a:cubicBezTo>
                  <a:close/>
                  <a:moveTo>
                    <a:pt x="1339" y="727"/>
                  </a:moveTo>
                  <a:cubicBezTo>
                    <a:pt x="1352" y="740"/>
                    <a:pt x="1363" y="767"/>
                    <a:pt x="1365" y="824"/>
                  </a:cubicBezTo>
                  <a:cubicBezTo>
                    <a:pt x="1364" y="825"/>
                    <a:pt x="1360" y="828"/>
                    <a:pt x="1359" y="824"/>
                  </a:cubicBezTo>
                  <a:cubicBezTo>
                    <a:pt x="1354" y="809"/>
                    <a:pt x="1350" y="756"/>
                    <a:pt x="1339" y="727"/>
                  </a:cubicBezTo>
                  <a:close/>
                  <a:moveTo>
                    <a:pt x="1275" y="605"/>
                  </a:moveTo>
                  <a:cubicBezTo>
                    <a:pt x="1297" y="629"/>
                    <a:pt x="1308" y="656"/>
                    <a:pt x="1315" y="683"/>
                  </a:cubicBezTo>
                  <a:cubicBezTo>
                    <a:pt x="1303" y="671"/>
                    <a:pt x="1290" y="658"/>
                    <a:pt x="1278" y="646"/>
                  </a:cubicBezTo>
                  <a:cubicBezTo>
                    <a:pt x="1277" y="632"/>
                    <a:pt x="1276" y="619"/>
                    <a:pt x="1275" y="605"/>
                  </a:cubicBezTo>
                  <a:close/>
                  <a:moveTo>
                    <a:pt x="386" y="1302"/>
                  </a:moveTo>
                  <a:cubicBezTo>
                    <a:pt x="399" y="1406"/>
                    <a:pt x="432" y="1503"/>
                    <a:pt x="481" y="1591"/>
                  </a:cubicBezTo>
                  <a:cubicBezTo>
                    <a:pt x="521" y="1562"/>
                    <a:pt x="521" y="1562"/>
                    <a:pt x="521" y="1562"/>
                  </a:cubicBezTo>
                  <a:cubicBezTo>
                    <a:pt x="521" y="1536"/>
                    <a:pt x="521" y="1536"/>
                    <a:pt x="521" y="1536"/>
                  </a:cubicBezTo>
                  <a:cubicBezTo>
                    <a:pt x="539" y="1537"/>
                    <a:pt x="539" y="1537"/>
                    <a:pt x="539" y="1537"/>
                  </a:cubicBezTo>
                  <a:cubicBezTo>
                    <a:pt x="539" y="1546"/>
                    <a:pt x="539" y="1546"/>
                    <a:pt x="539" y="1546"/>
                  </a:cubicBezTo>
                  <a:cubicBezTo>
                    <a:pt x="554" y="1546"/>
                    <a:pt x="554" y="1546"/>
                    <a:pt x="554" y="1546"/>
                  </a:cubicBezTo>
                  <a:cubicBezTo>
                    <a:pt x="554" y="1562"/>
                    <a:pt x="554" y="1562"/>
                    <a:pt x="554" y="1562"/>
                  </a:cubicBezTo>
                  <a:cubicBezTo>
                    <a:pt x="707" y="1562"/>
                    <a:pt x="707" y="1562"/>
                    <a:pt x="707" y="1562"/>
                  </a:cubicBezTo>
                  <a:cubicBezTo>
                    <a:pt x="750" y="1222"/>
                    <a:pt x="750" y="1222"/>
                    <a:pt x="750" y="1222"/>
                  </a:cubicBezTo>
                  <a:cubicBezTo>
                    <a:pt x="742" y="1212"/>
                    <a:pt x="734" y="1202"/>
                    <a:pt x="726" y="1192"/>
                  </a:cubicBezTo>
                  <a:cubicBezTo>
                    <a:pt x="711" y="1173"/>
                    <a:pt x="698" y="1167"/>
                    <a:pt x="685" y="1197"/>
                  </a:cubicBezTo>
                  <a:cubicBezTo>
                    <a:pt x="661" y="1258"/>
                    <a:pt x="633" y="1220"/>
                    <a:pt x="626" y="1204"/>
                  </a:cubicBezTo>
                  <a:cubicBezTo>
                    <a:pt x="589" y="1119"/>
                    <a:pt x="557" y="1097"/>
                    <a:pt x="547" y="1151"/>
                  </a:cubicBezTo>
                  <a:cubicBezTo>
                    <a:pt x="547" y="1192"/>
                    <a:pt x="538" y="1213"/>
                    <a:pt x="507" y="1189"/>
                  </a:cubicBezTo>
                  <a:cubicBezTo>
                    <a:pt x="478" y="1163"/>
                    <a:pt x="468" y="1189"/>
                    <a:pt x="457" y="1213"/>
                  </a:cubicBezTo>
                  <a:cubicBezTo>
                    <a:pt x="438" y="1247"/>
                    <a:pt x="412" y="1275"/>
                    <a:pt x="386" y="1302"/>
                  </a:cubicBezTo>
                  <a:close/>
                  <a:moveTo>
                    <a:pt x="723" y="1562"/>
                  </a:moveTo>
                  <a:cubicBezTo>
                    <a:pt x="788" y="1076"/>
                    <a:pt x="788" y="1076"/>
                    <a:pt x="788" y="1076"/>
                  </a:cubicBezTo>
                  <a:cubicBezTo>
                    <a:pt x="794" y="1042"/>
                    <a:pt x="802" y="1009"/>
                    <a:pt x="814" y="978"/>
                  </a:cubicBezTo>
                  <a:cubicBezTo>
                    <a:pt x="848" y="956"/>
                    <a:pt x="848" y="956"/>
                    <a:pt x="848" y="956"/>
                  </a:cubicBezTo>
                  <a:cubicBezTo>
                    <a:pt x="828" y="1431"/>
                    <a:pt x="828" y="1431"/>
                    <a:pt x="828" y="1431"/>
                  </a:cubicBezTo>
                  <a:cubicBezTo>
                    <a:pt x="809" y="1425"/>
                    <a:pt x="791" y="1414"/>
                    <a:pt x="774" y="1400"/>
                  </a:cubicBezTo>
                  <a:cubicBezTo>
                    <a:pt x="787" y="1433"/>
                    <a:pt x="804" y="1463"/>
                    <a:pt x="834" y="1485"/>
                  </a:cubicBezTo>
                  <a:cubicBezTo>
                    <a:pt x="834" y="1562"/>
                    <a:pt x="834" y="1562"/>
                    <a:pt x="834" y="1562"/>
                  </a:cubicBezTo>
                  <a:cubicBezTo>
                    <a:pt x="723" y="1562"/>
                    <a:pt x="723" y="1562"/>
                    <a:pt x="723" y="1562"/>
                  </a:cubicBezTo>
                  <a:close/>
                  <a:moveTo>
                    <a:pt x="525" y="1544"/>
                  </a:moveTo>
                  <a:cubicBezTo>
                    <a:pt x="526" y="1562"/>
                    <a:pt x="526" y="1562"/>
                    <a:pt x="526" y="1562"/>
                  </a:cubicBezTo>
                  <a:cubicBezTo>
                    <a:pt x="548" y="1562"/>
                    <a:pt x="548" y="1562"/>
                    <a:pt x="548" y="1562"/>
                  </a:cubicBezTo>
                  <a:cubicBezTo>
                    <a:pt x="548" y="1556"/>
                    <a:pt x="548" y="1556"/>
                    <a:pt x="548" y="1556"/>
                  </a:cubicBezTo>
                  <a:cubicBezTo>
                    <a:pt x="533" y="1553"/>
                    <a:pt x="533" y="1553"/>
                    <a:pt x="533" y="1553"/>
                  </a:cubicBezTo>
                  <a:cubicBezTo>
                    <a:pt x="533" y="1544"/>
                    <a:pt x="533" y="1544"/>
                    <a:pt x="533" y="1544"/>
                  </a:cubicBezTo>
                  <a:cubicBezTo>
                    <a:pt x="525" y="1544"/>
                    <a:pt x="525" y="1544"/>
                    <a:pt x="525" y="1544"/>
                  </a:cubicBezTo>
                  <a:close/>
                  <a:moveTo>
                    <a:pt x="1838" y="1544"/>
                  </a:moveTo>
                  <a:cubicBezTo>
                    <a:pt x="1830" y="1544"/>
                    <a:pt x="1830" y="1544"/>
                    <a:pt x="1830" y="1544"/>
                  </a:cubicBezTo>
                  <a:cubicBezTo>
                    <a:pt x="1830" y="1553"/>
                    <a:pt x="1830" y="1553"/>
                    <a:pt x="1830" y="1553"/>
                  </a:cubicBezTo>
                  <a:cubicBezTo>
                    <a:pt x="1816" y="1556"/>
                    <a:pt x="1816" y="1556"/>
                    <a:pt x="1816" y="1556"/>
                  </a:cubicBezTo>
                  <a:cubicBezTo>
                    <a:pt x="1816" y="1562"/>
                    <a:pt x="1816" y="1562"/>
                    <a:pt x="1816" y="1562"/>
                  </a:cubicBezTo>
                  <a:cubicBezTo>
                    <a:pt x="1838" y="1562"/>
                    <a:pt x="1838" y="1562"/>
                    <a:pt x="1838" y="1562"/>
                  </a:cubicBezTo>
                  <a:cubicBezTo>
                    <a:pt x="1838" y="1544"/>
                    <a:pt x="1838" y="1544"/>
                    <a:pt x="1838" y="1544"/>
                  </a:cubicBezTo>
                  <a:close/>
                  <a:moveTo>
                    <a:pt x="1444" y="1601"/>
                  </a:moveTo>
                  <a:cubicBezTo>
                    <a:pt x="1444" y="1664"/>
                    <a:pt x="1444" y="1664"/>
                    <a:pt x="1444" y="1664"/>
                  </a:cubicBezTo>
                  <a:cubicBezTo>
                    <a:pt x="1392" y="1664"/>
                    <a:pt x="1392" y="1664"/>
                    <a:pt x="1392" y="1664"/>
                  </a:cubicBezTo>
                  <a:cubicBezTo>
                    <a:pt x="1392" y="1601"/>
                    <a:pt x="1392" y="1601"/>
                    <a:pt x="1392" y="1601"/>
                  </a:cubicBezTo>
                  <a:cubicBezTo>
                    <a:pt x="1444" y="1601"/>
                    <a:pt x="1444" y="1601"/>
                    <a:pt x="1444" y="1601"/>
                  </a:cubicBezTo>
                  <a:close/>
                  <a:moveTo>
                    <a:pt x="1365" y="1515"/>
                  </a:moveTo>
                  <a:cubicBezTo>
                    <a:pt x="1365" y="1520"/>
                    <a:pt x="1365" y="1520"/>
                    <a:pt x="1365" y="1520"/>
                  </a:cubicBezTo>
                  <a:cubicBezTo>
                    <a:pt x="1318" y="1520"/>
                    <a:pt x="1318" y="1520"/>
                    <a:pt x="1318" y="1520"/>
                  </a:cubicBezTo>
                  <a:cubicBezTo>
                    <a:pt x="1318" y="1515"/>
                    <a:pt x="1318" y="1515"/>
                    <a:pt x="1318" y="1515"/>
                  </a:cubicBezTo>
                  <a:cubicBezTo>
                    <a:pt x="1365" y="1515"/>
                    <a:pt x="1365" y="1515"/>
                    <a:pt x="1365" y="1515"/>
                  </a:cubicBezTo>
                  <a:close/>
                  <a:moveTo>
                    <a:pt x="1365" y="1528"/>
                  </a:moveTo>
                  <a:cubicBezTo>
                    <a:pt x="1365" y="1534"/>
                    <a:pt x="1365" y="1534"/>
                    <a:pt x="1365" y="1534"/>
                  </a:cubicBezTo>
                  <a:cubicBezTo>
                    <a:pt x="1318" y="1534"/>
                    <a:pt x="1318" y="1534"/>
                    <a:pt x="1318" y="1534"/>
                  </a:cubicBezTo>
                  <a:cubicBezTo>
                    <a:pt x="1318" y="1528"/>
                    <a:pt x="1318" y="1528"/>
                    <a:pt x="1318" y="1528"/>
                  </a:cubicBezTo>
                  <a:cubicBezTo>
                    <a:pt x="1365" y="1528"/>
                    <a:pt x="1365" y="1528"/>
                    <a:pt x="1365" y="1528"/>
                  </a:cubicBezTo>
                  <a:close/>
                  <a:moveTo>
                    <a:pt x="1365" y="1541"/>
                  </a:moveTo>
                  <a:cubicBezTo>
                    <a:pt x="1365" y="1547"/>
                    <a:pt x="1365" y="1547"/>
                    <a:pt x="1365" y="1547"/>
                  </a:cubicBezTo>
                  <a:cubicBezTo>
                    <a:pt x="1318" y="1547"/>
                    <a:pt x="1318" y="1547"/>
                    <a:pt x="1318" y="1547"/>
                  </a:cubicBezTo>
                  <a:cubicBezTo>
                    <a:pt x="1318" y="1541"/>
                    <a:pt x="1318" y="1541"/>
                    <a:pt x="1318" y="1541"/>
                  </a:cubicBezTo>
                  <a:cubicBezTo>
                    <a:pt x="1365" y="1541"/>
                    <a:pt x="1365" y="1541"/>
                    <a:pt x="1365" y="1541"/>
                  </a:cubicBezTo>
                  <a:close/>
                  <a:moveTo>
                    <a:pt x="1365" y="1552"/>
                  </a:moveTo>
                  <a:cubicBezTo>
                    <a:pt x="1365" y="1558"/>
                    <a:pt x="1365" y="1558"/>
                    <a:pt x="1365" y="1558"/>
                  </a:cubicBezTo>
                  <a:cubicBezTo>
                    <a:pt x="1318" y="1558"/>
                    <a:pt x="1318" y="1558"/>
                    <a:pt x="1318" y="1558"/>
                  </a:cubicBezTo>
                  <a:cubicBezTo>
                    <a:pt x="1318" y="1552"/>
                    <a:pt x="1318" y="1552"/>
                    <a:pt x="1318" y="1552"/>
                  </a:cubicBezTo>
                  <a:cubicBezTo>
                    <a:pt x="1365" y="1552"/>
                    <a:pt x="1365" y="1552"/>
                    <a:pt x="1365" y="1552"/>
                  </a:cubicBezTo>
                  <a:close/>
                  <a:moveTo>
                    <a:pt x="1365" y="1564"/>
                  </a:moveTo>
                  <a:cubicBezTo>
                    <a:pt x="1365" y="1570"/>
                    <a:pt x="1365" y="1570"/>
                    <a:pt x="1365" y="1570"/>
                  </a:cubicBezTo>
                  <a:cubicBezTo>
                    <a:pt x="1318" y="1570"/>
                    <a:pt x="1318" y="1570"/>
                    <a:pt x="1318" y="1570"/>
                  </a:cubicBezTo>
                  <a:cubicBezTo>
                    <a:pt x="1318" y="1564"/>
                    <a:pt x="1318" y="1564"/>
                    <a:pt x="1318" y="1564"/>
                  </a:cubicBezTo>
                  <a:cubicBezTo>
                    <a:pt x="1365" y="1564"/>
                    <a:pt x="1365" y="1564"/>
                    <a:pt x="1365" y="1564"/>
                  </a:cubicBezTo>
                  <a:close/>
                  <a:moveTo>
                    <a:pt x="1365" y="1576"/>
                  </a:moveTo>
                  <a:cubicBezTo>
                    <a:pt x="1365" y="1582"/>
                    <a:pt x="1365" y="1582"/>
                    <a:pt x="1365" y="1582"/>
                  </a:cubicBezTo>
                  <a:cubicBezTo>
                    <a:pt x="1318" y="1582"/>
                    <a:pt x="1318" y="1582"/>
                    <a:pt x="1318" y="1582"/>
                  </a:cubicBezTo>
                  <a:cubicBezTo>
                    <a:pt x="1318" y="1576"/>
                    <a:pt x="1318" y="1576"/>
                    <a:pt x="1318" y="1576"/>
                  </a:cubicBezTo>
                  <a:cubicBezTo>
                    <a:pt x="1365" y="1576"/>
                    <a:pt x="1365" y="1576"/>
                    <a:pt x="1365" y="1576"/>
                  </a:cubicBezTo>
                  <a:close/>
                  <a:moveTo>
                    <a:pt x="1365" y="1588"/>
                  </a:moveTo>
                  <a:cubicBezTo>
                    <a:pt x="1365" y="1594"/>
                    <a:pt x="1365" y="1594"/>
                    <a:pt x="1365" y="1594"/>
                  </a:cubicBezTo>
                  <a:cubicBezTo>
                    <a:pt x="1318" y="1594"/>
                    <a:pt x="1318" y="1594"/>
                    <a:pt x="1318" y="1594"/>
                  </a:cubicBezTo>
                  <a:cubicBezTo>
                    <a:pt x="1318" y="1588"/>
                    <a:pt x="1318" y="1588"/>
                    <a:pt x="1318" y="1588"/>
                  </a:cubicBezTo>
                  <a:cubicBezTo>
                    <a:pt x="1365" y="1588"/>
                    <a:pt x="1365" y="1588"/>
                    <a:pt x="1365" y="1588"/>
                  </a:cubicBezTo>
                  <a:close/>
                  <a:moveTo>
                    <a:pt x="1365" y="1600"/>
                  </a:moveTo>
                  <a:cubicBezTo>
                    <a:pt x="1365" y="1605"/>
                    <a:pt x="1365" y="1605"/>
                    <a:pt x="1365" y="1605"/>
                  </a:cubicBezTo>
                  <a:cubicBezTo>
                    <a:pt x="1318" y="1605"/>
                    <a:pt x="1318" y="1605"/>
                    <a:pt x="1318" y="1605"/>
                  </a:cubicBezTo>
                  <a:cubicBezTo>
                    <a:pt x="1318" y="1600"/>
                    <a:pt x="1318" y="1600"/>
                    <a:pt x="1318" y="1600"/>
                  </a:cubicBezTo>
                  <a:cubicBezTo>
                    <a:pt x="1365" y="1600"/>
                    <a:pt x="1365" y="1600"/>
                    <a:pt x="1365" y="1600"/>
                  </a:cubicBezTo>
                  <a:close/>
                  <a:moveTo>
                    <a:pt x="1365" y="1612"/>
                  </a:moveTo>
                  <a:cubicBezTo>
                    <a:pt x="1365" y="1617"/>
                    <a:pt x="1365" y="1617"/>
                    <a:pt x="1365" y="1617"/>
                  </a:cubicBezTo>
                  <a:cubicBezTo>
                    <a:pt x="1318" y="1617"/>
                    <a:pt x="1318" y="1617"/>
                    <a:pt x="1318" y="1617"/>
                  </a:cubicBezTo>
                  <a:cubicBezTo>
                    <a:pt x="1318" y="1612"/>
                    <a:pt x="1318" y="1612"/>
                    <a:pt x="1318" y="1612"/>
                  </a:cubicBezTo>
                  <a:cubicBezTo>
                    <a:pt x="1365" y="1612"/>
                    <a:pt x="1365" y="1612"/>
                    <a:pt x="1365" y="1612"/>
                  </a:cubicBezTo>
                  <a:close/>
                  <a:moveTo>
                    <a:pt x="1365" y="1626"/>
                  </a:moveTo>
                  <a:cubicBezTo>
                    <a:pt x="1365" y="1631"/>
                    <a:pt x="1365" y="1631"/>
                    <a:pt x="1365" y="1631"/>
                  </a:cubicBezTo>
                  <a:cubicBezTo>
                    <a:pt x="1318" y="1631"/>
                    <a:pt x="1318" y="1631"/>
                    <a:pt x="1318" y="1631"/>
                  </a:cubicBezTo>
                  <a:cubicBezTo>
                    <a:pt x="1318" y="1626"/>
                    <a:pt x="1318" y="1626"/>
                    <a:pt x="1318" y="1626"/>
                  </a:cubicBezTo>
                  <a:cubicBezTo>
                    <a:pt x="1365" y="1626"/>
                    <a:pt x="1365" y="1626"/>
                    <a:pt x="1365" y="1626"/>
                  </a:cubicBezTo>
                  <a:close/>
                  <a:moveTo>
                    <a:pt x="1365" y="1637"/>
                  </a:moveTo>
                  <a:cubicBezTo>
                    <a:pt x="1365" y="1643"/>
                    <a:pt x="1365" y="1643"/>
                    <a:pt x="1365" y="1643"/>
                  </a:cubicBezTo>
                  <a:cubicBezTo>
                    <a:pt x="1318" y="1643"/>
                    <a:pt x="1318" y="1643"/>
                    <a:pt x="1318" y="1643"/>
                  </a:cubicBezTo>
                  <a:cubicBezTo>
                    <a:pt x="1318" y="1637"/>
                    <a:pt x="1318" y="1637"/>
                    <a:pt x="1318" y="1637"/>
                  </a:cubicBezTo>
                  <a:cubicBezTo>
                    <a:pt x="1365" y="1637"/>
                    <a:pt x="1365" y="1637"/>
                    <a:pt x="1365" y="1637"/>
                  </a:cubicBezTo>
                  <a:close/>
                  <a:moveTo>
                    <a:pt x="1365" y="1649"/>
                  </a:moveTo>
                  <a:cubicBezTo>
                    <a:pt x="1365" y="1655"/>
                    <a:pt x="1365" y="1655"/>
                    <a:pt x="1365" y="1655"/>
                  </a:cubicBezTo>
                  <a:cubicBezTo>
                    <a:pt x="1318" y="1655"/>
                    <a:pt x="1318" y="1655"/>
                    <a:pt x="1318" y="1655"/>
                  </a:cubicBezTo>
                  <a:cubicBezTo>
                    <a:pt x="1318" y="1649"/>
                    <a:pt x="1318" y="1649"/>
                    <a:pt x="1318" y="1649"/>
                  </a:cubicBezTo>
                  <a:cubicBezTo>
                    <a:pt x="1365" y="1649"/>
                    <a:pt x="1365" y="1649"/>
                    <a:pt x="1365" y="1649"/>
                  </a:cubicBezTo>
                  <a:close/>
                  <a:moveTo>
                    <a:pt x="1365" y="1661"/>
                  </a:moveTo>
                  <a:cubicBezTo>
                    <a:pt x="1365" y="1667"/>
                    <a:pt x="1365" y="1667"/>
                    <a:pt x="1365" y="1667"/>
                  </a:cubicBezTo>
                  <a:cubicBezTo>
                    <a:pt x="1318" y="1667"/>
                    <a:pt x="1318" y="1667"/>
                    <a:pt x="1318" y="1667"/>
                  </a:cubicBezTo>
                  <a:cubicBezTo>
                    <a:pt x="1318" y="1661"/>
                    <a:pt x="1318" y="1661"/>
                    <a:pt x="1318" y="1661"/>
                  </a:cubicBezTo>
                  <a:cubicBezTo>
                    <a:pt x="1365" y="1661"/>
                    <a:pt x="1365" y="1661"/>
                    <a:pt x="1365" y="1661"/>
                  </a:cubicBezTo>
                  <a:close/>
                  <a:moveTo>
                    <a:pt x="1365" y="1673"/>
                  </a:moveTo>
                  <a:cubicBezTo>
                    <a:pt x="1365" y="1679"/>
                    <a:pt x="1365" y="1679"/>
                    <a:pt x="1365" y="1679"/>
                  </a:cubicBezTo>
                  <a:cubicBezTo>
                    <a:pt x="1318" y="1679"/>
                    <a:pt x="1318" y="1679"/>
                    <a:pt x="1318" y="1679"/>
                  </a:cubicBezTo>
                  <a:cubicBezTo>
                    <a:pt x="1318" y="1673"/>
                    <a:pt x="1318" y="1673"/>
                    <a:pt x="1318" y="1673"/>
                  </a:cubicBezTo>
                  <a:cubicBezTo>
                    <a:pt x="1365" y="1673"/>
                    <a:pt x="1365" y="1673"/>
                    <a:pt x="1365" y="1673"/>
                  </a:cubicBezTo>
                  <a:close/>
                  <a:moveTo>
                    <a:pt x="1365" y="1685"/>
                  </a:moveTo>
                  <a:cubicBezTo>
                    <a:pt x="1365" y="1690"/>
                    <a:pt x="1365" y="1690"/>
                    <a:pt x="1365" y="1690"/>
                  </a:cubicBezTo>
                  <a:cubicBezTo>
                    <a:pt x="1318" y="1690"/>
                    <a:pt x="1318" y="1690"/>
                    <a:pt x="1318" y="1690"/>
                  </a:cubicBezTo>
                  <a:cubicBezTo>
                    <a:pt x="1318" y="1685"/>
                    <a:pt x="1318" y="1685"/>
                    <a:pt x="1318" y="1685"/>
                  </a:cubicBezTo>
                  <a:cubicBezTo>
                    <a:pt x="1365" y="1685"/>
                    <a:pt x="1365" y="1685"/>
                    <a:pt x="1365" y="1685"/>
                  </a:cubicBezTo>
                  <a:close/>
                  <a:moveTo>
                    <a:pt x="1365" y="1697"/>
                  </a:moveTo>
                  <a:cubicBezTo>
                    <a:pt x="1365" y="1702"/>
                    <a:pt x="1365" y="1702"/>
                    <a:pt x="1365" y="1702"/>
                  </a:cubicBezTo>
                  <a:cubicBezTo>
                    <a:pt x="1318" y="1702"/>
                    <a:pt x="1318" y="1702"/>
                    <a:pt x="1318" y="1702"/>
                  </a:cubicBezTo>
                  <a:cubicBezTo>
                    <a:pt x="1318" y="1697"/>
                    <a:pt x="1318" y="1697"/>
                    <a:pt x="1318" y="1697"/>
                  </a:cubicBezTo>
                  <a:cubicBezTo>
                    <a:pt x="1365" y="1697"/>
                    <a:pt x="1365" y="1697"/>
                    <a:pt x="1365" y="1697"/>
                  </a:cubicBezTo>
                  <a:close/>
                  <a:moveTo>
                    <a:pt x="1365" y="1709"/>
                  </a:moveTo>
                  <a:cubicBezTo>
                    <a:pt x="1365" y="1714"/>
                    <a:pt x="1365" y="1714"/>
                    <a:pt x="1365" y="1714"/>
                  </a:cubicBezTo>
                  <a:cubicBezTo>
                    <a:pt x="1318" y="1714"/>
                    <a:pt x="1318" y="1714"/>
                    <a:pt x="1318" y="1714"/>
                  </a:cubicBezTo>
                  <a:cubicBezTo>
                    <a:pt x="1318" y="1709"/>
                    <a:pt x="1318" y="1709"/>
                    <a:pt x="1318" y="1709"/>
                  </a:cubicBezTo>
                  <a:cubicBezTo>
                    <a:pt x="1365" y="1709"/>
                    <a:pt x="1365" y="1709"/>
                    <a:pt x="1365" y="1709"/>
                  </a:cubicBezTo>
                  <a:close/>
                  <a:moveTo>
                    <a:pt x="1365" y="1721"/>
                  </a:moveTo>
                  <a:cubicBezTo>
                    <a:pt x="1365" y="1726"/>
                    <a:pt x="1365" y="1726"/>
                    <a:pt x="1365" y="1726"/>
                  </a:cubicBezTo>
                  <a:cubicBezTo>
                    <a:pt x="1318" y="1726"/>
                    <a:pt x="1318" y="1726"/>
                    <a:pt x="1318" y="1726"/>
                  </a:cubicBezTo>
                  <a:cubicBezTo>
                    <a:pt x="1318" y="1721"/>
                    <a:pt x="1318" y="1721"/>
                    <a:pt x="1318" y="1721"/>
                  </a:cubicBezTo>
                  <a:cubicBezTo>
                    <a:pt x="1365" y="1721"/>
                    <a:pt x="1365" y="1721"/>
                    <a:pt x="1365" y="1721"/>
                  </a:cubicBezTo>
                  <a:close/>
                  <a:moveTo>
                    <a:pt x="1365" y="1733"/>
                  </a:moveTo>
                  <a:cubicBezTo>
                    <a:pt x="1365" y="1738"/>
                    <a:pt x="1365" y="1738"/>
                    <a:pt x="1365" y="1738"/>
                  </a:cubicBezTo>
                  <a:cubicBezTo>
                    <a:pt x="1318" y="1738"/>
                    <a:pt x="1318" y="1738"/>
                    <a:pt x="1318" y="1738"/>
                  </a:cubicBezTo>
                  <a:cubicBezTo>
                    <a:pt x="1318" y="1733"/>
                    <a:pt x="1318" y="1733"/>
                    <a:pt x="1318" y="1733"/>
                  </a:cubicBezTo>
                  <a:cubicBezTo>
                    <a:pt x="1365" y="1733"/>
                    <a:pt x="1365" y="1733"/>
                    <a:pt x="1365" y="1733"/>
                  </a:cubicBezTo>
                  <a:close/>
                  <a:moveTo>
                    <a:pt x="1365" y="1745"/>
                  </a:moveTo>
                  <a:cubicBezTo>
                    <a:pt x="1365" y="1750"/>
                    <a:pt x="1365" y="1750"/>
                    <a:pt x="1365" y="1750"/>
                  </a:cubicBezTo>
                  <a:cubicBezTo>
                    <a:pt x="1318" y="1750"/>
                    <a:pt x="1318" y="1750"/>
                    <a:pt x="1318" y="1750"/>
                  </a:cubicBezTo>
                  <a:cubicBezTo>
                    <a:pt x="1318" y="1745"/>
                    <a:pt x="1318" y="1745"/>
                    <a:pt x="1318" y="1745"/>
                  </a:cubicBezTo>
                  <a:cubicBezTo>
                    <a:pt x="1365" y="1745"/>
                    <a:pt x="1365" y="1745"/>
                    <a:pt x="1365" y="1745"/>
                  </a:cubicBezTo>
                  <a:close/>
                  <a:moveTo>
                    <a:pt x="1518" y="1515"/>
                  </a:moveTo>
                  <a:cubicBezTo>
                    <a:pt x="1518" y="1520"/>
                    <a:pt x="1518" y="1520"/>
                    <a:pt x="1518" y="1520"/>
                  </a:cubicBezTo>
                  <a:cubicBezTo>
                    <a:pt x="1471" y="1520"/>
                    <a:pt x="1471" y="1520"/>
                    <a:pt x="1471" y="1520"/>
                  </a:cubicBezTo>
                  <a:cubicBezTo>
                    <a:pt x="1471" y="1515"/>
                    <a:pt x="1471" y="1515"/>
                    <a:pt x="1471" y="1515"/>
                  </a:cubicBezTo>
                  <a:cubicBezTo>
                    <a:pt x="1518" y="1515"/>
                    <a:pt x="1518" y="1515"/>
                    <a:pt x="1518" y="1515"/>
                  </a:cubicBezTo>
                  <a:close/>
                  <a:moveTo>
                    <a:pt x="1518" y="1528"/>
                  </a:moveTo>
                  <a:cubicBezTo>
                    <a:pt x="1518" y="1534"/>
                    <a:pt x="1518" y="1534"/>
                    <a:pt x="1518" y="1534"/>
                  </a:cubicBezTo>
                  <a:cubicBezTo>
                    <a:pt x="1471" y="1534"/>
                    <a:pt x="1471" y="1534"/>
                    <a:pt x="1471" y="1534"/>
                  </a:cubicBezTo>
                  <a:cubicBezTo>
                    <a:pt x="1471" y="1528"/>
                    <a:pt x="1471" y="1528"/>
                    <a:pt x="1471" y="1528"/>
                  </a:cubicBezTo>
                  <a:cubicBezTo>
                    <a:pt x="1518" y="1528"/>
                    <a:pt x="1518" y="1528"/>
                    <a:pt x="1518" y="1528"/>
                  </a:cubicBezTo>
                  <a:close/>
                  <a:moveTo>
                    <a:pt x="1518" y="1541"/>
                  </a:moveTo>
                  <a:cubicBezTo>
                    <a:pt x="1518" y="1547"/>
                    <a:pt x="1518" y="1547"/>
                    <a:pt x="1518" y="1547"/>
                  </a:cubicBezTo>
                  <a:cubicBezTo>
                    <a:pt x="1471" y="1547"/>
                    <a:pt x="1471" y="1547"/>
                    <a:pt x="1471" y="1547"/>
                  </a:cubicBezTo>
                  <a:cubicBezTo>
                    <a:pt x="1471" y="1541"/>
                    <a:pt x="1471" y="1541"/>
                    <a:pt x="1471" y="1541"/>
                  </a:cubicBezTo>
                  <a:cubicBezTo>
                    <a:pt x="1518" y="1541"/>
                    <a:pt x="1518" y="1541"/>
                    <a:pt x="1518" y="1541"/>
                  </a:cubicBezTo>
                  <a:close/>
                  <a:moveTo>
                    <a:pt x="1518" y="1552"/>
                  </a:moveTo>
                  <a:cubicBezTo>
                    <a:pt x="1518" y="1558"/>
                    <a:pt x="1518" y="1558"/>
                    <a:pt x="1518" y="1558"/>
                  </a:cubicBezTo>
                  <a:cubicBezTo>
                    <a:pt x="1471" y="1558"/>
                    <a:pt x="1471" y="1558"/>
                    <a:pt x="1471" y="1558"/>
                  </a:cubicBezTo>
                  <a:cubicBezTo>
                    <a:pt x="1471" y="1552"/>
                    <a:pt x="1471" y="1552"/>
                    <a:pt x="1471" y="1552"/>
                  </a:cubicBezTo>
                  <a:cubicBezTo>
                    <a:pt x="1518" y="1552"/>
                    <a:pt x="1518" y="1552"/>
                    <a:pt x="1518" y="1552"/>
                  </a:cubicBezTo>
                  <a:close/>
                  <a:moveTo>
                    <a:pt x="1518" y="1564"/>
                  </a:moveTo>
                  <a:cubicBezTo>
                    <a:pt x="1518" y="1570"/>
                    <a:pt x="1518" y="1570"/>
                    <a:pt x="1518" y="1570"/>
                  </a:cubicBezTo>
                  <a:cubicBezTo>
                    <a:pt x="1471" y="1570"/>
                    <a:pt x="1471" y="1570"/>
                    <a:pt x="1471" y="1570"/>
                  </a:cubicBezTo>
                  <a:cubicBezTo>
                    <a:pt x="1471" y="1564"/>
                    <a:pt x="1471" y="1564"/>
                    <a:pt x="1471" y="1564"/>
                  </a:cubicBezTo>
                  <a:cubicBezTo>
                    <a:pt x="1518" y="1564"/>
                    <a:pt x="1518" y="1564"/>
                    <a:pt x="1518" y="1564"/>
                  </a:cubicBezTo>
                  <a:close/>
                  <a:moveTo>
                    <a:pt x="1518" y="1576"/>
                  </a:moveTo>
                  <a:cubicBezTo>
                    <a:pt x="1518" y="1582"/>
                    <a:pt x="1518" y="1582"/>
                    <a:pt x="1518" y="1582"/>
                  </a:cubicBezTo>
                  <a:cubicBezTo>
                    <a:pt x="1471" y="1582"/>
                    <a:pt x="1471" y="1582"/>
                    <a:pt x="1471" y="1582"/>
                  </a:cubicBezTo>
                  <a:cubicBezTo>
                    <a:pt x="1471" y="1576"/>
                    <a:pt x="1471" y="1576"/>
                    <a:pt x="1471" y="1576"/>
                  </a:cubicBezTo>
                  <a:cubicBezTo>
                    <a:pt x="1518" y="1576"/>
                    <a:pt x="1518" y="1576"/>
                    <a:pt x="1518" y="1576"/>
                  </a:cubicBezTo>
                  <a:close/>
                  <a:moveTo>
                    <a:pt x="1518" y="1588"/>
                  </a:moveTo>
                  <a:cubicBezTo>
                    <a:pt x="1518" y="1594"/>
                    <a:pt x="1518" y="1594"/>
                    <a:pt x="1518" y="1594"/>
                  </a:cubicBezTo>
                  <a:cubicBezTo>
                    <a:pt x="1471" y="1594"/>
                    <a:pt x="1471" y="1594"/>
                    <a:pt x="1471" y="1594"/>
                  </a:cubicBezTo>
                  <a:cubicBezTo>
                    <a:pt x="1471" y="1588"/>
                    <a:pt x="1471" y="1588"/>
                    <a:pt x="1471" y="1588"/>
                  </a:cubicBezTo>
                  <a:cubicBezTo>
                    <a:pt x="1518" y="1588"/>
                    <a:pt x="1518" y="1588"/>
                    <a:pt x="1518" y="1588"/>
                  </a:cubicBezTo>
                  <a:close/>
                  <a:moveTo>
                    <a:pt x="1518" y="1600"/>
                  </a:moveTo>
                  <a:cubicBezTo>
                    <a:pt x="1518" y="1605"/>
                    <a:pt x="1518" y="1605"/>
                    <a:pt x="1518" y="1605"/>
                  </a:cubicBezTo>
                  <a:cubicBezTo>
                    <a:pt x="1471" y="1605"/>
                    <a:pt x="1471" y="1605"/>
                    <a:pt x="1471" y="1605"/>
                  </a:cubicBezTo>
                  <a:cubicBezTo>
                    <a:pt x="1471" y="1600"/>
                    <a:pt x="1471" y="1600"/>
                    <a:pt x="1471" y="1600"/>
                  </a:cubicBezTo>
                  <a:cubicBezTo>
                    <a:pt x="1518" y="1600"/>
                    <a:pt x="1518" y="1600"/>
                    <a:pt x="1518" y="1600"/>
                  </a:cubicBezTo>
                  <a:close/>
                  <a:moveTo>
                    <a:pt x="1518" y="1612"/>
                  </a:moveTo>
                  <a:cubicBezTo>
                    <a:pt x="1518" y="1617"/>
                    <a:pt x="1518" y="1617"/>
                    <a:pt x="1518" y="1617"/>
                  </a:cubicBezTo>
                  <a:cubicBezTo>
                    <a:pt x="1471" y="1617"/>
                    <a:pt x="1471" y="1617"/>
                    <a:pt x="1471" y="1617"/>
                  </a:cubicBezTo>
                  <a:cubicBezTo>
                    <a:pt x="1471" y="1612"/>
                    <a:pt x="1471" y="1612"/>
                    <a:pt x="1471" y="1612"/>
                  </a:cubicBezTo>
                  <a:cubicBezTo>
                    <a:pt x="1518" y="1612"/>
                    <a:pt x="1518" y="1612"/>
                    <a:pt x="1518" y="1612"/>
                  </a:cubicBezTo>
                  <a:close/>
                  <a:moveTo>
                    <a:pt x="1518" y="1626"/>
                  </a:moveTo>
                  <a:cubicBezTo>
                    <a:pt x="1518" y="1631"/>
                    <a:pt x="1518" y="1631"/>
                    <a:pt x="1518" y="1631"/>
                  </a:cubicBezTo>
                  <a:cubicBezTo>
                    <a:pt x="1471" y="1631"/>
                    <a:pt x="1471" y="1631"/>
                    <a:pt x="1471" y="1631"/>
                  </a:cubicBezTo>
                  <a:cubicBezTo>
                    <a:pt x="1471" y="1626"/>
                    <a:pt x="1471" y="1626"/>
                    <a:pt x="1471" y="1626"/>
                  </a:cubicBezTo>
                  <a:cubicBezTo>
                    <a:pt x="1518" y="1626"/>
                    <a:pt x="1518" y="1626"/>
                    <a:pt x="1518" y="1626"/>
                  </a:cubicBezTo>
                  <a:close/>
                  <a:moveTo>
                    <a:pt x="1518" y="1637"/>
                  </a:moveTo>
                  <a:cubicBezTo>
                    <a:pt x="1518" y="1643"/>
                    <a:pt x="1518" y="1643"/>
                    <a:pt x="1518" y="1643"/>
                  </a:cubicBezTo>
                  <a:cubicBezTo>
                    <a:pt x="1471" y="1643"/>
                    <a:pt x="1471" y="1643"/>
                    <a:pt x="1471" y="1643"/>
                  </a:cubicBezTo>
                  <a:cubicBezTo>
                    <a:pt x="1471" y="1637"/>
                    <a:pt x="1471" y="1637"/>
                    <a:pt x="1471" y="1637"/>
                  </a:cubicBezTo>
                  <a:cubicBezTo>
                    <a:pt x="1518" y="1637"/>
                    <a:pt x="1518" y="1637"/>
                    <a:pt x="1518" y="1637"/>
                  </a:cubicBezTo>
                  <a:close/>
                  <a:moveTo>
                    <a:pt x="1518" y="1649"/>
                  </a:moveTo>
                  <a:cubicBezTo>
                    <a:pt x="1518" y="1655"/>
                    <a:pt x="1518" y="1655"/>
                    <a:pt x="1518" y="1655"/>
                  </a:cubicBezTo>
                  <a:cubicBezTo>
                    <a:pt x="1471" y="1655"/>
                    <a:pt x="1471" y="1655"/>
                    <a:pt x="1471" y="1655"/>
                  </a:cubicBezTo>
                  <a:cubicBezTo>
                    <a:pt x="1471" y="1649"/>
                    <a:pt x="1471" y="1649"/>
                    <a:pt x="1471" y="1649"/>
                  </a:cubicBezTo>
                  <a:cubicBezTo>
                    <a:pt x="1518" y="1649"/>
                    <a:pt x="1518" y="1649"/>
                    <a:pt x="1518" y="1649"/>
                  </a:cubicBezTo>
                  <a:close/>
                  <a:moveTo>
                    <a:pt x="1518" y="1661"/>
                  </a:moveTo>
                  <a:cubicBezTo>
                    <a:pt x="1518" y="1667"/>
                    <a:pt x="1518" y="1667"/>
                    <a:pt x="1518" y="1667"/>
                  </a:cubicBezTo>
                  <a:cubicBezTo>
                    <a:pt x="1471" y="1667"/>
                    <a:pt x="1471" y="1667"/>
                    <a:pt x="1471" y="1667"/>
                  </a:cubicBezTo>
                  <a:cubicBezTo>
                    <a:pt x="1471" y="1661"/>
                    <a:pt x="1471" y="1661"/>
                    <a:pt x="1471" y="1661"/>
                  </a:cubicBezTo>
                  <a:cubicBezTo>
                    <a:pt x="1518" y="1661"/>
                    <a:pt x="1518" y="1661"/>
                    <a:pt x="1518" y="1661"/>
                  </a:cubicBezTo>
                  <a:close/>
                  <a:moveTo>
                    <a:pt x="1518" y="1673"/>
                  </a:moveTo>
                  <a:cubicBezTo>
                    <a:pt x="1518" y="1679"/>
                    <a:pt x="1518" y="1679"/>
                    <a:pt x="1518" y="1679"/>
                  </a:cubicBezTo>
                  <a:cubicBezTo>
                    <a:pt x="1471" y="1679"/>
                    <a:pt x="1471" y="1679"/>
                    <a:pt x="1471" y="1679"/>
                  </a:cubicBezTo>
                  <a:cubicBezTo>
                    <a:pt x="1471" y="1673"/>
                    <a:pt x="1471" y="1673"/>
                    <a:pt x="1471" y="1673"/>
                  </a:cubicBezTo>
                  <a:cubicBezTo>
                    <a:pt x="1518" y="1673"/>
                    <a:pt x="1518" y="1673"/>
                    <a:pt x="1518" y="1673"/>
                  </a:cubicBezTo>
                  <a:close/>
                  <a:moveTo>
                    <a:pt x="1518" y="1685"/>
                  </a:moveTo>
                  <a:cubicBezTo>
                    <a:pt x="1518" y="1690"/>
                    <a:pt x="1518" y="1690"/>
                    <a:pt x="1518" y="1690"/>
                  </a:cubicBezTo>
                  <a:cubicBezTo>
                    <a:pt x="1471" y="1690"/>
                    <a:pt x="1471" y="1690"/>
                    <a:pt x="1471" y="1690"/>
                  </a:cubicBezTo>
                  <a:cubicBezTo>
                    <a:pt x="1471" y="1685"/>
                    <a:pt x="1471" y="1685"/>
                    <a:pt x="1471" y="1685"/>
                  </a:cubicBezTo>
                  <a:cubicBezTo>
                    <a:pt x="1518" y="1685"/>
                    <a:pt x="1518" y="1685"/>
                    <a:pt x="1518" y="1685"/>
                  </a:cubicBezTo>
                  <a:close/>
                  <a:moveTo>
                    <a:pt x="1518" y="1697"/>
                  </a:moveTo>
                  <a:cubicBezTo>
                    <a:pt x="1518" y="1702"/>
                    <a:pt x="1518" y="1702"/>
                    <a:pt x="1518" y="1702"/>
                  </a:cubicBezTo>
                  <a:cubicBezTo>
                    <a:pt x="1471" y="1702"/>
                    <a:pt x="1471" y="1702"/>
                    <a:pt x="1471" y="1702"/>
                  </a:cubicBezTo>
                  <a:cubicBezTo>
                    <a:pt x="1471" y="1697"/>
                    <a:pt x="1471" y="1697"/>
                    <a:pt x="1471" y="1697"/>
                  </a:cubicBezTo>
                  <a:cubicBezTo>
                    <a:pt x="1518" y="1697"/>
                    <a:pt x="1518" y="1697"/>
                    <a:pt x="1518" y="1697"/>
                  </a:cubicBezTo>
                  <a:close/>
                  <a:moveTo>
                    <a:pt x="1518" y="1709"/>
                  </a:moveTo>
                  <a:cubicBezTo>
                    <a:pt x="1518" y="1714"/>
                    <a:pt x="1518" y="1714"/>
                    <a:pt x="1518" y="1714"/>
                  </a:cubicBezTo>
                  <a:cubicBezTo>
                    <a:pt x="1471" y="1714"/>
                    <a:pt x="1471" y="1714"/>
                    <a:pt x="1471" y="1714"/>
                  </a:cubicBezTo>
                  <a:cubicBezTo>
                    <a:pt x="1471" y="1709"/>
                    <a:pt x="1471" y="1709"/>
                    <a:pt x="1471" y="1709"/>
                  </a:cubicBezTo>
                  <a:cubicBezTo>
                    <a:pt x="1518" y="1709"/>
                    <a:pt x="1518" y="1709"/>
                    <a:pt x="1518" y="1709"/>
                  </a:cubicBezTo>
                  <a:close/>
                  <a:moveTo>
                    <a:pt x="1518" y="1721"/>
                  </a:moveTo>
                  <a:cubicBezTo>
                    <a:pt x="1518" y="1726"/>
                    <a:pt x="1518" y="1726"/>
                    <a:pt x="1518" y="1726"/>
                  </a:cubicBezTo>
                  <a:cubicBezTo>
                    <a:pt x="1471" y="1726"/>
                    <a:pt x="1471" y="1726"/>
                    <a:pt x="1471" y="1726"/>
                  </a:cubicBezTo>
                  <a:cubicBezTo>
                    <a:pt x="1471" y="1721"/>
                    <a:pt x="1471" y="1721"/>
                    <a:pt x="1471" y="1721"/>
                  </a:cubicBezTo>
                  <a:cubicBezTo>
                    <a:pt x="1518" y="1721"/>
                    <a:pt x="1518" y="1721"/>
                    <a:pt x="1518" y="1721"/>
                  </a:cubicBezTo>
                  <a:close/>
                  <a:moveTo>
                    <a:pt x="1518" y="1733"/>
                  </a:moveTo>
                  <a:cubicBezTo>
                    <a:pt x="1518" y="1738"/>
                    <a:pt x="1518" y="1738"/>
                    <a:pt x="1518" y="1738"/>
                  </a:cubicBezTo>
                  <a:cubicBezTo>
                    <a:pt x="1471" y="1738"/>
                    <a:pt x="1471" y="1738"/>
                    <a:pt x="1471" y="1738"/>
                  </a:cubicBezTo>
                  <a:cubicBezTo>
                    <a:pt x="1471" y="1733"/>
                    <a:pt x="1471" y="1733"/>
                    <a:pt x="1471" y="1733"/>
                  </a:cubicBezTo>
                  <a:cubicBezTo>
                    <a:pt x="1518" y="1733"/>
                    <a:pt x="1518" y="1733"/>
                    <a:pt x="1518" y="1733"/>
                  </a:cubicBezTo>
                  <a:close/>
                  <a:moveTo>
                    <a:pt x="1518" y="1745"/>
                  </a:moveTo>
                  <a:cubicBezTo>
                    <a:pt x="1518" y="1750"/>
                    <a:pt x="1518" y="1750"/>
                    <a:pt x="1518" y="1750"/>
                  </a:cubicBezTo>
                  <a:cubicBezTo>
                    <a:pt x="1471" y="1750"/>
                    <a:pt x="1471" y="1750"/>
                    <a:pt x="1471" y="1750"/>
                  </a:cubicBezTo>
                  <a:cubicBezTo>
                    <a:pt x="1471" y="1745"/>
                    <a:pt x="1471" y="1745"/>
                    <a:pt x="1471" y="1745"/>
                  </a:cubicBezTo>
                  <a:cubicBezTo>
                    <a:pt x="1518" y="1745"/>
                    <a:pt x="1518" y="1745"/>
                    <a:pt x="1518" y="1745"/>
                  </a:cubicBezTo>
                  <a:close/>
                  <a:moveTo>
                    <a:pt x="917" y="1601"/>
                  </a:moveTo>
                  <a:cubicBezTo>
                    <a:pt x="970" y="1601"/>
                    <a:pt x="970" y="1601"/>
                    <a:pt x="970" y="1601"/>
                  </a:cubicBezTo>
                  <a:cubicBezTo>
                    <a:pt x="970" y="1664"/>
                    <a:pt x="970" y="1664"/>
                    <a:pt x="970" y="1664"/>
                  </a:cubicBezTo>
                  <a:cubicBezTo>
                    <a:pt x="917" y="1664"/>
                    <a:pt x="917" y="1664"/>
                    <a:pt x="917" y="1664"/>
                  </a:cubicBezTo>
                  <a:cubicBezTo>
                    <a:pt x="917" y="1601"/>
                    <a:pt x="917" y="1601"/>
                    <a:pt x="917" y="1601"/>
                  </a:cubicBezTo>
                  <a:close/>
                  <a:moveTo>
                    <a:pt x="997" y="1515"/>
                  </a:moveTo>
                  <a:cubicBezTo>
                    <a:pt x="1043" y="1515"/>
                    <a:pt x="1043" y="1515"/>
                    <a:pt x="1043" y="1515"/>
                  </a:cubicBezTo>
                  <a:cubicBezTo>
                    <a:pt x="1043" y="1520"/>
                    <a:pt x="1043" y="1520"/>
                    <a:pt x="1043" y="1520"/>
                  </a:cubicBezTo>
                  <a:cubicBezTo>
                    <a:pt x="997" y="1520"/>
                    <a:pt x="997" y="1520"/>
                    <a:pt x="997" y="1520"/>
                  </a:cubicBezTo>
                  <a:cubicBezTo>
                    <a:pt x="997" y="1515"/>
                    <a:pt x="997" y="1515"/>
                    <a:pt x="997" y="1515"/>
                  </a:cubicBezTo>
                  <a:close/>
                  <a:moveTo>
                    <a:pt x="997" y="1528"/>
                  </a:moveTo>
                  <a:cubicBezTo>
                    <a:pt x="1043" y="1528"/>
                    <a:pt x="1043" y="1528"/>
                    <a:pt x="1043" y="1528"/>
                  </a:cubicBezTo>
                  <a:cubicBezTo>
                    <a:pt x="1043" y="1534"/>
                    <a:pt x="1043" y="1534"/>
                    <a:pt x="1043" y="1534"/>
                  </a:cubicBezTo>
                  <a:cubicBezTo>
                    <a:pt x="997" y="1534"/>
                    <a:pt x="997" y="1534"/>
                    <a:pt x="997" y="1534"/>
                  </a:cubicBezTo>
                  <a:cubicBezTo>
                    <a:pt x="997" y="1528"/>
                    <a:pt x="997" y="1528"/>
                    <a:pt x="997" y="1528"/>
                  </a:cubicBezTo>
                  <a:close/>
                  <a:moveTo>
                    <a:pt x="997" y="1541"/>
                  </a:moveTo>
                  <a:cubicBezTo>
                    <a:pt x="1043" y="1541"/>
                    <a:pt x="1043" y="1541"/>
                    <a:pt x="1043" y="1541"/>
                  </a:cubicBezTo>
                  <a:cubicBezTo>
                    <a:pt x="1043" y="1547"/>
                    <a:pt x="1043" y="1547"/>
                    <a:pt x="1043" y="1547"/>
                  </a:cubicBezTo>
                  <a:cubicBezTo>
                    <a:pt x="997" y="1547"/>
                    <a:pt x="997" y="1547"/>
                    <a:pt x="997" y="1547"/>
                  </a:cubicBezTo>
                  <a:cubicBezTo>
                    <a:pt x="997" y="1541"/>
                    <a:pt x="997" y="1541"/>
                    <a:pt x="997" y="1541"/>
                  </a:cubicBezTo>
                  <a:close/>
                  <a:moveTo>
                    <a:pt x="997" y="1552"/>
                  </a:moveTo>
                  <a:cubicBezTo>
                    <a:pt x="1043" y="1552"/>
                    <a:pt x="1043" y="1552"/>
                    <a:pt x="1043" y="1552"/>
                  </a:cubicBezTo>
                  <a:cubicBezTo>
                    <a:pt x="1043" y="1558"/>
                    <a:pt x="1043" y="1558"/>
                    <a:pt x="1043" y="1558"/>
                  </a:cubicBezTo>
                  <a:cubicBezTo>
                    <a:pt x="997" y="1558"/>
                    <a:pt x="997" y="1558"/>
                    <a:pt x="997" y="1558"/>
                  </a:cubicBezTo>
                  <a:cubicBezTo>
                    <a:pt x="997" y="1552"/>
                    <a:pt x="997" y="1552"/>
                    <a:pt x="997" y="1552"/>
                  </a:cubicBezTo>
                  <a:close/>
                  <a:moveTo>
                    <a:pt x="997" y="1564"/>
                  </a:moveTo>
                  <a:cubicBezTo>
                    <a:pt x="1043" y="1564"/>
                    <a:pt x="1043" y="1564"/>
                    <a:pt x="1043" y="1564"/>
                  </a:cubicBezTo>
                  <a:cubicBezTo>
                    <a:pt x="1043" y="1570"/>
                    <a:pt x="1043" y="1570"/>
                    <a:pt x="1043" y="1570"/>
                  </a:cubicBezTo>
                  <a:cubicBezTo>
                    <a:pt x="997" y="1570"/>
                    <a:pt x="997" y="1570"/>
                    <a:pt x="997" y="1570"/>
                  </a:cubicBezTo>
                  <a:cubicBezTo>
                    <a:pt x="997" y="1564"/>
                    <a:pt x="997" y="1564"/>
                    <a:pt x="997" y="1564"/>
                  </a:cubicBezTo>
                  <a:close/>
                  <a:moveTo>
                    <a:pt x="997" y="1576"/>
                  </a:moveTo>
                  <a:cubicBezTo>
                    <a:pt x="1043" y="1576"/>
                    <a:pt x="1043" y="1576"/>
                    <a:pt x="1043" y="1576"/>
                  </a:cubicBezTo>
                  <a:cubicBezTo>
                    <a:pt x="1043" y="1582"/>
                    <a:pt x="1043" y="1582"/>
                    <a:pt x="1043" y="1582"/>
                  </a:cubicBezTo>
                  <a:cubicBezTo>
                    <a:pt x="997" y="1582"/>
                    <a:pt x="997" y="1582"/>
                    <a:pt x="997" y="1582"/>
                  </a:cubicBezTo>
                  <a:cubicBezTo>
                    <a:pt x="997" y="1576"/>
                    <a:pt x="997" y="1576"/>
                    <a:pt x="997" y="1576"/>
                  </a:cubicBezTo>
                  <a:close/>
                  <a:moveTo>
                    <a:pt x="997" y="1588"/>
                  </a:moveTo>
                  <a:cubicBezTo>
                    <a:pt x="1043" y="1588"/>
                    <a:pt x="1043" y="1588"/>
                    <a:pt x="1043" y="1588"/>
                  </a:cubicBezTo>
                  <a:cubicBezTo>
                    <a:pt x="1043" y="1594"/>
                    <a:pt x="1043" y="1594"/>
                    <a:pt x="1043" y="1594"/>
                  </a:cubicBezTo>
                  <a:cubicBezTo>
                    <a:pt x="997" y="1594"/>
                    <a:pt x="997" y="1594"/>
                    <a:pt x="997" y="1594"/>
                  </a:cubicBezTo>
                  <a:cubicBezTo>
                    <a:pt x="997" y="1588"/>
                    <a:pt x="997" y="1588"/>
                    <a:pt x="997" y="1588"/>
                  </a:cubicBezTo>
                  <a:close/>
                  <a:moveTo>
                    <a:pt x="997" y="1600"/>
                  </a:moveTo>
                  <a:cubicBezTo>
                    <a:pt x="1043" y="1600"/>
                    <a:pt x="1043" y="1600"/>
                    <a:pt x="1043" y="1600"/>
                  </a:cubicBezTo>
                  <a:cubicBezTo>
                    <a:pt x="1043" y="1605"/>
                    <a:pt x="1043" y="1605"/>
                    <a:pt x="1043" y="1605"/>
                  </a:cubicBezTo>
                  <a:cubicBezTo>
                    <a:pt x="997" y="1605"/>
                    <a:pt x="997" y="1605"/>
                    <a:pt x="997" y="1605"/>
                  </a:cubicBezTo>
                  <a:cubicBezTo>
                    <a:pt x="997" y="1600"/>
                    <a:pt x="997" y="1600"/>
                    <a:pt x="997" y="1600"/>
                  </a:cubicBezTo>
                  <a:close/>
                  <a:moveTo>
                    <a:pt x="997" y="1612"/>
                  </a:moveTo>
                  <a:cubicBezTo>
                    <a:pt x="1043" y="1612"/>
                    <a:pt x="1043" y="1612"/>
                    <a:pt x="1043" y="1612"/>
                  </a:cubicBezTo>
                  <a:cubicBezTo>
                    <a:pt x="1043" y="1617"/>
                    <a:pt x="1043" y="1617"/>
                    <a:pt x="1043" y="1617"/>
                  </a:cubicBezTo>
                  <a:cubicBezTo>
                    <a:pt x="997" y="1617"/>
                    <a:pt x="997" y="1617"/>
                    <a:pt x="997" y="1617"/>
                  </a:cubicBezTo>
                  <a:cubicBezTo>
                    <a:pt x="997" y="1612"/>
                    <a:pt x="997" y="1612"/>
                    <a:pt x="997" y="1612"/>
                  </a:cubicBezTo>
                  <a:close/>
                  <a:moveTo>
                    <a:pt x="997" y="1626"/>
                  </a:moveTo>
                  <a:cubicBezTo>
                    <a:pt x="1043" y="1626"/>
                    <a:pt x="1043" y="1626"/>
                    <a:pt x="1043" y="1626"/>
                  </a:cubicBezTo>
                  <a:cubicBezTo>
                    <a:pt x="1043" y="1631"/>
                    <a:pt x="1043" y="1631"/>
                    <a:pt x="1043" y="1631"/>
                  </a:cubicBezTo>
                  <a:cubicBezTo>
                    <a:pt x="997" y="1631"/>
                    <a:pt x="997" y="1631"/>
                    <a:pt x="997" y="1631"/>
                  </a:cubicBezTo>
                  <a:cubicBezTo>
                    <a:pt x="997" y="1626"/>
                    <a:pt x="997" y="1626"/>
                    <a:pt x="997" y="1626"/>
                  </a:cubicBezTo>
                  <a:close/>
                  <a:moveTo>
                    <a:pt x="997" y="1637"/>
                  </a:moveTo>
                  <a:cubicBezTo>
                    <a:pt x="1043" y="1637"/>
                    <a:pt x="1043" y="1637"/>
                    <a:pt x="1043" y="1637"/>
                  </a:cubicBezTo>
                  <a:cubicBezTo>
                    <a:pt x="1043" y="1643"/>
                    <a:pt x="1043" y="1643"/>
                    <a:pt x="1043" y="1643"/>
                  </a:cubicBezTo>
                  <a:cubicBezTo>
                    <a:pt x="997" y="1643"/>
                    <a:pt x="997" y="1643"/>
                    <a:pt x="997" y="1643"/>
                  </a:cubicBezTo>
                  <a:cubicBezTo>
                    <a:pt x="997" y="1637"/>
                    <a:pt x="997" y="1637"/>
                    <a:pt x="997" y="1637"/>
                  </a:cubicBezTo>
                  <a:close/>
                  <a:moveTo>
                    <a:pt x="997" y="1649"/>
                  </a:moveTo>
                  <a:cubicBezTo>
                    <a:pt x="1043" y="1649"/>
                    <a:pt x="1043" y="1649"/>
                    <a:pt x="1043" y="1649"/>
                  </a:cubicBezTo>
                  <a:cubicBezTo>
                    <a:pt x="1043" y="1655"/>
                    <a:pt x="1043" y="1655"/>
                    <a:pt x="1043" y="1655"/>
                  </a:cubicBezTo>
                  <a:cubicBezTo>
                    <a:pt x="997" y="1655"/>
                    <a:pt x="997" y="1655"/>
                    <a:pt x="997" y="1655"/>
                  </a:cubicBezTo>
                  <a:cubicBezTo>
                    <a:pt x="997" y="1649"/>
                    <a:pt x="997" y="1649"/>
                    <a:pt x="997" y="1649"/>
                  </a:cubicBezTo>
                  <a:close/>
                  <a:moveTo>
                    <a:pt x="997" y="1661"/>
                  </a:moveTo>
                  <a:cubicBezTo>
                    <a:pt x="1043" y="1661"/>
                    <a:pt x="1043" y="1661"/>
                    <a:pt x="1043" y="1661"/>
                  </a:cubicBezTo>
                  <a:cubicBezTo>
                    <a:pt x="1043" y="1667"/>
                    <a:pt x="1043" y="1667"/>
                    <a:pt x="1043" y="1667"/>
                  </a:cubicBezTo>
                  <a:cubicBezTo>
                    <a:pt x="997" y="1667"/>
                    <a:pt x="997" y="1667"/>
                    <a:pt x="997" y="1667"/>
                  </a:cubicBezTo>
                  <a:cubicBezTo>
                    <a:pt x="997" y="1661"/>
                    <a:pt x="997" y="1661"/>
                    <a:pt x="997" y="1661"/>
                  </a:cubicBezTo>
                  <a:close/>
                  <a:moveTo>
                    <a:pt x="997" y="1673"/>
                  </a:moveTo>
                  <a:cubicBezTo>
                    <a:pt x="1043" y="1673"/>
                    <a:pt x="1043" y="1673"/>
                    <a:pt x="1043" y="1673"/>
                  </a:cubicBezTo>
                  <a:cubicBezTo>
                    <a:pt x="1043" y="1679"/>
                    <a:pt x="1043" y="1679"/>
                    <a:pt x="1043" y="1679"/>
                  </a:cubicBezTo>
                  <a:cubicBezTo>
                    <a:pt x="997" y="1679"/>
                    <a:pt x="997" y="1679"/>
                    <a:pt x="997" y="1679"/>
                  </a:cubicBezTo>
                  <a:cubicBezTo>
                    <a:pt x="997" y="1673"/>
                    <a:pt x="997" y="1673"/>
                    <a:pt x="997" y="1673"/>
                  </a:cubicBezTo>
                  <a:close/>
                  <a:moveTo>
                    <a:pt x="997" y="1685"/>
                  </a:moveTo>
                  <a:cubicBezTo>
                    <a:pt x="1043" y="1685"/>
                    <a:pt x="1043" y="1685"/>
                    <a:pt x="1043" y="1685"/>
                  </a:cubicBezTo>
                  <a:cubicBezTo>
                    <a:pt x="1043" y="1690"/>
                    <a:pt x="1043" y="1690"/>
                    <a:pt x="1043" y="1690"/>
                  </a:cubicBezTo>
                  <a:cubicBezTo>
                    <a:pt x="997" y="1690"/>
                    <a:pt x="997" y="1690"/>
                    <a:pt x="997" y="1690"/>
                  </a:cubicBezTo>
                  <a:cubicBezTo>
                    <a:pt x="997" y="1685"/>
                    <a:pt x="997" y="1685"/>
                    <a:pt x="997" y="1685"/>
                  </a:cubicBezTo>
                  <a:close/>
                  <a:moveTo>
                    <a:pt x="997" y="1697"/>
                  </a:moveTo>
                  <a:cubicBezTo>
                    <a:pt x="1043" y="1697"/>
                    <a:pt x="1043" y="1697"/>
                    <a:pt x="1043" y="1697"/>
                  </a:cubicBezTo>
                  <a:cubicBezTo>
                    <a:pt x="1043" y="1702"/>
                    <a:pt x="1043" y="1702"/>
                    <a:pt x="1043" y="1702"/>
                  </a:cubicBezTo>
                  <a:cubicBezTo>
                    <a:pt x="997" y="1702"/>
                    <a:pt x="997" y="1702"/>
                    <a:pt x="997" y="1702"/>
                  </a:cubicBezTo>
                  <a:cubicBezTo>
                    <a:pt x="997" y="1697"/>
                    <a:pt x="997" y="1697"/>
                    <a:pt x="997" y="1697"/>
                  </a:cubicBezTo>
                  <a:close/>
                  <a:moveTo>
                    <a:pt x="997" y="1709"/>
                  </a:moveTo>
                  <a:cubicBezTo>
                    <a:pt x="1043" y="1709"/>
                    <a:pt x="1043" y="1709"/>
                    <a:pt x="1043" y="1709"/>
                  </a:cubicBezTo>
                  <a:cubicBezTo>
                    <a:pt x="1043" y="1714"/>
                    <a:pt x="1043" y="1714"/>
                    <a:pt x="1043" y="1714"/>
                  </a:cubicBezTo>
                  <a:cubicBezTo>
                    <a:pt x="997" y="1714"/>
                    <a:pt x="997" y="1714"/>
                    <a:pt x="997" y="1714"/>
                  </a:cubicBezTo>
                  <a:cubicBezTo>
                    <a:pt x="997" y="1709"/>
                    <a:pt x="997" y="1709"/>
                    <a:pt x="997" y="1709"/>
                  </a:cubicBezTo>
                  <a:close/>
                  <a:moveTo>
                    <a:pt x="997" y="1721"/>
                  </a:moveTo>
                  <a:cubicBezTo>
                    <a:pt x="1043" y="1721"/>
                    <a:pt x="1043" y="1721"/>
                    <a:pt x="1043" y="1721"/>
                  </a:cubicBezTo>
                  <a:cubicBezTo>
                    <a:pt x="1043" y="1726"/>
                    <a:pt x="1043" y="1726"/>
                    <a:pt x="1043" y="1726"/>
                  </a:cubicBezTo>
                  <a:cubicBezTo>
                    <a:pt x="997" y="1726"/>
                    <a:pt x="997" y="1726"/>
                    <a:pt x="997" y="1726"/>
                  </a:cubicBezTo>
                  <a:cubicBezTo>
                    <a:pt x="997" y="1721"/>
                    <a:pt x="997" y="1721"/>
                    <a:pt x="997" y="1721"/>
                  </a:cubicBezTo>
                  <a:close/>
                  <a:moveTo>
                    <a:pt x="997" y="1733"/>
                  </a:moveTo>
                  <a:cubicBezTo>
                    <a:pt x="1043" y="1733"/>
                    <a:pt x="1043" y="1733"/>
                    <a:pt x="1043" y="1733"/>
                  </a:cubicBezTo>
                  <a:cubicBezTo>
                    <a:pt x="1043" y="1738"/>
                    <a:pt x="1043" y="1738"/>
                    <a:pt x="1043" y="1738"/>
                  </a:cubicBezTo>
                  <a:cubicBezTo>
                    <a:pt x="997" y="1738"/>
                    <a:pt x="997" y="1738"/>
                    <a:pt x="997" y="1738"/>
                  </a:cubicBezTo>
                  <a:cubicBezTo>
                    <a:pt x="997" y="1733"/>
                    <a:pt x="997" y="1733"/>
                    <a:pt x="997" y="1733"/>
                  </a:cubicBezTo>
                  <a:close/>
                  <a:moveTo>
                    <a:pt x="997" y="1745"/>
                  </a:moveTo>
                  <a:cubicBezTo>
                    <a:pt x="1043" y="1745"/>
                    <a:pt x="1043" y="1745"/>
                    <a:pt x="1043" y="1745"/>
                  </a:cubicBezTo>
                  <a:cubicBezTo>
                    <a:pt x="1043" y="1750"/>
                    <a:pt x="1043" y="1750"/>
                    <a:pt x="1043" y="1750"/>
                  </a:cubicBezTo>
                  <a:cubicBezTo>
                    <a:pt x="997" y="1750"/>
                    <a:pt x="997" y="1750"/>
                    <a:pt x="997" y="1750"/>
                  </a:cubicBezTo>
                  <a:cubicBezTo>
                    <a:pt x="997" y="1745"/>
                    <a:pt x="997" y="1745"/>
                    <a:pt x="997" y="1745"/>
                  </a:cubicBezTo>
                  <a:close/>
                  <a:moveTo>
                    <a:pt x="844" y="1515"/>
                  </a:moveTo>
                  <a:cubicBezTo>
                    <a:pt x="891" y="1515"/>
                    <a:pt x="891" y="1515"/>
                    <a:pt x="891" y="1515"/>
                  </a:cubicBezTo>
                  <a:cubicBezTo>
                    <a:pt x="891" y="1520"/>
                    <a:pt x="891" y="1520"/>
                    <a:pt x="891" y="1520"/>
                  </a:cubicBezTo>
                  <a:cubicBezTo>
                    <a:pt x="844" y="1520"/>
                    <a:pt x="844" y="1520"/>
                    <a:pt x="844" y="1520"/>
                  </a:cubicBezTo>
                  <a:cubicBezTo>
                    <a:pt x="844" y="1515"/>
                    <a:pt x="844" y="1515"/>
                    <a:pt x="844" y="1515"/>
                  </a:cubicBezTo>
                  <a:close/>
                  <a:moveTo>
                    <a:pt x="844" y="1528"/>
                  </a:moveTo>
                  <a:cubicBezTo>
                    <a:pt x="891" y="1528"/>
                    <a:pt x="891" y="1528"/>
                    <a:pt x="891" y="1528"/>
                  </a:cubicBezTo>
                  <a:cubicBezTo>
                    <a:pt x="891" y="1534"/>
                    <a:pt x="891" y="1534"/>
                    <a:pt x="891" y="1534"/>
                  </a:cubicBezTo>
                  <a:cubicBezTo>
                    <a:pt x="844" y="1534"/>
                    <a:pt x="844" y="1534"/>
                    <a:pt x="844" y="1534"/>
                  </a:cubicBezTo>
                  <a:cubicBezTo>
                    <a:pt x="844" y="1528"/>
                    <a:pt x="844" y="1528"/>
                    <a:pt x="844" y="1528"/>
                  </a:cubicBezTo>
                  <a:close/>
                  <a:moveTo>
                    <a:pt x="844" y="1541"/>
                  </a:moveTo>
                  <a:cubicBezTo>
                    <a:pt x="891" y="1541"/>
                    <a:pt x="891" y="1541"/>
                    <a:pt x="891" y="1541"/>
                  </a:cubicBezTo>
                  <a:cubicBezTo>
                    <a:pt x="891" y="1547"/>
                    <a:pt x="891" y="1547"/>
                    <a:pt x="891" y="1547"/>
                  </a:cubicBezTo>
                  <a:cubicBezTo>
                    <a:pt x="844" y="1547"/>
                    <a:pt x="844" y="1547"/>
                    <a:pt x="844" y="1547"/>
                  </a:cubicBezTo>
                  <a:cubicBezTo>
                    <a:pt x="844" y="1541"/>
                    <a:pt x="844" y="1541"/>
                    <a:pt x="844" y="1541"/>
                  </a:cubicBezTo>
                  <a:close/>
                  <a:moveTo>
                    <a:pt x="844" y="1552"/>
                  </a:moveTo>
                  <a:cubicBezTo>
                    <a:pt x="891" y="1552"/>
                    <a:pt x="891" y="1552"/>
                    <a:pt x="891" y="1552"/>
                  </a:cubicBezTo>
                  <a:cubicBezTo>
                    <a:pt x="891" y="1558"/>
                    <a:pt x="891" y="1558"/>
                    <a:pt x="891" y="1558"/>
                  </a:cubicBezTo>
                  <a:cubicBezTo>
                    <a:pt x="844" y="1558"/>
                    <a:pt x="844" y="1558"/>
                    <a:pt x="844" y="1558"/>
                  </a:cubicBezTo>
                  <a:cubicBezTo>
                    <a:pt x="844" y="1552"/>
                    <a:pt x="844" y="1552"/>
                    <a:pt x="844" y="1552"/>
                  </a:cubicBezTo>
                  <a:close/>
                  <a:moveTo>
                    <a:pt x="844" y="1564"/>
                  </a:moveTo>
                  <a:cubicBezTo>
                    <a:pt x="891" y="1564"/>
                    <a:pt x="891" y="1564"/>
                    <a:pt x="891" y="1564"/>
                  </a:cubicBezTo>
                  <a:cubicBezTo>
                    <a:pt x="891" y="1570"/>
                    <a:pt x="891" y="1570"/>
                    <a:pt x="891" y="1570"/>
                  </a:cubicBezTo>
                  <a:cubicBezTo>
                    <a:pt x="844" y="1570"/>
                    <a:pt x="844" y="1570"/>
                    <a:pt x="844" y="1570"/>
                  </a:cubicBezTo>
                  <a:cubicBezTo>
                    <a:pt x="844" y="1564"/>
                    <a:pt x="844" y="1564"/>
                    <a:pt x="844" y="1564"/>
                  </a:cubicBezTo>
                  <a:close/>
                  <a:moveTo>
                    <a:pt x="844" y="1576"/>
                  </a:moveTo>
                  <a:cubicBezTo>
                    <a:pt x="891" y="1576"/>
                    <a:pt x="891" y="1576"/>
                    <a:pt x="891" y="1576"/>
                  </a:cubicBezTo>
                  <a:cubicBezTo>
                    <a:pt x="891" y="1582"/>
                    <a:pt x="891" y="1582"/>
                    <a:pt x="891" y="1582"/>
                  </a:cubicBezTo>
                  <a:cubicBezTo>
                    <a:pt x="844" y="1582"/>
                    <a:pt x="844" y="1582"/>
                    <a:pt x="844" y="1582"/>
                  </a:cubicBezTo>
                  <a:cubicBezTo>
                    <a:pt x="844" y="1576"/>
                    <a:pt x="844" y="1576"/>
                    <a:pt x="844" y="1576"/>
                  </a:cubicBezTo>
                  <a:close/>
                  <a:moveTo>
                    <a:pt x="844" y="1588"/>
                  </a:moveTo>
                  <a:cubicBezTo>
                    <a:pt x="891" y="1588"/>
                    <a:pt x="891" y="1588"/>
                    <a:pt x="891" y="1588"/>
                  </a:cubicBezTo>
                  <a:cubicBezTo>
                    <a:pt x="891" y="1594"/>
                    <a:pt x="891" y="1594"/>
                    <a:pt x="891" y="1594"/>
                  </a:cubicBezTo>
                  <a:cubicBezTo>
                    <a:pt x="844" y="1594"/>
                    <a:pt x="844" y="1594"/>
                    <a:pt x="844" y="1594"/>
                  </a:cubicBezTo>
                  <a:cubicBezTo>
                    <a:pt x="844" y="1588"/>
                    <a:pt x="844" y="1588"/>
                    <a:pt x="844" y="1588"/>
                  </a:cubicBezTo>
                  <a:close/>
                  <a:moveTo>
                    <a:pt x="844" y="1600"/>
                  </a:moveTo>
                  <a:cubicBezTo>
                    <a:pt x="891" y="1600"/>
                    <a:pt x="891" y="1600"/>
                    <a:pt x="891" y="1600"/>
                  </a:cubicBezTo>
                  <a:cubicBezTo>
                    <a:pt x="891" y="1605"/>
                    <a:pt x="891" y="1605"/>
                    <a:pt x="891" y="1605"/>
                  </a:cubicBezTo>
                  <a:cubicBezTo>
                    <a:pt x="844" y="1605"/>
                    <a:pt x="844" y="1605"/>
                    <a:pt x="844" y="1605"/>
                  </a:cubicBezTo>
                  <a:cubicBezTo>
                    <a:pt x="844" y="1600"/>
                    <a:pt x="844" y="1600"/>
                    <a:pt x="844" y="1600"/>
                  </a:cubicBezTo>
                  <a:close/>
                  <a:moveTo>
                    <a:pt x="844" y="1612"/>
                  </a:moveTo>
                  <a:cubicBezTo>
                    <a:pt x="891" y="1612"/>
                    <a:pt x="891" y="1612"/>
                    <a:pt x="891" y="1612"/>
                  </a:cubicBezTo>
                  <a:cubicBezTo>
                    <a:pt x="891" y="1617"/>
                    <a:pt x="891" y="1617"/>
                    <a:pt x="891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44" y="1612"/>
                    <a:pt x="844" y="1612"/>
                    <a:pt x="844" y="1612"/>
                  </a:cubicBezTo>
                  <a:close/>
                  <a:moveTo>
                    <a:pt x="844" y="1626"/>
                  </a:moveTo>
                  <a:cubicBezTo>
                    <a:pt x="891" y="1626"/>
                    <a:pt x="891" y="1626"/>
                    <a:pt x="891" y="1626"/>
                  </a:cubicBezTo>
                  <a:cubicBezTo>
                    <a:pt x="891" y="1631"/>
                    <a:pt x="891" y="1631"/>
                    <a:pt x="891" y="1631"/>
                  </a:cubicBezTo>
                  <a:cubicBezTo>
                    <a:pt x="844" y="1631"/>
                    <a:pt x="844" y="1631"/>
                    <a:pt x="844" y="1631"/>
                  </a:cubicBezTo>
                  <a:cubicBezTo>
                    <a:pt x="844" y="1626"/>
                    <a:pt x="844" y="1626"/>
                    <a:pt x="844" y="1626"/>
                  </a:cubicBezTo>
                  <a:close/>
                  <a:moveTo>
                    <a:pt x="844" y="1637"/>
                  </a:moveTo>
                  <a:cubicBezTo>
                    <a:pt x="891" y="1637"/>
                    <a:pt x="891" y="1637"/>
                    <a:pt x="891" y="1637"/>
                  </a:cubicBezTo>
                  <a:cubicBezTo>
                    <a:pt x="891" y="1643"/>
                    <a:pt x="891" y="1643"/>
                    <a:pt x="891" y="1643"/>
                  </a:cubicBezTo>
                  <a:cubicBezTo>
                    <a:pt x="844" y="1643"/>
                    <a:pt x="844" y="1643"/>
                    <a:pt x="844" y="1643"/>
                  </a:cubicBezTo>
                  <a:cubicBezTo>
                    <a:pt x="844" y="1637"/>
                    <a:pt x="844" y="1637"/>
                    <a:pt x="844" y="1637"/>
                  </a:cubicBezTo>
                  <a:close/>
                  <a:moveTo>
                    <a:pt x="844" y="1649"/>
                  </a:moveTo>
                  <a:cubicBezTo>
                    <a:pt x="891" y="1649"/>
                    <a:pt x="891" y="1649"/>
                    <a:pt x="891" y="1649"/>
                  </a:cubicBezTo>
                  <a:cubicBezTo>
                    <a:pt x="891" y="1655"/>
                    <a:pt x="891" y="1655"/>
                    <a:pt x="891" y="1655"/>
                  </a:cubicBezTo>
                  <a:cubicBezTo>
                    <a:pt x="844" y="1655"/>
                    <a:pt x="844" y="1655"/>
                    <a:pt x="844" y="1655"/>
                  </a:cubicBezTo>
                  <a:cubicBezTo>
                    <a:pt x="844" y="1649"/>
                    <a:pt x="844" y="1649"/>
                    <a:pt x="844" y="1649"/>
                  </a:cubicBezTo>
                  <a:close/>
                  <a:moveTo>
                    <a:pt x="844" y="1661"/>
                  </a:moveTo>
                  <a:cubicBezTo>
                    <a:pt x="891" y="1661"/>
                    <a:pt x="891" y="1661"/>
                    <a:pt x="891" y="1661"/>
                  </a:cubicBezTo>
                  <a:cubicBezTo>
                    <a:pt x="891" y="1667"/>
                    <a:pt x="891" y="1667"/>
                    <a:pt x="891" y="1667"/>
                  </a:cubicBezTo>
                  <a:cubicBezTo>
                    <a:pt x="844" y="1667"/>
                    <a:pt x="844" y="1667"/>
                    <a:pt x="844" y="1667"/>
                  </a:cubicBezTo>
                  <a:cubicBezTo>
                    <a:pt x="844" y="1661"/>
                    <a:pt x="844" y="1661"/>
                    <a:pt x="844" y="1661"/>
                  </a:cubicBezTo>
                  <a:close/>
                  <a:moveTo>
                    <a:pt x="844" y="1673"/>
                  </a:moveTo>
                  <a:cubicBezTo>
                    <a:pt x="891" y="1673"/>
                    <a:pt x="891" y="1673"/>
                    <a:pt x="891" y="1673"/>
                  </a:cubicBezTo>
                  <a:cubicBezTo>
                    <a:pt x="891" y="1679"/>
                    <a:pt x="891" y="1679"/>
                    <a:pt x="891" y="1679"/>
                  </a:cubicBezTo>
                  <a:cubicBezTo>
                    <a:pt x="844" y="1679"/>
                    <a:pt x="844" y="1679"/>
                    <a:pt x="844" y="1679"/>
                  </a:cubicBezTo>
                  <a:cubicBezTo>
                    <a:pt x="844" y="1673"/>
                    <a:pt x="844" y="1673"/>
                    <a:pt x="844" y="1673"/>
                  </a:cubicBezTo>
                  <a:close/>
                  <a:moveTo>
                    <a:pt x="844" y="1685"/>
                  </a:moveTo>
                  <a:cubicBezTo>
                    <a:pt x="891" y="1685"/>
                    <a:pt x="891" y="1685"/>
                    <a:pt x="891" y="1685"/>
                  </a:cubicBezTo>
                  <a:cubicBezTo>
                    <a:pt x="891" y="1690"/>
                    <a:pt x="891" y="1690"/>
                    <a:pt x="891" y="1690"/>
                  </a:cubicBezTo>
                  <a:cubicBezTo>
                    <a:pt x="844" y="1690"/>
                    <a:pt x="844" y="1690"/>
                    <a:pt x="844" y="1690"/>
                  </a:cubicBezTo>
                  <a:cubicBezTo>
                    <a:pt x="844" y="1685"/>
                    <a:pt x="844" y="1685"/>
                    <a:pt x="844" y="1685"/>
                  </a:cubicBezTo>
                  <a:close/>
                  <a:moveTo>
                    <a:pt x="844" y="1697"/>
                  </a:moveTo>
                  <a:cubicBezTo>
                    <a:pt x="891" y="1697"/>
                    <a:pt x="891" y="1697"/>
                    <a:pt x="891" y="1697"/>
                  </a:cubicBezTo>
                  <a:cubicBezTo>
                    <a:pt x="891" y="1702"/>
                    <a:pt x="891" y="1702"/>
                    <a:pt x="891" y="1702"/>
                  </a:cubicBezTo>
                  <a:cubicBezTo>
                    <a:pt x="844" y="1702"/>
                    <a:pt x="844" y="1702"/>
                    <a:pt x="844" y="1702"/>
                  </a:cubicBezTo>
                  <a:cubicBezTo>
                    <a:pt x="844" y="1697"/>
                    <a:pt x="844" y="1697"/>
                    <a:pt x="844" y="1697"/>
                  </a:cubicBezTo>
                  <a:close/>
                  <a:moveTo>
                    <a:pt x="844" y="1709"/>
                  </a:moveTo>
                  <a:cubicBezTo>
                    <a:pt x="891" y="1709"/>
                    <a:pt x="891" y="1709"/>
                    <a:pt x="891" y="1709"/>
                  </a:cubicBezTo>
                  <a:cubicBezTo>
                    <a:pt x="891" y="1714"/>
                    <a:pt x="891" y="1714"/>
                    <a:pt x="891" y="1714"/>
                  </a:cubicBezTo>
                  <a:cubicBezTo>
                    <a:pt x="844" y="1714"/>
                    <a:pt x="844" y="1714"/>
                    <a:pt x="844" y="1714"/>
                  </a:cubicBezTo>
                  <a:cubicBezTo>
                    <a:pt x="844" y="1709"/>
                    <a:pt x="844" y="1709"/>
                    <a:pt x="844" y="1709"/>
                  </a:cubicBezTo>
                  <a:close/>
                  <a:moveTo>
                    <a:pt x="844" y="1721"/>
                  </a:moveTo>
                  <a:cubicBezTo>
                    <a:pt x="891" y="1721"/>
                    <a:pt x="891" y="1721"/>
                    <a:pt x="891" y="1721"/>
                  </a:cubicBezTo>
                  <a:cubicBezTo>
                    <a:pt x="891" y="1726"/>
                    <a:pt x="891" y="1726"/>
                    <a:pt x="891" y="1726"/>
                  </a:cubicBezTo>
                  <a:cubicBezTo>
                    <a:pt x="844" y="1726"/>
                    <a:pt x="844" y="1726"/>
                    <a:pt x="844" y="1726"/>
                  </a:cubicBezTo>
                  <a:cubicBezTo>
                    <a:pt x="844" y="1721"/>
                    <a:pt x="844" y="1721"/>
                    <a:pt x="844" y="1721"/>
                  </a:cubicBezTo>
                  <a:close/>
                  <a:moveTo>
                    <a:pt x="844" y="1733"/>
                  </a:moveTo>
                  <a:cubicBezTo>
                    <a:pt x="891" y="1733"/>
                    <a:pt x="891" y="1733"/>
                    <a:pt x="891" y="1733"/>
                  </a:cubicBezTo>
                  <a:cubicBezTo>
                    <a:pt x="891" y="1738"/>
                    <a:pt x="891" y="1738"/>
                    <a:pt x="891" y="1738"/>
                  </a:cubicBezTo>
                  <a:cubicBezTo>
                    <a:pt x="844" y="1738"/>
                    <a:pt x="844" y="1738"/>
                    <a:pt x="844" y="1738"/>
                  </a:cubicBezTo>
                  <a:cubicBezTo>
                    <a:pt x="844" y="1733"/>
                    <a:pt x="844" y="1733"/>
                    <a:pt x="844" y="1733"/>
                  </a:cubicBezTo>
                  <a:close/>
                  <a:moveTo>
                    <a:pt x="844" y="1745"/>
                  </a:moveTo>
                  <a:cubicBezTo>
                    <a:pt x="891" y="1745"/>
                    <a:pt x="891" y="1745"/>
                    <a:pt x="891" y="1745"/>
                  </a:cubicBezTo>
                  <a:cubicBezTo>
                    <a:pt x="891" y="1750"/>
                    <a:pt x="891" y="1750"/>
                    <a:pt x="891" y="1750"/>
                  </a:cubicBezTo>
                  <a:cubicBezTo>
                    <a:pt x="844" y="1750"/>
                    <a:pt x="844" y="1750"/>
                    <a:pt x="844" y="1750"/>
                  </a:cubicBezTo>
                  <a:cubicBezTo>
                    <a:pt x="844" y="1745"/>
                    <a:pt x="844" y="1745"/>
                    <a:pt x="844" y="1745"/>
                  </a:cubicBezTo>
                  <a:close/>
                  <a:moveTo>
                    <a:pt x="1140" y="1387"/>
                  </a:moveTo>
                  <a:cubicBezTo>
                    <a:pt x="1140" y="1392"/>
                    <a:pt x="1140" y="1392"/>
                    <a:pt x="1140" y="1392"/>
                  </a:cubicBezTo>
                  <a:cubicBezTo>
                    <a:pt x="958" y="1392"/>
                    <a:pt x="958" y="1392"/>
                    <a:pt x="958" y="1392"/>
                  </a:cubicBezTo>
                  <a:cubicBezTo>
                    <a:pt x="958" y="1387"/>
                    <a:pt x="958" y="1387"/>
                    <a:pt x="958" y="1387"/>
                  </a:cubicBezTo>
                  <a:cubicBezTo>
                    <a:pt x="1140" y="1387"/>
                    <a:pt x="1140" y="1387"/>
                    <a:pt x="1140" y="1387"/>
                  </a:cubicBezTo>
                  <a:close/>
                  <a:moveTo>
                    <a:pt x="951" y="1411"/>
                  </a:moveTo>
                  <a:cubicBezTo>
                    <a:pt x="1006" y="1461"/>
                    <a:pt x="1006" y="1461"/>
                    <a:pt x="1006" y="1461"/>
                  </a:cubicBezTo>
                  <a:cubicBezTo>
                    <a:pt x="901" y="1461"/>
                    <a:pt x="901" y="1461"/>
                    <a:pt x="901" y="1461"/>
                  </a:cubicBezTo>
                  <a:cubicBezTo>
                    <a:pt x="951" y="1411"/>
                    <a:pt x="951" y="1411"/>
                    <a:pt x="951" y="1411"/>
                  </a:cubicBezTo>
                  <a:close/>
                  <a:moveTo>
                    <a:pt x="1221" y="1387"/>
                  </a:moveTo>
                  <a:cubicBezTo>
                    <a:pt x="1403" y="1387"/>
                    <a:pt x="1403" y="1387"/>
                    <a:pt x="1403" y="1387"/>
                  </a:cubicBezTo>
                  <a:cubicBezTo>
                    <a:pt x="1403" y="1392"/>
                    <a:pt x="1403" y="1392"/>
                    <a:pt x="1403" y="1392"/>
                  </a:cubicBezTo>
                  <a:cubicBezTo>
                    <a:pt x="1221" y="1392"/>
                    <a:pt x="1221" y="1392"/>
                    <a:pt x="1221" y="1392"/>
                  </a:cubicBezTo>
                  <a:cubicBezTo>
                    <a:pt x="1221" y="1387"/>
                    <a:pt x="1221" y="1387"/>
                    <a:pt x="1221" y="1387"/>
                  </a:cubicBezTo>
                  <a:close/>
                  <a:moveTo>
                    <a:pt x="1409" y="1411"/>
                  </a:moveTo>
                  <a:cubicBezTo>
                    <a:pt x="1459" y="1461"/>
                    <a:pt x="1459" y="1461"/>
                    <a:pt x="1459" y="1461"/>
                  </a:cubicBezTo>
                  <a:cubicBezTo>
                    <a:pt x="1355" y="1461"/>
                    <a:pt x="1355" y="1461"/>
                    <a:pt x="1355" y="1461"/>
                  </a:cubicBezTo>
                  <a:lnTo>
                    <a:pt x="1409" y="14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6.xml"/><Relationship Id="rId9" Type="http://schemas.openxmlformats.org/officeDocument/2006/relationships/image" Target="../media/image4.sv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slideLayout" Target="../slideLayouts/slideLayout5.xml"/><Relationship Id="rId1" Type="http://schemas.openxmlformats.org/officeDocument/2006/relationships/themeOverride" Target="../theme/themeOverr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2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25.xml"/><Relationship Id="rId7" Type="http://schemas.openxmlformats.org/officeDocument/2006/relationships/image" Target="../media/image2.emf"/><Relationship Id="rId2" Type="http://schemas.openxmlformats.org/officeDocument/2006/relationships/tags" Target="../tags/tag24.x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2.bin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themeOverride" Target="../theme/themeOverride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31" name="副标题 30">
            <a:extLst>
              <a:ext uri="{FF2B5EF4-FFF2-40B4-BE49-F238E27FC236}">
                <a16:creationId xmlns:a16="http://schemas.microsoft.com/office/drawing/2014/main" id="{53D45B20-9B57-4856-BB2A-FEB445B070E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Guangxi Normal University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广西师范大学</a:t>
            </a:r>
            <a:br>
              <a:rPr lang="en-US" altLang="zh-CN" dirty="0">
                <a:latin typeface="+mn-lt"/>
                <a:ea typeface="+mn-ea"/>
                <a:cs typeface="+mn-ea"/>
                <a:sym typeface="+mn-lt"/>
              </a:rPr>
            </a:br>
            <a:r>
              <a:rPr lang="zh-CN" altLang="en-US" dirty="0">
                <a:latin typeface="+mn-lt"/>
                <a:ea typeface="+mn-ea"/>
                <a:cs typeface="+mn-ea"/>
                <a:sym typeface="+mn-lt"/>
              </a:rPr>
              <a:t>汇报答辩</a:t>
            </a:r>
            <a:r>
              <a:rPr lang="zh-CN" altLang="en-US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通用</a:t>
            </a:r>
            <a:r>
              <a:rPr lang="en-US" altLang="zh-CN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PPT</a:t>
            </a:r>
            <a:r>
              <a:rPr lang="zh-CN" altLang="en-US" b="1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模板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指导</a:t>
            </a:r>
            <a:r>
              <a:rPr lang="zh-CN" altLang="en-US">
                <a:cs typeface="+mn-ea"/>
                <a:sym typeface="+mn-lt"/>
              </a:rPr>
              <a:t>老师：</a:t>
            </a:r>
            <a:r>
              <a:rPr lang="en-US" altLang="zh-CN">
                <a:cs typeface="+mn-ea"/>
                <a:sym typeface="+mn-lt"/>
              </a:rPr>
              <a:t>OfficePLUS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zh-CN" altLang="en-US" dirty="0">
                <a:cs typeface="+mn-ea"/>
                <a:sym typeface="+mn-lt"/>
              </a:rPr>
              <a:t>答辩</a:t>
            </a:r>
            <a:r>
              <a:rPr lang="zh-CN" altLang="en-US">
                <a:cs typeface="+mn-ea"/>
                <a:sym typeface="+mn-lt"/>
              </a:rPr>
              <a:t>学生：</a:t>
            </a:r>
            <a:r>
              <a:rPr lang="en-US" altLang="zh-CN">
                <a:cs typeface="+mn-ea"/>
                <a:sym typeface="+mn-lt"/>
              </a:rPr>
              <a:t>OfficePLUS</a:t>
            </a:r>
          </a:p>
        </p:txBody>
      </p:sp>
      <p:sp>
        <p:nvSpPr>
          <p:cNvPr id="60" name="文本框 59">
            <a:extLst>
              <a:ext uri="{FF2B5EF4-FFF2-40B4-BE49-F238E27FC236}">
                <a16:creationId xmlns:a16="http://schemas.microsoft.com/office/drawing/2014/main" id="{C6F6CCE8-3806-426F-9C53-250F4583BDFA}"/>
              </a:ext>
            </a:extLst>
          </p:cNvPr>
          <p:cNvSpPr txBox="1">
            <a:spLocks/>
          </p:cNvSpPr>
          <p:nvPr/>
        </p:nvSpPr>
        <p:spPr>
          <a:xfrm>
            <a:off x="1110217" y="5498311"/>
            <a:ext cx="3797085" cy="5053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"/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尊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师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重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道    敬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业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乐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群</a:t>
            </a:r>
          </a:p>
        </p:txBody>
      </p:sp>
      <p:sp>
        <p:nvSpPr>
          <p:cNvPr id="62" name="文本框 61">
            <a:extLst>
              <a:ext uri="{FF2B5EF4-FFF2-40B4-BE49-F238E27FC236}">
                <a16:creationId xmlns:a16="http://schemas.microsoft.com/office/drawing/2014/main" id="{2B2CFEA0-705F-4C7C-88C6-AAD3634A0F83}"/>
              </a:ext>
            </a:extLst>
          </p:cNvPr>
          <p:cNvSpPr txBox="1"/>
          <p:nvPr/>
        </p:nvSpPr>
        <p:spPr>
          <a:xfrm>
            <a:off x="11238927" y="839655"/>
            <a:ext cx="369332" cy="2004742"/>
          </a:xfrm>
          <a:prstGeom prst="rect">
            <a:avLst/>
          </a:prstGeom>
          <a:noFill/>
        </p:spPr>
        <p:txBody>
          <a:bodyPr vert="eaVert" wrap="square">
            <a:spAutoFit/>
          </a:bodyPr>
          <a:lstStyle/>
          <a:p>
            <a:r>
              <a:rPr lang="zh-CN" altLang="en-US" sz="1200" dirty="0">
                <a:solidFill>
                  <a:schemeClr val="accent1"/>
                </a:solidFill>
                <a:cs typeface="+mn-ea"/>
                <a:sym typeface="+mn-lt"/>
              </a:rPr>
              <a:t>www.gxnu.edu.cn</a:t>
            </a:r>
          </a:p>
        </p:txBody>
      </p:sp>
      <p:sp>
        <p:nvSpPr>
          <p:cNvPr id="207" name="任意多边形: 形状 206">
            <a:extLst>
              <a:ext uri="{FF2B5EF4-FFF2-40B4-BE49-F238E27FC236}">
                <a16:creationId xmlns:a16="http://schemas.microsoft.com/office/drawing/2014/main" id="{BBD92137-249B-4D2A-B9D6-BC06FB194468}"/>
              </a:ext>
            </a:extLst>
          </p:cNvPr>
          <p:cNvSpPr/>
          <p:nvPr/>
        </p:nvSpPr>
        <p:spPr>
          <a:xfrm>
            <a:off x="9741857" y="5526865"/>
            <a:ext cx="165731" cy="190369"/>
          </a:xfrm>
          <a:custGeom>
            <a:avLst/>
            <a:gdLst>
              <a:gd name="connsiteX0" fmla="*/ 493614 w 493821"/>
              <a:gd name="connsiteY0" fmla="*/ 557750 h 567236"/>
              <a:gd name="connsiteX1" fmla="*/ 488558 w 493821"/>
              <a:gd name="connsiteY1" fmla="*/ 567446 h 567236"/>
              <a:gd name="connsiteX2" fmla="*/ 0 w 493821"/>
              <a:gd name="connsiteY2" fmla="*/ 567446 h 567236"/>
              <a:gd name="connsiteX3" fmla="*/ 277 w 493821"/>
              <a:gd name="connsiteY3" fmla="*/ 552694 h 567236"/>
              <a:gd name="connsiteX4" fmla="*/ 13506 w 493821"/>
              <a:gd name="connsiteY4" fmla="*/ 450120 h 567236"/>
              <a:gd name="connsiteX5" fmla="*/ 70645 w 493821"/>
              <a:gd name="connsiteY5" fmla="*/ 349001 h 567236"/>
              <a:gd name="connsiteX6" fmla="*/ 74870 w 493821"/>
              <a:gd name="connsiteY6" fmla="*/ 345400 h 567236"/>
              <a:gd name="connsiteX7" fmla="*/ 80341 w 493821"/>
              <a:gd name="connsiteY7" fmla="*/ 345469 h 567236"/>
              <a:gd name="connsiteX8" fmla="*/ 145099 w 493821"/>
              <a:gd name="connsiteY8" fmla="*/ 344846 h 567236"/>
              <a:gd name="connsiteX9" fmla="*/ 145099 w 493821"/>
              <a:gd name="connsiteY9" fmla="*/ 374904 h 567236"/>
              <a:gd name="connsiteX10" fmla="*/ 85813 w 493821"/>
              <a:gd name="connsiteY10" fmla="*/ 374420 h 567236"/>
              <a:gd name="connsiteX11" fmla="*/ 41764 w 493821"/>
              <a:gd name="connsiteY11" fmla="*/ 457392 h 567236"/>
              <a:gd name="connsiteX12" fmla="*/ 29920 w 493821"/>
              <a:gd name="connsiteY12" fmla="*/ 538496 h 567236"/>
              <a:gd name="connsiteX13" fmla="*/ 464594 w 493821"/>
              <a:gd name="connsiteY13" fmla="*/ 538426 h 567236"/>
              <a:gd name="connsiteX14" fmla="*/ 447556 w 493821"/>
              <a:gd name="connsiteY14" fmla="*/ 448527 h 567236"/>
              <a:gd name="connsiteX15" fmla="*/ 406554 w 493821"/>
              <a:gd name="connsiteY15" fmla="*/ 373935 h 567236"/>
              <a:gd name="connsiteX16" fmla="*/ 338818 w 493821"/>
              <a:gd name="connsiteY16" fmla="*/ 373935 h 567236"/>
              <a:gd name="connsiteX17" fmla="*/ 338818 w 493821"/>
              <a:gd name="connsiteY17" fmla="*/ 344846 h 567236"/>
              <a:gd name="connsiteX18" fmla="*/ 416251 w 493821"/>
              <a:gd name="connsiteY18" fmla="*/ 344846 h 567236"/>
              <a:gd name="connsiteX19" fmla="*/ 422207 w 493821"/>
              <a:gd name="connsiteY19" fmla="*/ 346785 h 567236"/>
              <a:gd name="connsiteX20" fmla="*/ 475329 w 493821"/>
              <a:gd name="connsiteY20" fmla="*/ 439593 h 567236"/>
              <a:gd name="connsiteX21" fmla="*/ 493614 w 493821"/>
              <a:gd name="connsiteY21" fmla="*/ 557750 h 567236"/>
              <a:gd name="connsiteX22" fmla="*/ 493614 w 493821"/>
              <a:gd name="connsiteY22" fmla="*/ 557750 h 567236"/>
              <a:gd name="connsiteX23" fmla="*/ 251620 w 493821"/>
              <a:gd name="connsiteY23" fmla="*/ 519034 h 567236"/>
              <a:gd name="connsiteX24" fmla="*/ 212904 w 493821"/>
              <a:gd name="connsiteY24" fmla="*/ 490014 h 567236"/>
              <a:gd name="connsiteX25" fmla="*/ 237976 w 493821"/>
              <a:gd name="connsiteY25" fmla="*/ 389380 h 567236"/>
              <a:gd name="connsiteX26" fmla="*/ 228488 w 493821"/>
              <a:gd name="connsiteY26" fmla="*/ 373865 h 567236"/>
              <a:gd name="connsiteX27" fmla="*/ 229249 w 493821"/>
              <a:gd name="connsiteY27" fmla="*/ 358005 h 567236"/>
              <a:gd name="connsiteX28" fmla="*/ 270736 w 493821"/>
              <a:gd name="connsiteY28" fmla="*/ 358005 h 567236"/>
              <a:gd name="connsiteX29" fmla="*/ 271498 w 493821"/>
              <a:gd name="connsiteY29" fmla="*/ 373865 h 567236"/>
              <a:gd name="connsiteX30" fmla="*/ 262009 w 493821"/>
              <a:gd name="connsiteY30" fmla="*/ 389380 h 567236"/>
              <a:gd name="connsiteX31" fmla="*/ 290406 w 493821"/>
              <a:gd name="connsiteY31" fmla="*/ 489945 h 567236"/>
              <a:gd name="connsiteX32" fmla="*/ 251620 w 493821"/>
              <a:gd name="connsiteY32" fmla="*/ 519034 h 567236"/>
              <a:gd name="connsiteX33" fmla="*/ 363682 w 493821"/>
              <a:gd name="connsiteY33" fmla="*/ 227381 h 567236"/>
              <a:gd name="connsiteX34" fmla="*/ 322057 w 493821"/>
              <a:gd name="connsiteY34" fmla="*/ 306268 h 567236"/>
              <a:gd name="connsiteX35" fmla="*/ 247257 w 493821"/>
              <a:gd name="connsiteY35" fmla="*/ 345469 h 567236"/>
              <a:gd name="connsiteX36" fmla="*/ 244764 w 493821"/>
              <a:gd name="connsiteY36" fmla="*/ 345954 h 567236"/>
              <a:gd name="connsiteX37" fmla="*/ 242270 w 493821"/>
              <a:gd name="connsiteY37" fmla="*/ 345538 h 567236"/>
              <a:gd name="connsiteX38" fmla="*/ 169617 w 493821"/>
              <a:gd name="connsiteY38" fmla="*/ 308415 h 567236"/>
              <a:gd name="connsiteX39" fmla="*/ 125568 w 493821"/>
              <a:gd name="connsiteY39" fmla="*/ 227935 h 567236"/>
              <a:gd name="connsiteX40" fmla="*/ 105829 w 493821"/>
              <a:gd name="connsiteY40" fmla="*/ 204803 h 567236"/>
              <a:gd name="connsiteX41" fmla="*/ 98972 w 493821"/>
              <a:gd name="connsiteY41" fmla="*/ 160130 h 567236"/>
              <a:gd name="connsiteX42" fmla="*/ 99111 w 493821"/>
              <a:gd name="connsiteY42" fmla="*/ 153204 h 567236"/>
              <a:gd name="connsiteX43" fmla="*/ 104928 w 493821"/>
              <a:gd name="connsiteY43" fmla="*/ 149326 h 567236"/>
              <a:gd name="connsiteX44" fmla="*/ 110815 w 493821"/>
              <a:gd name="connsiteY44" fmla="*/ 145724 h 567236"/>
              <a:gd name="connsiteX45" fmla="*/ 136996 w 493821"/>
              <a:gd name="connsiteY45" fmla="*/ 15378 h 567236"/>
              <a:gd name="connsiteX46" fmla="*/ 250581 w 493821"/>
              <a:gd name="connsiteY46" fmla="*/ 3119 h 567236"/>
              <a:gd name="connsiteX47" fmla="*/ 381136 w 493821"/>
              <a:gd name="connsiteY47" fmla="*/ 147871 h 567236"/>
              <a:gd name="connsiteX48" fmla="*/ 383214 w 493821"/>
              <a:gd name="connsiteY48" fmla="*/ 149187 h 567236"/>
              <a:gd name="connsiteX49" fmla="*/ 389032 w 493821"/>
              <a:gd name="connsiteY49" fmla="*/ 153066 h 567236"/>
              <a:gd name="connsiteX50" fmla="*/ 389170 w 493821"/>
              <a:gd name="connsiteY50" fmla="*/ 159992 h 567236"/>
              <a:gd name="connsiteX51" fmla="*/ 382660 w 493821"/>
              <a:gd name="connsiteY51" fmla="*/ 203972 h 567236"/>
              <a:gd name="connsiteX52" fmla="*/ 363682 w 493821"/>
              <a:gd name="connsiteY52" fmla="*/ 227381 h 567236"/>
              <a:gd name="connsiteX53" fmla="*/ 363682 w 493821"/>
              <a:gd name="connsiteY53" fmla="*/ 227381 h 567236"/>
              <a:gd name="connsiteX54" fmla="*/ 349346 w 493821"/>
              <a:gd name="connsiteY54" fmla="*/ 173567 h 567236"/>
              <a:gd name="connsiteX55" fmla="*/ 347545 w 493821"/>
              <a:gd name="connsiteY55" fmla="*/ 167472 h 567236"/>
              <a:gd name="connsiteX56" fmla="*/ 343666 w 493821"/>
              <a:gd name="connsiteY56" fmla="*/ 167749 h 567236"/>
              <a:gd name="connsiteX57" fmla="*/ 341450 w 493821"/>
              <a:gd name="connsiteY57" fmla="*/ 156113 h 567236"/>
              <a:gd name="connsiteX58" fmla="*/ 333624 w 493821"/>
              <a:gd name="connsiteY58" fmla="*/ 92117 h 567236"/>
              <a:gd name="connsiteX59" fmla="*/ 301210 w 493821"/>
              <a:gd name="connsiteY59" fmla="*/ 82490 h 567236"/>
              <a:gd name="connsiteX60" fmla="*/ 295877 w 493821"/>
              <a:gd name="connsiteY60" fmla="*/ 98974 h 567236"/>
              <a:gd name="connsiteX61" fmla="*/ 287358 w 493821"/>
              <a:gd name="connsiteY61" fmla="*/ 97866 h 567236"/>
              <a:gd name="connsiteX62" fmla="*/ 288467 w 493821"/>
              <a:gd name="connsiteY62" fmla="*/ 87823 h 567236"/>
              <a:gd name="connsiteX63" fmla="*/ 279393 w 493821"/>
              <a:gd name="connsiteY63" fmla="*/ 102160 h 567236"/>
              <a:gd name="connsiteX64" fmla="*/ 271359 w 493821"/>
              <a:gd name="connsiteY64" fmla="*/ 100567 h 567236"/>
              <a:gd name="connsiteX65" fmla="*/ 279255 w 493821"/>
              <a:gd name="connsiteY65" fmla="*/ 79304 h 567236"/>
              <a:gd name="connsiteX66" fmla="*/ 154518 w 493821"/>
              <a:gd name="connsiteY66" fmla="*/ 93918 h 567236"/>
              <a:gd name="connsiteX67" fmla="*/ 151956 w 493821"/>
              <a:gd name="connsiteY67" fmla="*/ 100706 h 567236"/>
              <a:gd name="connsiteX68" fmla="*/ 145792 w 493821"/>
              <a:gd name="connsiteY68" fmla="*/ 165325 h 567236"/>
              <a:gd name="connsiteX69" fmla="*/ 145238 w 493821"/>
              <a:gd name="connsiteY69" fmla="*/ 168164 h 567236"/>
              <a:gd name="connsiteX70" fmla="*/ 145030 w 493821"/>
              <a:gd name="connsiteY70" fmla="*/ 168164 h 567236"/>
              <a:gd name="connsiteX71" fmla="*/ 143783 w 493821"/>
              <a:gd name="connsiteY71" fmla="*/ 172320 h 567236"/>
              <a:gd name="connsiteX72" fmla="*/ 126260 w 493821"/>
              <a:gd name="connsiteY72" fmla="*/ 172805 h 567236"/>
              <a:gd name="connsiteX73" fmla="*/ 130832 w 493821"/>
              <a:gd name="connsiteY73" fmla="*/ 194552 h 567236"/>
              <a:gd name="connsiteX74" fmla="*/ 140736 w 493821"/>
              <a:gd name="connsiteY74" fmla="*/ 205426 h 567236"/>
              <a:gd name="connsiteX75" fmla="*/ 147869 w 493821"/>
              <a:gd name="connsiteY75" fmla="*/ 207642 h 567236"/>
              <a:gd name="connsiteX76" fmla="*/ 149809 w 493821"/>
              <a:gd name="connsiteY76" fmla="*/ 214776 h 567236"/>
              <a:gd name="connsiteX77" fmla="*/ 188940 w 493821"/>
              <a:gd name="connsiteY77" fmla="*/ 289854 h 567236"/>
              <a:gd name="connsiteX78" fmla="*/ 244210 w 493821"/>
              <a:gd name="connsiteY78" fmla="*/ 318735 h 567236"/>
              <a:gd name="connsiteX79" fmla="*/ 302388 w 493821"/>
              <a:gd name="connsiteY79" fmla="*/ 287845 h 567236"/>
              <a:gd name="connsiteX80" fmla="*/ 339095 w 493821"/>
              <a:gd name="connsiteY80" fmla="*/ 214499 h 567236"/>
              <a:gd name="connsiteX81" fmla="*/ 340965 w 493821"/>
              <a:gd name="connsiteY81" fmla="*/ 207642 h 567236"/>
              <a:gd name="connsiteX82" fmla="*/ 347753 w 493821"/>
              <a:gd name="connsiteY82" fmla="*/ 205288 h 567236"/>
              <a:gd name="connsiteX83" fmla="*/ 357518 w 493821"/>
              <a:gd name="connsiteY83" fmla="*/ 194206 h 567236"/>
              <a:gd name="connsiteX84" fmla="*/ 361882 w 493821"/>
              <a:gd name="connsiteY84" fmla="*/ 172874 h 567236"/>
              <a:gd name="connsiteX85" fmla="*/ 349346 w 493821"/>
              <a:gd name="connsiteY85" fmla="*/ 173567 h 567236"/>
              <a:gd name="connsiteX86" fmla="*/ 349346 w 493821"/>
              <a:gd name="connsiteY86" fmla="*/ 173567 h 567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</a:cxnLst>
            <a:rect l="l" t="t" r="r" b="b"/>
            <a:pathLst>
              <a:path w="493821" h="567236">
                <a:moveTo>
                  <a:pt x="493614" y="557750"/>
                </a:moveTo>
                <a:lnTo>
                  <a:pt x="488558" y="567446"/>
                </a:lnTo>
                <a:lnTo>
                  <a:pt x="0" y="567446"/>
                </a:lnTo>
                <a:lnTo>
                  <a:pt x="277" y="552694"/>
                </a:lnTo>
                <a:cubicBezTo>
                  <a:pt x="831" y="524851"/>
                  <a:pt x="3740" y="487105"/>
                  <a:pt x="13506" y="450120"/>
                </a:cubicBezTo>
                <a:cubicBezTo>
                  <a:pt x="23618" y="412027"/>
                  <a:pt x="41002" y="374627"/>
                  <a:pt x="70645" y="349001"/>
                </a:cubicBezTo>
                <a:lnTo>
                  <a:pt x="74870" y="345400"/>
                </a:lnTo>
                <a:lnTo>
                  <a:pt x="80341" y="345469"/>
                </a:lnTo>
                <a:lnTo>
                  <a:pt x="145099" y="344846"/>
                </a:lnTo>
                <a:lnTo>
                  <a:pt x="145099" y="374904"/>
                </a:lnTo>
                <a:lnTo>
                  <a:pt x="85813" y="374420"/>
                </a:lnTo>
                <a:cubicBezTo>
                  <a:pt x="63719" y="395544"/>
                  <a:pt x="50005" y="426018"/>
                  <a:pt x="41764" y="457392"/>
                </a:cubicBezTo>
                <a:cubicBezTo>
                  <a:pt x="34214" y="485650"/>
                  <a:pt x="31098" y="514532"/>
                  <a:pt x="29920" y="538496"/>
                </a:cubicBezTo>
                <a:lnTo>
                  <a:pt x="464594" y="538426"/>
                </a:lnTo>
                <a:cubicBezTo>
                  <a:pt x="465356" y="511069"/>
                  <a:pt x="457391" y="478794"/>
                  <a:pt x="447556" y="448527"/>
                </a:cubicBezTo>
                <a:cubicBezTo>
                  <a:pt x="437652" y="417984"/>
                  <a:pt x="423523" y="391942"/>
                  <a:pt x="406554" y="373935"/>
                </a:cubicBezTo>
                <a:lnTo>
                  <a:pt x="338818" y="373935"/>
                </a:lnTo>
                <a:lnTo>
                  <a:pt x="338818" y="344846"/>
                </a:lnTo>
                <a:lnTo>
                  <a:pt x="416251" y="344846"/>
                </a:lnTo>
                <a:lnTo>
                  <a:pt x="422207" y="346785"/>
                </a:lnTo>
                <a:cubicBezTo>
                  <a:pt x="444855" y="367978"/>
                  <a:pt x="463278" y="402470"/>
                  <a:pt x="475329" y="439593"/>
                </a:cubicBezTo>
                <a:cubicBezTo>
                  <a:pt x="487865" y="478517"/>
                  <a:pt x="497215" y="524228"/>
                  <a:pt x="493614" y="557750"/>
                </a:cubicBezTo>
                <a:lnTo>
                  <a:pt x="493614" y="557750"/>
                </a:lnTo>
                <a:close/>
                <a:moveTo>
                  <a:pt x="251620" y="519034"/>
                </a:moveTo>
                <a:lnTo>
                  <a:pt x="212904" y="490014"/>
                </a:lnTo>
                <a:lnTo>
                  <a:pt x="237976" y="389380"/>
                </a:lnTo>
                <a:lnTo>
                  <a:pt x="228488" y="373865"/>
                </a:lnTo>
                <a:lnTo>
                  <a:pt x="229249" y="358005"/>
                </a:lnTo>
                <a:cubicBezTo>
                  <a:pt x="247326" y="357035"/>
                  <a:pt x="252659" y="357035"/>
                  <a:pt x="270736" y="358005"/>
                </a:cubicBezTo>
                <a:lnTo>
                  <a:pt x="271498" y="373865"/>
                </a:lnTo>
                <a:lnTo>
                  <a:pt x="262009" y="389380"/>
                </a:lnTo>
                <a:lnTo>
                  <a:pt x="290406" y="489945"/>
                </a:lnTo>
                <a:lnTo>
                  <a:pt x="251620" y="519034"/>
                </a:lnTo>
                <a:close/>
                <a:moveTo>
                  <a:pt x="363682" y="227381"/>
                </a:moveTo>
                <a:cubicBezTo>
                  <a:pt x="353778" y="261665"/>
                  <a:pt x="340203" y="287291"/>
                  <a:pt x="322057" y="306268"/>
                </a:cubicBezTo>
                <a:cubicBezTo>
                  <a:pt x="302526" y="326769"/>
                  <a:pt x="278008" y="339028"/>
                  <a:pt x="247257" y="345469"/>
                </a:cubicBezTo>
                <a:lnTo>
                  <a:pt x="244764" y="345954"/>
                </a:lnTo>
                <a:lnTo>
                  <a:pt x="242270" y="345538"/>
                </a:lnTo>
                <a:cubicBezTo>
                  <a:pt x="214497" y="340898"/>
                  <a:pt x="189979" y="329124"/>
                  <a:pt x="169617" y="308415"/>
                </a:cubicBezTo>
                <a:cubicBezTo>
                  <a:pt x="150917" y="289438"/>
                  <a:pt x="135957" y="263050"/>
                  <a:pt x="125568" y="227935"/>
                </a:cubicBezTo>
                <a:cubicBezTo>
                  <a:pt x="116841" y="223226"/>
                  <a:pt x="110261" y="215330"/>
                  <a:pt x="105829" y="204803"/>
                </a:cubicBezTo>
                <a:cubicBezTo>
                  <a:pt x="100981" y="193236"/>
                  <a:pt x="98695" y="178069"/>
                  <a:pt x="98972" y="160130"/>
                </a:cubicBezTo>
                <a:lnTo>
                  <a:pt x="99111" y="153204"/>
                </a:lnTo>
                <a:lnTo>
                  <a:pt x="104928" y="149326"/>
                </a:lnTo>
                <a:cubicBezTo>
                  <a:pt x="106868" y="148010"/>
                  <a:pt x="108876" y="146833"/>
                  <a:pt x="110815" y="145724"/>
                </a:cubicBezTo>
                <a:cubicBezTo>
                  <a:pt x="101950" y="91840"/>
                  <a:pt x="104305" y="45921"/>
                  <a:pt x="136996" y="15378"/>
                </a:cubicBezTo>
                <a:cubicBezTo>
                  <a:pt x="163037" y="-3530"/>
                  <a:pt x="208749" y="9352"/>
                  <a:pt x="250581" y="3119"/>
                </a:cubicBezTo>
                <a:cubicBezTo>
                  <a:pt x="370054" y="-14750"/>
                  <a:pt x="369223" y="45575"/>
                  <a:pt x="381136" y="147871"/>
                </a:cubicBezTo>
                <a:cubicBezTo>
                  <a:pt x="381829" y="148287"/>
                  <a:pt x="382521" y="148703"/>
                  <a:pt x="383214" y="149187"/>
                </a:cubicBezTo>
                <a:lnTo>
                  <a:pt x="389032" y="153066"/>
                </a:lnTo>
                <a:lnTo>
                  <a:pt x="389170" y="159992"/>
                </a:lnTo>
                <a:cubicBezTo>
                  <a:pt x="389447" y="177584"/>
                  <a:pt x="387300" y="192405"/>
                  <a:pt x="382660" y="203972"/>
                </a:cubicBezTo>
                <a:cubicBezTo>
                  <a:pt x="378435" y="214638"/>
                  <a:pt x="372063" y="222533"/>
                  <a:pt x="363682" y="227381"/>
                </a:cubicBezTo>
                <a:lnTo>
                  <a:pt x="363682" y="227381"/>
                </a:lnTo>
                <a:close/>
                <a:moveTo>
                  <a:pt x="349346" y="173567"/>
                </a:moveTo>
                <a:lnTo>
                  <a:pt x="347545" y="167472"/>
                </a:lnTo>
                <a:lnTo>
                  <a:pt x="343666" y="167749"/>
                </a:lnTo>
                <a:lnTo>
                  <a:pt x="341450" y="156113"/>
                </a:lnTo>
                <a:cubicBezTo>
                  <a:pt x="339719" y="146971"/>
                  <a:pt x="337087" y="99805"/>
                  <a:pt x="333624" y="92117"/>
                </a:cubicBezTo>
                <a:cubicBezTo>
                  <a:pt x="323304" y="96412"/>
                  <a:pt x="311738" y="88447"/>
                  <a:pt x="301210" y="82490"/>
                </a:cubicBezTo>
                <a:lnTo>
                  <a:pt x="295877" y="98974"/>
                </a:lnTo>
                <a:lnTo>
                  <a:pt x="287358" y="97866"/>
                </a:lnTo>
                <a:lnTo>
                  <a:pt x="288467" y="87823"/>
                </a:lnTo>
                <a:lnTo>
                  <a:pt x="279393" y="102160"/>
                </a:lnTo>
                <a:lnTo>
                  <a:pt x="271359" y="100567"/>
                </a:lnTo>
                <a:lnTo>
                  <a:pt x="279255" y="79304"/>
                </a:lnTo>
                <a:cubicBezTo>
                  <a:pt x="237007" y="108463"/>
                  <a:pt x="164145" y="107008"/>
                  <a:pt x="154518" y="93918"/>
                </a:cubicBezTo>
                <a:cubicBezTo>
                  <a:pt x="153064" y="95788"/>
                  <a:pt x="152718" y="98351"/>
                  <a:pt x="151956" y="100706"/>
                </a:cubicBezTo>
                <a:cubicBezTo>
                  <a:pt x="149947" y="108601"/>
                  <a:pt x="147731" y="157568"/>
                  <a:pt x="145792" y="165325"/>
                </a:cubicBezTo>
                <a:lnTo>
                  <a:pt x="145238" y="168164"/>
                </a:lnTo>
                <a:lnTo>
                  <a:pt x="145030" y="168164"/>
                </a:lnTo>
                <a:cubicBezTo>
                  <a:pt x="144614" y="169757"/>
                  <a:pt x="144199" y="171143"/>
                  <a:pt x="143783" y="172320"/>
                </a:cubicBezTo>
                <a:cubicBezTo>
                  <a:pt x="140182" y="169965"/>
                  <a:pt x="132840" y="171835"/>
                  <a:pt x="126260" y="172805"/>
                </a:cubicBezTo>
                <a:cubicBezTo>
                  <a:pt x="126884" y="181462"/>
                  <a:pt x="128338" y="188804"/>
                  <a:pt x="130832" y="194552"/>
                </a:cubicBezTo>
                <a:cubicBezTo>
                  <a:pt x="133256" y="200370"/>
                  <a:pt x="136580" y="204110"/>
                  <a:pt x="140736" y="205426"/>
                </a:cubicBezTo>
                <a:lnTo>
                  <a:pt x="147869" y="207642"/>
                </a:lnTo>
                <a:lnTo>
                  <a:pt x="149809" y="214776"/>
                </a:lnTo>
                <a:cubicBezTo>
                  <a:pt x="159020" y="248436"/>
                  <a:pt x="172318" y="272954"/>
                  <a:pt x="188940" y="289854"/>
                </a:cubicBezTo>
                <a:cubicBezTo>
                  <a:pt x="204455" y="305576"/>
                  <a:pt x="223085" y="314787"/>
                  <a:pt x="244210" y="318735"/>
                </a:cubicBezTo>
                <a:cubicBezTo>
                  <a:pt x="268243" y="313333"/>
                  <a:pt x="287358" y="303567"/>
                  <a:pt x="302388" y="287845"/>
                </a:cubicBezTo>
                <a:cubicBezTo>
                  <a:pt x="318317" y="271153"/>
                  <a:pt x="330230" y="247328"/>
                  <a:pt x="339095" y="214499"/>
                </a:cubicBezTo>
                <a:lnTo>
                  <a:pt x="340965" y="207642"/>
                </a:lnTo>
                <a:lnTo>
                  <a:pt x="347753" y="205288"/>
                </a:lnTo>
                <a:cubicBezTo>
                  <a:pt x="351839" y="203902"/>
                  <a:pt x="355164" y="200024"/>
                  <a:pt x="357518" y="194206"/>
                </a:cubicBezTo>
                <a:cubicBezTo>
                  <a:pt x="359804" y="188527"/>
                  <a:pt x="361258" y="181393"/>
                  <a:pt x="361882" y="172874"/>
                </a:cubicBezTo>
                <a:cubicBezTo>
                  <a:pt x="357934" y="172874"/>
                  <a:pt x="353917" y="172943"/>
                  <a:pt x="349346" y="173567"/>
                </a:cubicBezTo>
                <a:lnTo>
                  <a:pt x="349346" y="173567"/>
                </a:lnTo>
                <a:close/>
              </a:path>
            </a:pathLst>
          </a:custGeom>
          <a:solidFill>
            <a:schemeClr val="accent1"/>
          </a:solidFill>
          <a:ln w="680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dirty="0">
              <a:cs typeface="+mn-ea"/>
              <a:sym typeface="+mn-lt"/>
            </a:endParaRPr>
          </a:p>
        </p:txBody>
      </p:sp>
      <p:pic>
        <p:nvPicPr>
          <p:cNvPr id="208" name="图形 207">
            <a:extLst>
              <a:ext uri="{FF2B5EF4-FFF2-40B4-BE49-F238E27FC236}">
                <a16:creationId xmlns:a16="http://schemas.microsoft.com/office/drawing/2014/main" id="{63330D71-B33D-4722-8B77-7D929D9782C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721310" y="5836798"/>
            <a:ext cx="195371" cy="166304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3BB8A01-015D-4131-8868-88B6B84795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ED46C33-F78E-44F9-B745-BF0AC48178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C2CAFF-B654-42ED-B81B-213FE35DBB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48" name="矩形 47">
            <a:extLst>
              <a:ext uri="{FF2B5EF4-FFF2-40B4-BE49-F238E27FC236}">
                <a16:creationId xmlns:a16="http://schemas.microsoft.com/office/drawing/2014/main" id="{87BC1466-79C7-48F8-A199-65820646DB0C}"/>
              </a:ext>
            </a:extLst>
          </p:cNvPr>
          <p:cNvSpPr/>
          <p:nvPr/>
        </p:nvSpPr>
        <p:spPr bwMode="auto">
          <a:xfrm>
            <a:off x="5898831" y="1123949"/>
            <a:ext cx="630869" cy="42264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等腰三角形 48">
            <a:extLst>
              <a:ext uri="{FF2B5EF4-FFF2-40B4-BE49-F238E27FC236}">
                <a16:creationId xmlns:a16="http://schemas.microsoft.com/office/drawing/2014/main" id="{39861E8F-B226-4AA9-8882-EDD31EF89984}"/>
              </a:ext>
            </a:extLst>
          </p:cNvPr>
          <p:cNvSpPr/>
          <p:nvPr/>
        </p:nvSpPr>
        <p:spPr bwMode="auto">
          <a:xfrm flipV="1">
            <a:off x="5952204" y="5350396"/>
            <a:ext cx="577496" cy="754980"/>
          </a:xfrm>
          <a:prstGeom prst="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50" name="等腰三角形 49">
            <a:extLst>
              <a:ext uri="{FF2B5EF4-FFF2-40B4-BE49-F238E27FC236}">
                <a16:creationId xmlns:a16="http://schemas.microsoft.com/office/drawing/2014/main" id="{FBC3B788-4219-40D7-862B-9F3B1F771FD7}"/>
              </a:ext>
            </a:extLst>
          </p:cNvPr>
          <p:cNvSpPr/>
          <p:nvPr/>
        </p:nvSpPr>
        <p:spPr bwMode="auto">
          <a:xfrm flipV="1">
            <a:off x="6129306" y="5859097"/>
            <a:ext cx="228219" cy="246280"/>
          </a:xfrm>
          <a:prstGeom prst="triangl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 fontScale="25000" lnSpcReduction="20000"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6" name="椭圆 45">
            <a:extLst>
              <a:ext uri="{FF2B5EF4-FFF2-40B4-BE49-F238E27FC236}">
                <a16:creationId xmlns:a16="http://schemas.microsoft.com/office/drawing/2014/main" id="{F61AAF1F-B602-45AB-A24B-0A9F406A5AD7}"/>
              </a:ext>
            </a:extLst>
          </p:cNvPr>
          <p:cNvSpPr/>
          <p:nvPr/>
        </p:nvSpPr>
        <p:spPr bwMode="auto">
          <a:xfrm>
            <a:off x="5415237" y="2757377"/>
            <a:ext cx="985602" cy="946312"/>
          </a:xfrm>
          <a:prstGeom prst="ellipse">
            <a:avLst/>
          </a:prstGeom>
          <a:solidFill>
            <a:schemeClr val="accent2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9ABB2D8A-F40D-41C1-8EF1-B5915A9AF6CB}"/>
              </a:ext>
            </a:extLst>
          </p:cNvPr>
          <p:cNvSpPr/>
          <p:nvPr/>
        </p:nvSpPr>
        <p:spPr bwMode="auto">
          <a:xfrm>
            <a:off x="5715227" y="3023783"/>
            <a:ext cx="385622" cy="413499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4" name="文本框 43">
            <a:extLst>
              <a:ext uri="{FF2B5EF4-FFF2-40B4-BE49-F238E27FC236}">
                <a16:creationId xmlns:a16="http://schemas.microsoft.com/office/drawing/2014/main" id="{29B87C8C-F74D-4B92-BF03-8C0E76CCA189}"/>
              </a:ext>
            </a:extLst>
          </p:cNvPr>
          <p:cNvSpPr txBox="1"/>
          <p:nvPr/>
        </p:nvSpPr>
        <p:spPr bwMode="auto">
          <a:xfrm>
            <a:off x="669925" y="2766352"/>
            <a:ext cx="4605122" cy="42760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/>
          <a:p>
            <a:pPr algn="r"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45" name="文本框 44">
            <a:extLst>
              <a:ext uri="{FF2B5EF4-FFF2-40B4-BE49-F238E27FC236}">
                <a16:creationId xmlns:a16="http://schemas.microsoft.com/office/drawing/2014/main" id="{E6DB3BB2-1A32-4448-85C5-7373ADB772E8}"/>
              </a:ext>
            </a:extLst>
          </p:cNvPr>
          <p:cNvSpPr txBox="1"/>
          <p:nvPr/>
        </p:nvSpPr>
        <p:spPr bwMode="auto">
          <a:xfrm>
            <a:off x="669925" y="3193958"/>
            <a:ext cx="4605122" cy="478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 algn="r">
              <a:lnSpc>
                <a:spcPct val="12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0" name="椭圆 39">
            <a:extLst>
              <a:ext uri="{FF2B5EF4-FFF2-40B4-BE49-F238E27FC236}">
                <a16:creationId xmlns:a16="http://schemas.microsoft.com/office/drawing/2014/main" id="{318829E2-D9F4-443E-9B3C-FDF3D49FD6B1}"/>
              </a:ext>
            </a:extLst>
          </p:cNvPr>
          <p:cNvSpPr/>
          <p:nvPr/>
        </p:nvSpPr>
        <p:spPr bwMode="auto">
          <a:xfrm>
            <a:off x="6027696" y="2160495"/>
            <a:ext cx="985602" cy="946312"/>
          </a:xfrm>
          <a:prstGeom prst="ellipse">
            <a:avLst/>
          </a:prstGeom>
          <a:solidFill>
            <a:schemeClr val="accent1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CA3ABB45-2871-48B5-97CB-99A85D6F1AD3}"/>
              </a:ext>
            </a:extLst>
          </p:cNvPr>
          <p:cNvSpPr/>
          <p:nvPr/>
        </p:nvSpPr>
        <p:spPr bwMode="auto">
          <a:xfrm>
            <a:off x="6353156" y="2426901"/>
            <a:ext cx="334683" cy="413499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8" name="文本框 37">
            <a:extLst>
              <a:ext uri="{FF2B5EF4-FFF2-40B4-BE49-F238E27FC236}">
                <a16:creationId xmlns:a16="http://schemas.microsoft.com/office/drawing/2014/main" id="{ED1B06DE-8DA8-47D7-B3F3-D1CC5356E07B}"/>
              </a:ext>
            </a:extLst>
          </p:cNvPr>
          <p:cNvSpPr txBox="1"/>
          <p:nvPr/>
        </p:nvSpPr>
        <p:spPr bwMode="auto">
          <a:xfrm>
            <a:off x="7142156" y="2214585"/>
            <a:ext cx="4378331" cy="42760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AA5FBA0E-A785-4074-9530-B42F8D937B62}"/>
              </a:ext>
            </a:extLst>
          </p:cNvPr>
          <p:cNvSpPr txBox="1"/>
          <p:nvPr/>
        </p:nvSpPr>
        <p:spPr bwMode="auto">
          <a:xfrm>
            <a:off x="7142156" y="2642191"/>
            <a:ext cx="4378331" cy="478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34" name="椭圆 33">
            <a:extLst>
              <a:ext uri="{FF2B5EF4-FFF2-40B4-BE49-F238E27FC236}">
                <a16:creationId xmlns:a16="http://schemas.microsoft.com/office/drawing/2014/main" id="{606BCFE3-F366-4963-91B2-6D068068101E}"/>
              </a:ext>
            </a:extLst>
          </p:cNvPr>
          <p:cNvSpPr/>
          <p:nvPr/>
        </p:nvSpPr>
        <p:spPr bwMode="auto">
          <a:xfrm>
            <a:off x="6027696" y="3367535"/>
            <a:ext cx="985602" cy="946312"/>
          </a:xfrm>
          <a:prstGeom prst="ellipse">
            <a:avLst/>
          </a:prstGeom>
          <a:solidFill>
            <a:schemeClr val="accent3"/>
          </a:solidFill>
          <a:ln w="571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 dirty="0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D3D71CEF-AFA0-4EBF-A3E4-BDD4E88F611F}"/>
              </a:ext>
            </a:extLst>
          </p:cNvPr>
          <p:cNvSpPr/>
          <p:nvPr/>
        </p:nvSpPr>
        <p:spPr bwMode="auto">
          <a:xfrm>
            <a:off x="6313748" y="3635096"/>
            <a:ext cx="413499" cy="411188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  <a:extLst>
            <a:ext uri="{91240B29-F687-4f45-9708-019B960494DF}"/>
            <a:ext uri="{AF507438-7753-43e0-B8FC-AC1667EBCBE1}"/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2" name="文本框 31">
            <a:extLst>
              <a:ext uri="{FF2B5EF4-FFF2-40B4-BE49-F238E27FC236}">
                <a16:creationId xmlns:a16="http://schemas.microsoft.com/office/drawing/2014/main" id="{946B4E39-AA91-4770-83D7-6EA4AB66E7E0}"/>
              </a:ext>
            </a:extLst>
          </p:cNvPr>
          <p:cNvSpPr txBox="1"/>
          <p:nvPr/>
        </p:nvSpPr>
        <p:spPr bwMode="auto">
          <a:xfrm>
            <a:off x="7142156" y="3400847"/>
            <a:ext cx="4378331" cy="427605"/>
          </a:xfrm>
          <a:prstGeom prst="rect">
            <a:avLst/>
          </a:prstGeom>
          <a:noFill/>
        </p:spPr>
        <p:txBody>
          <a:bodyPr wrap="square" lIns="91440" tIns="45720" rIns="91440" bIns="45720" anchor="b" anchorCtr="0">
            <a:normAutofit/>
          </a:bodyPr>
          <a:lstStyle/>
          <a:p>
            <a:pPr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33" name="文本框 32">
            <a:extLst>
              <a:ext uri="{FF2B5EF4-FFF2-40B4-BE49-F238E27FC236}">
                <a16:creationId xmlns:a16="http://schemas.microsoft.com/office/drawing/2014/main" id="{B336F2F9-839C-49C5-B63F-F21B9E83510E}"/>
              </a:ext>
            </a:extLst>
          </p:cNvPr>
          <p:cNvSpPr txBox="1"/>
          <p:nvPr/>
        </p:nvSpPr>
        <p:spPr bwMode="auto">
          <a:xfrm>
            <a:off x="7142156" y="3828453"/>
            <a:ext cx="4378331" cy="4786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/>
          <a:p>
            <a:pPr>
              <a:lnSpc>
                <a:spcPct val="12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711432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F9575D6-C2CF-42C9-B853-D77B55FB35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9D7C776-F08D-49E0-86C0-16FC9AFE8F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EB88BD5-477B-427A-881D-ACE2FB38DF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t>11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29" name="任意多边形: 形状 28"/>
          <p:cNvSpPr/>
          <p:nvPr/>
        </p:nvSpPr>
        <p:spPr>
          <a:xfrm rot="3600000">
            <a:off x="6110738" y="2514938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4" name="任意多边形: 形状 33"/>
          <p:cNvSpPr/>
          <p:nvPr/>
        </p:nvSpPr>
        <p:spPr>
          <a:xfrm rot="5400000">
            <a:off x="3011458" y="3392345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5" name="任意多边形: 形状 34"/>
          <p:cNvSpPr/>
          <p:nvPr/>
        </p:nvSpPr>
        <p:spPr>
          <a:xfrm rot="5400000">
            <a:off x="6108480" y="3392345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6" name="矩形: 圆角 35"/>
          <p:cNvSpPr/>
          <p:nvPr/>
        </p:nvSpPr>
        <p:spPr>
          <a:xfrm>
            <a:off x="673100" y="3349872"/>
            <a:ext cx="2086643" cy="5315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37" name="椭圆 36"/>
          <p:cNvSpPr/>
          <p:nvPr/>
        </p:nvSpPr>
        <p:spPr>
          <a:xfrm>
            <a:off x="2243911" y="3374572"/>
            <a:ext cx="482106" cy="48210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C44D0C1D-A5B0-4772-8F4F-89CC3D9BA24A}"/>
              </a:ext>
            </a:extLst>
          </p:cNvPr>
          <p:cNvSpPr/>
          <p:nvPr/>
        </p:nvSpPr>
        <p:spPr>
          <a:xfrm>
            <a:off x="2319164" y="3482024"/>
            <a:ext cx="331600" cy="267202"/>
          </a:xfrm>
          <a:custGeom>
            <a:avLst/>
            <a:gdLst>
              <a:gd name="T0" fmla="*/ 216 w 216"/>
              <a:gd name="T1" fmla="*/ 0 h 172"/>
              <a:gd name="T2" fmla="*/ 216 w 216"/>
              <a:gd name="T3" fmla="*/ 148 h 172"/>
              <a:gd name="T4" fmla="*/ 80 w 216"/>
              <a:gd name="T5" fmla="*/ 148 h 172"/>
              <a:gd name="T6" fmla="*/ 48 w 216"/>
              <a:gd name="T7" fmla="*/ 172 h 172"/>
              <a:gd name="T8" fmla="*/ 48 w 216"/>
              <a:gd name="T9" fmla="*/ 148 h 172"/>
              <a:gd name="T10" fmla="*/ 0 w 216"/>
              <a:gd name="T11" fmla="*/ 148 h 172"/>
              <a:gd name="T12" fmla="*/ 0 w 216"/>
              <a:gd name="T13" fmla="*/ 0 h 172"/>
              <a:gd name="T14" fmla="*/ 216 w 216"/>
              <a:gd name="T15" fmla="*/ 0 h 172"/>
              <a:gd name="T16" fmla="*/ 52 w 216"/>
              <a:gd name="T17" fmla="*/ 60 h 172"/>
              <a:gd name="T18" fmla="*/ 38 w 216"/>
              <a:gd name="T19" fmla="*/ 74 h 172"/>
              <a:gd name="T20" fmla="*/ 52 w 216"/>
              <a:gd name="T21" fmla="*/ 88 h 172"/>
              <a:gd name="T22" fmla="*/ 66 w 216"/>
              <a:gd name="T23" fmla="*/ 74 h 172"/>
              <a:gd name="T24" fmla="*/ 52 w 216"/>
              <a:gd name="T25" fmla="*/ 60 h 172"/>
              <a:gd name="T26" fmla="*/ 108 w 216"/>
              <a:gd name="T27" fmla="*/ 60 h 172"/>
              <a:gd name="T28" fmla="*/ 94 w 216"/>
              <a:gd name="T29" fmla="*/ 74 h 172"/>
              <a:gd name="T30" fmla="*/ 108 w 216"/>
              <a:gd name="T31" fmla="*/ 88 h 172"/>
              <a:gd name="T32" fmla="*/ 122 w 216"/>
              <a:gd name="T33" fmla="*/ 74 h 172"/>
              <a:gd name="T34" fmla="*/ 108 w 216"/>
              <a:gd name="T35" fmla="*/ 60 h 172"/>
              <a:gd name="T36" fmla="*/ 164 w 216"/>
              <a:gd name="T37" fmla="*/ 60 h 172"/>
              <a:gd name="T38" fmla="*/ 150 w 216"/>
              <a:gd name="T39" fmla="*/ 74 h 172"/>
              <a:gd name="T40" fmla="*/ 164 w 216"/>
              <a:gd name="T41" fmla="*/ 88 h 172"/>
              <a:gd name="T42" fmla="*/ 178 w 216"/>
              <a:gd name="T43" fmla="*/ 74 h 172"/>
              <a:gd name="T44" fmla="*/ 164 w 216"/>
              <a:gd name="T45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6" h="172">
                <a:moveTo>
                  <a:pt x="216" y="0"/>
                </a:moveTo>
                <a:cubicBezTo>
                  <a:pt x="216" y="148"/>
                  <a:pt x="216" y="148"/>
                  <a:pt x="216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0"/>
                  <a:pt x="0" y="0"/>
                  <a:pt x="0" y="0"/>
                </a:cubicBezTo>
                <a:lnTo>
                  <a:pt x="216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39" name="矩形: 圆角 38"/>
          <p:cNvSpPr/>
          <p:nvPr/>
        </p:nvSpPr>
        <p:spPr>
          <a:xfrm>
            <a:off x="3675964" y="3349872"/>
            <a:ext cx="2086643" cy="5315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2000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40" name="椭圆 39"/>
          <p:cNvSpPr/>
          <p:nvPr/>
        </p:nvSpPr>
        <p:spPr>
          <a:xfrm>
            <a:off x="5246775" y="3374572"/>
            <a:ext cx="482106" cy="482106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1" name="任意多边形: 形状 40"/>
          <p:cNvSpPr/>
          <p:nvPr/>
        </p:nvSpPr>
        <p:spPr>
          <a:xfrm rot="7200000">
            <a:off x="6110738" y="4269755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2" name="任意多边形: 形状 41"/>
          <p:cNvSpPr/>
          <p:nvPr/>
        </p:nvSpPr>
        <p:spPr>
          <a:xfrm rot="5400000">
            <a:off x="8936067" y="2222990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4" name="任意多边形: 形状 43"/>
          <p:cNvSpPr/>
          <p:nvPr/>
        </p:nvSpPr>
        <p:spPr>
          <a:xfrm rot="5400000">
            <a:off x="8936068" y="3392345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68F33DEB-ACBA-447D-BE49-7F4C6B934BAC}"/>
              </a:ext>
            </a:extLst>
          </p:cNvPr>
          <p:cNvSpPr/>
          <p:nvPr/>
        </p:nvSpPr>
        <p:spPr>
          <a:xfrm>
            <a:off x="5322028" y="3450751"/>
            <a:ext cx="331600" cy="329747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5" name="任意多边形: 形状 44"/>
          <p:cNvSpPr/>
          <p:nvPr/>
        </p:nvSpPr>
        <p:spPr>
          <a:xfrm rot="5400000">
            <a:off x="8936067" y="4607549"/>
            <a:ext cx="393174" cy="446560"/>
          </a:xfrm>
          <a:custGeom>
            <a:avLst/>
            <a:gdLst>
              <a:gd name="connsiteX0" fmla="*/ 0 w 523042"/>
              <a:gd name="connsiteY0" fmla="*/ 277628 h 594061"/>
              <a:gd name="connsiteX1" fmla="*/ 261521 w 523042"/>
              <a:gd name="connsiteY1" fmla="*/ 0 h 594061"/>
              <a:gd name="connsiteX2" fmla="*/ 523042 w 523042"/>
              <a:gd name="connsiteY2" fmla="*/ 277628 h 594061"/>
              <a:gd name="connsiteX3" fmla="*/ 370254 w 523042"/>
              <a:gd name="connsiteY3" fmla="*/ 277628 h 594061"/>
              <a:gd name="connsiteX4" fmla="*/ 370254 w 523042"/>
              <a:gd name="connsiteY4" fmla="*/ 534871 h 594061"/>
              <a:gd name="connsiteX5" fmla="*/ 311064 w 523042"/>
              <a:gd name="connsiteY5" fmla="*/ 594061 h 594061"/>
              <a:gd name="connsiteX6" fmla="*/ 211979 w 523042"/>
              <a:gd name="connsiteY6" fmla="*/ 594061 h 594061"/>
              <a:gd name="connsiteX7" fmla="*/ 152789 w 523042"/>
              <a:gd name="connsiteY7" fmla="*/ 534871 h 594061"/>
              <a:gd name="connsiteX8" fmla="*/ 152789 w 523042"/>
              <a:gd name="connsiteY8" fmla="*/ 277628 h 594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523042" h="594061">
                <a:moveTo>
                  <a:pt x="0" y="277628"/>
                </a:moveTo>
                <a:lnTo>
                  <a:pt x="261521" y="0"/>
                </a:lnTo>
                <a:lnTo>
                  <a:pt x="523042" y="277628"/>
                </a:lnTo>
                <a:lnTo>
                  <a:pt x="370254" y="277628"/>
                </a:lnTo>
                <a:lnTo>
                  <a:pt x="370254" y="534871"/>
                </a:lnTo>
                <a:cubicBezTo>
                  <a:pt x="370254" y="567561"/>
                  <a:pt x="343754" y="594061"/>
                  <a:pt x="311064" y="594061"/>
                </a:cubicBezTo>
                <a:lnTo>
                  <a:pt x="211979" y="594061"/>
                </a:lnTo>
                <a:cubicBezTo>
                  <a:pt x="179289" y="594061"/>
                  <a:pt x="152789" y="567561"/>
                  <a:pt x="152789" y="534871"/>
                </a:cubicBezTo>
                <a:lnTo>
                  <a:pt x="152789" y="2776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6" name="矩形: 圆角 45"/>
          <p:cNvSpPr/>
          <p:nvPr/>
        </p:nvSpPr>
        <p:spPr>
          <a:xfrm>
            <a:off x="6748665" y="2192868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47" name="椭圆 46"/>
          <p:cNvSpPr/>
          <p:nvPr/>
        </p:nvSpPr>
        <p:spPr>
          <a:xfrm>
            <a:off x="8348565" y="2216377"/>
            <a:ext cx="459788" cy="4597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51D0E08C-E65B-43B9-9BB3-3E152F3F86C6}"/>
              </a:ext>
            </a:extLst>
          </p:cNvPr>
          <p:cNvSpPr/>
          <p:nvPr/>
        </p:nvSpPr>
        <p:spPr>
          <a:xfrm>
            <a:off x="8466307" y="2307708"/>
            <a:ext cx="224303" cy="277126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49" name="矩形: 圆角 48"/>
          <p:cNvSpPr/>
          <p:nvPr/>
        </p:nvSpPr>
        <p:spPr>
          <a:xfrm>
            <a:off x="6746408" y="3362222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50" name="椭圆 49"/>
          <p:cNvSpPr/>
          <p:nvPr/>
        </p:nvSpPr>
        <p:spPr>
          <a:xfrm>
            <a:off x="8346308" y="3385731"/>
            <a:ext cx="459788" cy="459788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2" name="矩形: 圆角 51"/>
          <p:cNvSpPr/>
          <p:nvPr/>
        </p:nvSpPr>
        <p:spPr>
          <a:xfrm>
            <a:off x="6748665" y="4577426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6537BB0C-8B1F-4BBE-9D1D-D59EF6308E16}"/>
              </a:ext>
            </a:extLst>
          </p:cNvPr>
          <p:cNvSpPr/>
          <p:nvPr/>
        </p:nvSpPr>
        <p:spPr>
          <a:xfrm>
            <a:off x="8446981" y="3477062"/>
            <a:ext cx="258443" cy="277126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3" name="椭圆 52"/>
          <p:cNvSpPr/>
          <p:nvPr/>
        </p:nvSpPr>
        <p:spPr>
          <a:xfrm>
            <a:off x="8348565" y="4600935"/>
            <a:ext cx="459788" cy="4597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5" name="矩形: 圆角 54"/>
          <p:cNvSpPr/>
          <p:nvPr/>
        </p:nvSpPr>
        <p:spPr>
          <a:xfrm>
            <a:off x="9432257" y="2192868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56" name="椭圆 55"/>
          <p:cNvSpPr/>
          <p:nvPr/>
        </p:nvSpPr>
        <p:spPr>
          <a:xfrm>
            <a:off x="11032157" y="2216377"/>
            <a:ext cx="459788" cy="4597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12C39567-8035-4046-A2BE-5BC95E948A81}"/>
              </a:ext>
            </a:extLst>
          </p:cNvPr>
          <p:cNvSpPr/>
          <p:nvPr/>
        </p:nvSpPr>
        <p:spPr>
          <a:xfrm>
            <a:off x="8453789" y="4692266"/>
            <a:ext cx="249338" cy="277126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8" name="矩形: 圆角 57"/>
          <p:cNvSpPr/>
          <p:nvPr/>
        </p:nvSpPr>
        <p:spPr>
          <a:xfrm>
            <a:off x="9430000" y="3362222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78" name="椭圆 77"/>
          <p:cNvSpPr/>
          <p:nvPr/>
        </p:nvSpPr>
        <p:spPr>
          <a:xfrm>
            <a:off x="11029900" y="3385731"/>
            <a:ext cx="459788" cy="459788"/>
          </a:xfrm>
          <a:prstGeom prst="ellipse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79" name="矩形: 圆角 78"/>
          <p:cNvSpPr/>
          <p:nvPr/>
        </p:nvSpPr>
        <p:spPr>
          <a:xfrm>
            <a:off x="9432257" y="4577426"/>
            <a:ext cx="2086643" cy="506806"/>
          </a:xfrm>
          <a:prstGeom prst="roundRect">
            <a:avLst>
              <a:gd name="adj" fmla="val 50000"/>
            </a:avLst>
          </a:prstGeom>
          <a:noFill/>
          <a:ln w="190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>
              <a:spcBef>
                <a:spcPct val="0"/>
              </a:spcBef>
            </a:pPr>
            <a:r>
              <a:rPr lang="en-US" altLang="zh-CN" sz="1100" dirty="0">
                <a:solidFill>
                  <a:schemeClr val="tx1"/>
                </a:solidFill>
                <a:cs typeface="+mn-ea"/>
                <a:sym typeface="+mn-lt"/>
              </a:rPr>
              <a:t>Supporting text here.</a:t>
            </a: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9F4D6A10-23E5-4D8B-8AA8-472579907648}"/>
              </a:ext>
            </a:extLst>
          </p:cNvPr>
          <p:cNvSpPr/>
          <p:nvPr/>
        </p:nvSpPr>
        <p:spPr>
          <a:xfrm>
            <a:off x="11123488" y="2340995"/>
            <a:ext cx="277126" cy="210553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8 w 224"/>
              <a:gd name="T11" fmla="*/ 72 h 168"/>
              <a:gd name="T12" fmla="*/ 104 w 224"/>
              <a:gd name="T13" fmla="*/ 143 h 168"/>
              <a:gd name="T14" fmla="*/ 58 w 224"/>
              <a:gd name="T15" fmla="*/ 99 h 168"/>
              <a:gd name="T16" fmla="*/ 8 w 224"/>
              <a:gd name="T17" fmla="*/ 160 h 168"/>
              <a:gd name="T18" fmla="*/ 216 w 224"/>
              <a:gd name="T19" fmla="*/ 160 h 168"/>
              <a:gd name="T20" fmla="*/ 158 w 224"/>
              <a:gd name="T21" fmla="*/ 72 h 168"/>
              <a:gd name="T22" fmla="*/ 40 w 224"/>
              <a:gd name="T23" fmla="*/ 24 h 168"/>
              <a:gd name="T24" fmla="*/ 24 w 224"/>
              <a:gd name="T25" fmla="*/ 40 h 168"/>
              <a:gd name="T26" fmla="*/ 40 w 224"/>
              <a:gd name="T27" fmla="*/ 56 h 168"/>
              <a:gd name="T28" fmla="*/ 56 w 224"/>
              <a:gd name="T29" fmla="*/ 40 h 168"/>
              <a:gd name="T30" fmla="*/ 40 w 224"/>
              <a:gd name="T31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8" y="72"/>
                </a:moveTo>
                <a:cubicBezTo>
                  <a:pt x="104" y="143"/>
                  <a:pt x="104" y="143"/>
                  <a:pt x="104" y="143"/>
                </a:cubicBezTo>
                <a:cubicBezTo>
                  <a:pt x="58" y="99"/>
                  <a:pt x="58" y="99"/>
                  <a:pt x="58" y="9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lnTo>
                  <a:pt x="158" y="72"/>
                </a:ln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4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81" name="椭圆 80"/>
          <p:cNvSpPr/>
          <p:nvPr/>
        </p:nvSpPr>
        <p:spPr>
          <a:xfrm>
            <a:off x="11032157" y="4600935"/>
            <a:ext cx="459788" cy="459788"/>
          </a:xfrm>
          <a:prstGeom prst="ellipse">
            <a:avLst/>
          </a:prstGeom>
          <a:solidFill>
            <a:schemeClr val="bg1">
              <a:lumMod val="7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A143E805-6A32-4321-9DA8-072CAFE7C388}"/>
              </a:ext>
            </a:extLst>
          </p:cNvPr>
          <p:cNvSpPr/>
          <p:nvPr/>
        </p:nvSpPr>
        <p:spPr>
          <a:xfrm>
            <a:off x="11130573" y="3477062"/>
            <a:ext cx="258443" cy="277126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8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  <p:sp>
        <p:nvSpPr>
          <p:cNvPr id="68" name="任意多边形: 形状 67">
            <a:extLst>
              <a:ext uri="{FF2B5EF4-FFF2-40B4-BE49-F238E27FC236}">
                <a16:creationId xmlns:a16="http://schemas.microsoft.com/office/drawing/2014/main" id="{49D8734D-C33D-4AC3-85C1-F37DF0A3420A}"/>
              </a:ext>
            </a:extLst>
          </p:cNvPr>
          <p:cNvSpPr/>
          <p:nvPr/>
        </p:nvSpPr>
        <p:spPr>
          <a:xfrm>
            <a:off x="11123488" y="4715489"/>
            <a:ext cx="277126" cy="230680"/>
          </a:xfrm>
          <a:custGeom>
            <a:avLst/>
            <a:gdLst>
              <a:gd name="T0" fmla="*/ 64 w 358"/>
              <a:gd name="T1" fmla="*/ 91 h 298"/>
              <a:gd name="T2" fmla="*/ 83 w 358"/>
              <a:gd name="T3" fmla="*/ 194 h 298"/>
              <a:gd name="T4" fmla="*/ 275 w 358"/>
              <a:gd name="T5" fmla="*/ 194 h 298"/>
              <a:gd name="T6" fmla="*/ 294 w 358"/>
              <a:gd name="T7" fmla="*/ 91 h 298"/>
              <a:gd name="T8" fmla="*/ 358 w 358"/>
              <a:gd name="T9" fmla="*/ 91 h 298"/>
              <a:gd name="T10" fmla="*/ 345 w 358"/>
              <a:gd name="T11" fmla="*/ 259 h 298"/>
              <a:gd name="T12" fmla="*/ 306 w 358"/>
              <a:gd name="T13" fmla="*/ 259 h 298"/>
              <a:gd name="T14" fmla="*/ 306 w 358"/>
              <a:gd name="T15" fmla="*/ 298 h 298"/>
              <a:gd name="T16" fmla="*/ 294 w 358"/>
              <a:gd name="T17" fmla="*/ 298 h 298"/>
              <a:gd name="T18" fmla="*/ 294 w 358"/>
              <a:gd name="T19" fmla="*/ 259 h 298"/>
              <a:gd name="T20" fmla="*/ 64 w 358"/>
              <a:gd name="T21" fmla="*/ 259 h 298"/>
              <a:gd name="T22" fmla="*/ 64 w 358"/>
              <a:gd name="T23" fmla="*/ 298 h 298"/>
              <a:gd name="T24" fmla="*/ 51 w 358"/>
              <a:gd name="T25" fmla="*/ 298 h 298"/>
              <a:gd name="T26" fmla="*/ 51 w 358"/>
              <a:gd name="T27" fmla="*/ 259 h 298"/>
              <a:gd name="T28" fmla="*/ 13 w 358"/>
              <a:gd name="T29" fmla="*/ 259 h 298"/>
              <a:gd name="T30" fmla="*/ 0 w 358"/>
              <a:gd name="T31" fmla="*/ 91 h 298"/>
              <a:gd name="T32" fmla="*/ 64 w 358"/>
              <a:gd name="T33" fmla="*/ 91 h 298"/>
              <a:gd name="T34" fmla="*/ 326 w 358"/>
              <a:gd name="T35" fmla="*/ 0 h 298"/>
              <a:gd name="T36" fmla="*/ 326 w 358"/>
              <a:gd name="T37" fmla="*/ 78 h 298"/>
              <a:gd name="T38" fmla="*/ 284 w 358"/>
              <a:gd name="T39" fmla="*/ 78 h 298"/>
              <a:gd name="T40" fmla="*/ 265 w 358"/>
              <a:gd name="T41" fmla="*/ 181 h 298"/>
              <a:gd name="T42" fmla="*/ 93 w 358"/>
              <a:gd name="T43" fmla="*/ 181 h 298"/>
              <a:gd name="T44" fmla="*/ 73 w 358"/>
              <a:gd name="T45" fmla="*/ 78 h 298"/>
              <a:gd name="T46" fmla="*/ 38 w 358"/>
              <a:gd name="T47" fmla="*/ 78 h 298"/>
              <a:gd name="T48" fmla="*/ 38 w 358"/>
              <a:gd name="T49" fmla="*/ 0 h 298"/>
              <a:gd name="T50" fmla="*/ 326 w 358"/>
              <a:gd name="T51" fmla="*/ 0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58" h="298">
                <a:moveTo>
                  <a:pt x="64" y="91"/>
                </a:moveTo>
                <a:lnTo>
                  <a:pt x="83" y="194"/>
                </a:lnTo>
                <a:lnTo>
                  <a:pt x="275" y="194"/>
                </a:lnTo>
                <a:lnTo>
                  <a:pt x="294" y="91"/>
                </a:lnTo>
                <a:lnTo>
                  <a:pt x="358" y="91"/>
                </a:lnTo>
                <a:lnTo>
                  <a:pt x="345" y="259"/>
                </a:lnTo>
                <a:lnTo>
                  <a:pt x="306" y="259"/>
                </a:lnTo>
                <a:lnTo>
                  <a:pt x="306" y="298"/>
                </a:lnTo>
                <a:lnTo>
                  <a:pt x="294" y="298"/>
                </a:lnTo>
                <a:lnTo>
                  <a:pt x="294" y="259"/>
                </a:lnTo>
                <a:lnTo>
                  <a:pt x="64" y="259"/>
                </a:lnTo>
                <a:lnTo>
                  <a:pt x="64" y="298"/>
                </a:lnTo>
                <a:lnTo>
                  <a:pt x="51" y="298"/>
                </a:lnTo>
                <a:lnTo>
                  <a:pt x="51" y="259"/>
                </a:lnTo>
                <a:lnTo>
                  <a:pt x="13" y="259"/>
                </a:lnTo>
                <a:lnTo>
                  <a:pt x="0" y="91"/>
                </a:lnTo>
                <a:lnTo>
                  <a:pt x="64" y="91"/>
                </a:lnTo>
                <a:close/>
                <a:moveTo>
                  <a:pt x="326" y="0"/>
                </a:moveTo>
                <a:lnTo>
                  <a:pt x="326" y="78"/>
                </a:lnTo>
                <a:lnTo>
                  <a:pt x="284" y="78"/>
                </a:lnTo>
                <a:lnTo>
                  <a:pt x="265" y="181"/>
                </a:lnTo>
                <a:lnTo>
                  <a:pt x="93" y="181"/>
                </a:lnTo>
                <a:lnTo>
                  <a:pt x="73" y="78"/>
                </a:lnTo>
                <a:lnTo>
                  <a:pt x="38" y="78"/>
                </a:lnTo>
                <a:lnTo>
                  <a:pt x="38" y="0"/>
                </a:lnTo>
                <a:lnTo>
                  <a:pt x="326" y="0"/>
                </a:lnTo>
                <a:close/>
              </a:path>
            </a:pathLst>
          </a:cu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3139958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802051-15E6-4C4A-8E69-22268ED07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389556-8398-45C5-9F9D-1DAD4ED670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CF3DB1C-C56C-4872-83EF-74289B5DB2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42" name="组合 41"/>
          <p:cNvGrpSpPr/>
          <p:nvPr/>
        </p:nvGrpSpPr>
        <p:grpSpPr>
          <a:xfrm>
            <a:off x="3963101" y="3018388"/>
            <a:ext cx="4265801" cy="3839612"/>
            <a:chOff x="3772549" y="1964162"/>
            <a:chExt cx="4646902" cy="4182638"/>
          </a:xfrm>
        </p:grpSpPr>
        <p:grpSp>
          <p:nvGrpSpPr>
            <p:cNvPr id="58" name="组合 57"/>
            <p:cNvGrpSpPr/>
            <p:nvPr/>
          </p:nvGrpSpPr>
          <p:grpSpPr>
            <a:xfrm>
              <a:off x="3772549" y="1964162"/>
              <a:ext cx="4646902" cy="3655833"/>
              <a:chOff x="3772549" y="1964162"/>
              <a:chExt cx="4646902" cy="3655833"/>
            </a:xfrm>
          </p:grpSpPr>
          <p:sp>
            <p:nvSpPr>
              <p:cNvPr id="98" name="任意多边形: 形状 97"/>
              <p:cNvSpPr/>
              <p:nvPr/>
            </p:nvSpPr>
            <p:spPr bwMode="auto">
              <a:xfrm>
                <a:off x="7323444" y="4924656"/>
                <a:ext cx="534224" cy="519385"/>
              </a:xfrm>
              <a:custGeom>
                <a:avLst/>
                <a:gdLst>
                  <a:gd name="T0" fmla="*/ 189 w 213"/>
                  <a:gd name="T1" fmla="*/ 207 h 207"/>
                  <a:gd name="T2" fmla="*/ 62 w 213"/>
                  <a:gd name="T3" fmla="*/ 66 h 207"/>
                  <a:gd name="T4" fmla="*/ 131 w 213"/>
                  <a:gd name="T5" fmla="*/ 132 h 207"/>
                  <a:gd name="T6" fmla="*/ 72 w 213"/>
                  <a:gd name="T7" fmla="*/ 57 h 207"/>
                  <a:gd name="T8" fmla="*/ 189 w 213"/>
                  <a:gd name="T9" fmla="*/ 207 h 2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3" h="207">
                    <a:moveTo>
                      <a:pt x="189" y="207"/>
                    </a:moveTo>
                    <a:cubicBezTo>
                      <a:pt x="189" y="207"/>
                      <a:pt x="0" y="200"/>
                      <a:pt x="62" y="66"/>
                    </a:cubicBezTo>
                    <a:cubicBezTo>
                      <a:pt x="62" y="66"/>
                      <a:pt x="78" y="125"/>
                      <a:pt x="131" y="132"/>
                    </a:cubicBezTo>
                    <a:cubicBezTo>
                      <a:pt x="131" y="132"/>
                      <a:pt x="123" y="71"/>
                      <a:pt x="72" y="57"/>
                    </a:cubicBezTo>
                    <a:cubicBezTo>
                      <a:pt x="72" y="57"/>
                      <a:pt x="213" y="0"/>
                      <a:pt x="189" y="207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/>
              <p:cNvSpPr/>
              <p:nvPr/>
            </p:nvSpPr>
            <p:spPr bwMode="auto">
              <a:xfrm>
                <a:off x="7852368" y="3889066"/>
                <a:ext cx="475926" cy="732439"/>
              </a:xfrm>
              <a:custGeom>
                <a:avLst/>
                <a:gdLst>
                  <a:gd name="T0" fmla="*/ 190 w 190"/>
                  <a:gd name="T1" fmla="*/ 153 h 292"/>
                  <a:gd name="T2" fmla="*/ 0 w 190"/>
                  <a:gd name="T3" fmla="*/ 158 h 292"/>
                  <a:gd name="T4" fmla="*/ 96 w 190"/>
                  <a:gd name="T5" fmla="*/ 149 h 292"/>
                  <a:gd name="T6" fmla="*/ 1 w 190"/>
                  <a:gd name="T7" fmla="*/ 144 h 292"/>
                  <a:gd name="T8" fmla="*/ 190 w 190"/>
                  <a:gd name="T9" fmla="*/ 153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" h="292">
                    <a:moveTo>
                      <a:pt x="190" y="153"/>
                    </a:moveTo>
                    <a:cubicBezTo>
                      <a:pt x="190" y="153"/>
                      <a:pt x="61" y="292"/>
                      <a:pt x="0" y="158"/>
                    </a:cubicBezTo>
                    <a:cubicBezTo>
                      <a:pt x="0" y="158"/>
                      <a:pt x="55" y="184"/>
                      <a:pt x="96" y="149"/>
                    </a:cubicBezTo>
                    <a:cubicBezTo>
                      <a:pt x="96" y="149"/>
                      <a:pt x="44" y="114"/>
                      <a:pt x="1" y="144"/>
                    </a:cubicBezTo>
                    <a:cubicBezTo>
                      <a:pt x="1" y="144"/>
                      <a:pt x="50" y="0"/>
                      <a:pt x="190" y="153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/>
              <p:cNvSpPr/>
              <p:nvPr/>
            </p:nvSpPr>
            <p:spPr bwMode="auto">
              <a:xfrm>
                <a:off x="7957305" y="3347422"/>
                <a:ext cx="462146" cy="692160"/>
              </a:xfrm>
              <a:custGeom>
                <a:avLst/>
                <a:gdLst>
                  <a:gd name="T0" fmla="*/ 184 w 184"/>
                  <a:gd name="T1" fmla="*/ 106 h 276"/>
                  <a:gd name="T2" fmla="*/ 3 w 184"/>
                  <a:gd name="T3" fmla="*/ 165 h 276"/>
                  <a:gd name="T4" fmla="*/ 92 w 184"/>
                  <a:gd name="T5" fmla="*/ 129 h 276"/>
                  <a:gd name="T6" fmla="*/ 0 w 184"/>
                  <a:gd name="T7" fmla="*/ 151 h 276"/>
                  <a:gd name="T8" fmla="*/ 184 w 184"/>
                  <a:gd name="T9" fmla="*/ 106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4" h="276">
                    <a:moveTo>
                      <a:pt x="184" y="106"/>
                    </a:moveTo>
                    <a:cubicBezTo>
                      <a:pt x="184" y="106"/>
                      <a:pt x="100" y="276"/>
                      <a:pt x="3" y="165"/>
                    </a:cubicBezTo>
                    <a:cubicBezTo>
                      <a:pt x="3" y="165"/>
                      <a:pt x="64" y="174"/>
                      <a:pt x="92" y="129"/>
                    </a:cubicBezTo>
                    <a:cubicBezTo>
                      <a:pt x="92" y="129"/>
                      <a:pt x="33" y="111"/>
                      <a:pt x="0" y="151"/>
                    </a:cubicBezTo>
                    <a:cubicBezTo>
                      <a:pt x="0" y="151"/>
                      <a:pt x="6" y="0"/>
                      <a:pt x="184" y="106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/>
              <p:cNvSpPr/>
              <p:nvPr/>
            </p:nvSpPr>
            <p:spPr bwMode="auto">
              <a:xfrm>
                <a:off x="7426260" y="2529126"/>
                <a:ext cx="514085" cy="561784"/>
              </a:xfrm>
              <a:custGeom>
                <a:avLst/>
                <a:gdLst>
                  <a:gd name="T0" fmla="*/ 205 w 205"/>
                  <a:gd name="T1" fmla="*/ 35 h 224"/>
                  <a:gd name="T2" fmla="*/ 56 w 205"/>
                  <a:gd name="T3" fmla="*/ 155 h 224"/>
                  <a:gd name="T4" fmla="*/ 127 w 205"/>
                  <a:gd name="T5" fmla="*/ 89 h 224"/>
                  <a:gd name="T6" fmla="*/ 48 w 205"/>
                  <a:gd name="T7" fmla="*/ 143 h 224"/>
                  <a:gd name="T8" fmla="*/ 205 w 205"/>
                  <a:gd name="T9" fmla="*/ 35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5" h="224">
                    <a:moveTo>
                      <a:pt x="205" y="35"/>
                    </a:moveTo>
                    <a:cubicBezTo>
                      <a:pt x="205" y="35"/>
                      <a:pt x="187" y="224"/>
                      <a:pt x="56" y="155"/>
                    </a:cubicBezTo>
                    <a:cubicBezTo>
                      <a:pt x="56" y="155"/>
                      <a:pt x="116" y="142"/>
                      <a:pt x="127" y="89"/>
                    </a:cubicBezTo>
                    <a:cubicBezTo>
                      <a:pt x="127" y="89"/>
                      <a:pt x="65" y="94"/>
                      <a:pt x="48" y="143"/>
                    </a:cubicBezTo>
                    <a:cubicBezTo>
                      <a:pt x="48" y="143"/>
                      <a:pt x="0" y="0"/>
                      <a:pt x="205" y="35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/>
              <p:cNvSpPr/>
              <p:nvPr/>
            </p:nvSpPr>
            <p:spPr bwMode="auto">
              <a:xfrm>
                <a:off x="6884617" y="2336211"/>
                <a:ext cx="684740" cy="444127"/>
              </a:xfrm>
              <a:custGeom>
                <a:avLst/>
                <a:gdLst>
                  <a:gd name="T0" fmla="*/ 195 w 273"/>
                  <a:gd name="T1" fmla="*/ 0 h 177"/>
                  <a:gd name="T2" fmla="*/ 125 w 273"/>
                  <a:gd name="T3" fmla="*/ 177 h 177"/>
                  <a:gd name="T4" fmla="*/ 154 w 273"/>
                  <a:gd name="T5" fmla="*/ 85 h 177"/>
                  <a:gd name="T6" fmla="*/ 113 w 273"/>
                  <a:gd name="T7" fmla="*/ 171 h 177"/>
                  <a:gd name="T8" fmla="*/ 195 w 273"/>
                  <a:gd name="T9" fmla="*/ 0 h 1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3" h="177">
                    <a:moveTo>
                      <a:pt x="195" y="0"/>
                    </a:moveTo>
                    <a:cubicBezTo>
                      <a:pt x="195" y="0"/>
                      <a:pt x="273" y="173"/>
                      <a:pt x="125" y="177"/>
                    </a:cubicBezTo>
                    <a:cubicBezTo>
                      <a:pt x="125" y="177"/>
                      <a:pt x="171" y="136"/>
                      <a:pt x="154" y="85"/>
                    </a:cubicBezTo>
                    <a:cubicBezTo>
                      <a:pt x="154" y="85"/>
                      <a:pt x="103" y="119"/>
                      <a:pt x="113" y="171"/>
                    </a:cubicBezTo>
                    <a:cubicBezTo>
                      <a:pt x="113" y="171"/>
                      <a:pt x="0" y="70"/>
                      <a:pt x="195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/>
              <p:cNvSpPr/>
              <p:nvPr/>
            </p:nvSpPr>
            <p:spPr bwMode="auto">
              <a:xfrm>
                <a:off x="5946544" y="1964162"/>
                <a:ext cx="725018" cy="474866"/>
              </a:xfrm>
              <a:custGeom>
                <a:avLst/>
                <a:gdLst>
                  <a:gd name="T0" fmla="*/ 139 w 289"/>
                  <a:gd name="T1" fmla="*/ 0 h 189"/>
                  <a:gd name="T2" fmla="*/ 161 w 289"/>
                  <a:gd name="T3" fmla="*/ 189 h 189"/>
                  <a:gd name="T4" fmla="*/ 143 w 289"/>
                  <a:gd name="T5" fmla="*/ 95 h 189"/>
                  <a:gd name="T6" fmla="*/ 148 w 289"/>
                  <a:gd name="T7" fmla="*/ 189 h 189"/>
                  <a:gd name="T8" fmla="*/ 139 w 289"/>
                  <a:gd name="T9" fmla="*/ 0 h 1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9" h="189">
                    <a:moveTo>
                      <a:pt x="139" y="0"/>
                    </a:moveTo>
                    <a:cubicBezTo>
                      <a:pt x="139" y="0"/>
                      <a:pt x="289" y="115"/>
                      <a:pt x="161" y="189"/>
                    </a:cubicBezTo>
                    <a:cubicBezTo>
                      <a:pt x="161" y="189"/>
                      <a:pt x="182" y="131"/>
                      <a:pt x="143" y="95"/>
                    </a:cubicBezTo>
                    <a:cubicBezTo>
                      <a:pt x="143" y="95"/>
                      <a:pt x="114" y="149"/>
                      <a:pt x="148" y="189"/>
                    </a:cubicBezTo>
                    <a:cubicBezTo>
                      <a:pt x="148" y="189"/>
                      <a:pt x="0" y="155"/>
                      <a:pt x="139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/>
              <p:cNvSpPr/>
              <p:nvPr/>
            </p:nvSpPr>
            <p:spPr bwMode="auto">
              <a:xfrm>
                <a:off x="5490758" y="2039420"/>
                <a:ext cx="676260" cy="462147"/>
              </a:xfrm>
              <a:custGeom>
                <a:avLst/>
                <a:gdLst>
                  <a:gd name="T0" fmla="*/ 96 w 270"/>
                  <a:gd name="T1" fmla="*/ 0 h 184"/>
                  <a:gd name="T2" fmla="*/ 164 w 270"/>
                  <a:gd name="T3" fmla="*/ 177 h 184"/>
                  <a:gd name="T4" fmla="*/ 124 w 270"/>
                  <a:gd name="T5" fmla="*/ 90 h 184"/>
                  <a:gd name="T6" fmla="*/ 151 w 270"/>
                  <a:gd name="T7" fmla="*/ 181 h 184"/>
                  <a:gd name="T8" fmla="*/ 96 w 270"/>
                  <a:gd name="T9" fmla="*/ 0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0" h="184">
                    <a:moveTo>
                      <a:pt x="96" y="0"/>
                    </a:moveTo>
                    <a:cubicBezTo>
                      <a:pt x="96" y="0"/>
                      <a:pt x="270" y="74"/>
                      <a:pt x="164" y="177"/>
                    </a:cubicBezTo>
                    <a:cubicBezTo>
                      <a:pt x="164" y="177"/>
                      <a:pt x="171" y="116"/>
                      <a:pt x="124" y="90"/>
                    </a:cubicBezTo>
                    <a:cubicBezTo>
                      <a:pt x="124" y="90"/>
                      <a:pt x="109" y="150"/>
                      <a:pt x="151" y="181"/>
                    </a:cubicBezTo>
                    <a:cubicBezTo>
                      <a:pt x="151" y="181"/>
                      <a:pt x="0" y="184"/>
                      <a:pt x="96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/>
              <p:cNvSpPr/>
              <p:nvPr/>
            </p:nvSpPr>
            <p:spPr bwMode="auto">
              <a:xfrm>
                <a:off x="4552686" y="2268373"/>
                <a:ext cx="672020" cy="468506"/>
              </a:xfrm>
              <a:custGeom>
                <a:avLst/>
                <a:gdLst>
                  <a:gd name="T0" fmla="*/ 92 w 268"/>
                  <a:gd name="T1" fmla="*/ 0 h 187"/>
                  <a:gd name="T2" fmla="*/ 164 w 268"/>
                  <a:gd name="T3" fmla="*/ 176 h 187"/>
                  <a:gd name="T4" fmla="*/ 121 w 268"/>
                  <a:gd name="T5" fmla="*/ 90 h 187"/>
                  <a:gd name="T6" fmla="*/ 151 w 268"/>
                  <a:gd name="T7" fmla="*/ 180 h 187"/>
                  <a:gd name="T8" fmla="*/ 92 w 268"/>
                  <a:gd name="T9" fmla="*/ 0 h 1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8" h="187">
                    <a:moveTo>
                      <a:pt x="92" y="0"/>
                    </a:moveTo>
                    <a:cubicBezTo>
                      <a:pt x="92" y="0"/>
                      <a:pt x="268" y="70"/>
                      <a:pt x="164" y="176"/>
                    </a:cubicBezTo>
                    <a:cubicBezTo>
                      <a:pt x="164" y="176"/>
                      <a:pt x="169" y="115"/>
                      <a:pt x="121" y="90"/>
                    </a:cubicBezTo>
                    <a:cubicBezTo>
                      <a:pt x="121" y="90"/>
                      <a:pt x="108" y="150"/>
                      <a:pt x="151" y="180"/>
                    </a:cubicBezTo>
                    <a:cubicBezTo>
                      <a:pt x="151" y="180"/>
                      <a:pt x="0" y="187"/>
                      <a:pt x="92" y="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/>
              <p:cNvSpPr/>
              <p:nvPr/>
            </p:nvSpPr>
            <p:spPr bwMode="auto">
              <a:xfrm>
                <a:off x="4253775" y="2634062"/>
                <a:ext cx="451547" cy="655061"/>
              </a:xfrm>
              <a:custGeom>
                <a:avLst/>
                <a:gdLst>
                  <a:gd name="T0" fmla="*/ 0 w 180"/>
                  <a:gd name="T1" fmla="*/ 60 h 261"/>
                  <a:gd name="T2" fmla="*/ 169 w 180"/>
                  <a:gd name="T3" fmla="*/ 147 h 261"/>
                  <a:gd name="T4" fmla="*/ 81 w 180"/>
                  <a:gd name="T5" fmla="*/ 109 h 261"/>
                  <a:gd name="T6" fmla="*/ 162 w 180"/>
                  <a:gd name="T7" fmla="*/ 159 h 261"/>
                  <a:gd name="T8" fmla="*/ 0 w 180"/>
                  <a:gd name="T9" fmla="*/ 60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0" h="261">
                    <a:moveTo>
                      <a:pt x="0" y="60"/>
                    </a:moveTo>
                    <a:cubicBezTo>
                      <a:pt x="0" y="60"/>
                      <a:pt x="180" y="0"/>
                      <a:pt x="169" y="147"/>
                    </a:cubicBezTo>
                    <a:cubicBezTo>
                      <a:pt x="169" y="147"/>
                      <a:pt x="133" y="97"/>
                      <a:pt x="81" y="109"/>
                    </a:cubicBezTo>
                    <a:cubicBezTo>
                      <a:pt x="81" y="109"/>
                      <a:pt x="109" y="164"/>
                      <a:pt x="162" y="159"/>
                    </a:cubicBezTo>
                    <a:cubicBezTo>
                      <a:pt x="162" y="159"/>
                      <a:pt x="50" y="261"/>
                      <a:pt x="0" y="6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/>
              <p:cNvSpPr/>
              <p:nvPr/>
            </p:nvSpPr>
            <p:spPr bwMode="auto">
              <a:xfrm>
                <a:off x="3772549" y="3509597"/>
                <a:ext cx="468506" cy="669900"/>
              </a:xfrm>
              <a:custGeom>
                <a:avLst/>
                <a:gdLst>
                  <a:gd name="T0" fmla="*/ 0 w 187"/>
                  <a:gd name="T1" fmla="*/ 176 h 267"/>
                  <a:gd name="T2" fmla="*/ 176 w 187"/>
                  <a:gd name="T3" fmla="*/ 103 h 267"/>
                  <a:gd name="T4" fmla="*/ 90 w 187"/>
                  <a:gd name="T5" fmla="*/ 146 h 267"/>
                  <a:gd name="T6" fmla="*/ 180 w 187"/>
                  <a:gd name="T7" fmla="*/ 116 h 267"/>
                  <a:gd name="T8" fmla="*/ 0 w 187"/>
                  <a:gd name="T9" fmla="*/ 176 h 2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7" h="267">
                    <a:moveTo>
                      <a:pt x="0" y="176"/>
                    </a:moveTo>
                    <a:cubicBezTo>
                      <a:pt x="0" y="176"/>
                      <a:pt x="69" y="0"/>
                      <a:pt x="176" y="103"/>
                    </a:cubicBezTo>
                    <a:cubicBezTo>
                      <a:pt x="176" y="103"/>
                      <a:pt x="114" y="98"/>
                      <a:pt x="90" y="146"/>
                    </a:cubicBezTo>
                    <a:cubicBezTo>
                      <a:pt x="90" y="146"/>
                      <a:pt x="150" y="159"/>
                      <a:pt x="180" y="116"/>
                    </a:cubicBezTo>
                    <a:cubicBezTo>
                      <a:pt x="180" y="116"/>
                      <a:pt x="187" y="267"/>
                      <a:pt x="0" y="176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/>
              <p:cNvSpPr/>
              <p:nvPr/>
            </p:nvSpPr>
            <p:spPr bwMode="auto">
              <a:xfrm>
                <a:off x="3888086" y="4182677"/>
                <a:ext cx="519385" cy="521505"/>
              </a:xfrm>
              <a:custGeom>
                <a:avLst/>
                <a:gdLst>
                  <a:gd name="T0" fmla="*/ 0 w 207"/>
                  <a:gd name="T1" fmla="*/ 190 h 208"/>
                  <a:gd name="T2" fmla="*/ 137 w 207"/>
                  <a:gd name="T3" fmla="*/ 59 h 208"/>
                  <a:gd name="T4" fmla="*/ 73 w 207"/>
                  <a:gd name="T5" fmla="*/ 130 h 208"/>
                  <a:gd name="T6" fmla="*/ 146 w 207"/>
                  <a:gd name="T7" fmla="*/ 69 h 208"/>
                  <a:gd name="T8" fmla="*/ 0 w 207"/>
                  <a:gd name="T9" fmla="*/ 190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7" h="208">
                    <a:moveTo>
                      <a:pt x="0" y="190"/>
                    </a:moveTo>
                    <a:cubicBezTo>
                      <a:pt x="0" y="190"/>
                      <a:pt x="2" y="0"/>
                      <a:pt x="137" y="59"/>
                    </a:cubicBezTo>
                    <a:cubicBezTo>
                      <a:pt x="137" y="59"/>
                      <a:pt x="79" y="76"/>
                      <a:pt x="73" y="130"/>
                    </a:cubicBezTo>
                    <a:cubicBezTo>
                      <a:pt x="73" y="130"/>
                      <a:pt x="134" y="120"/>
                      <a:pt x="146" y="69"/>
                    </a:cubicBezTo>
                    <a:cubicBezTo>
                      <a:pt x="146" y="69"/>
                      <a:pt x="207" y="208"/>
                      <a:pt x="0" y="190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/>
              <p:cNvSpPr/>
              <p:nvPr/>
            </p:nvSpPr>
            <p:spPr bwMode="auto">
              <a:xfrm>
                <a:off x="4391571" y="5173748"/>
                <a:ext cx="687920" cy="446247"/>
              </a:xfrm>
              <a:custGeom>
                <a:avLst/>
                <a:gdLst>
                  <a:gd name="T0" fmla="*/ 79 w 274"/>
                  <a:gd name="T1" fmla="*/ 178 h 178"/>
                  <a:gd name="T2" fmla="*/ 148 w 274"/>
                  <a:gd name="T3" fmla="*/ 0 h 178"/>
                  <a:gd name="T4" fmla="*/ 120 w 274"/>
                  <a:gd name="T5" fmla="*/ 92 h 178"/>
                  <a:gd name="T6" fmla="*/ 160 w 274"/>
                  <a:gd name="T7" fmla="*/ 6 h 178"/>
                  <a:gd name="T8" fmla="*/ 79 w 274"/>
                  <a:gd name="T9" fmla="*/ 17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74" h="178">
                    <a:moveTo>
                      <a:pt x="79" y="178"/>
                    </a:moveTo>
                    <a:cubicBezTo>
                      <a:pt x="79" y="178"/>
                      <a:pt x="0" y="6"/>
                      <a:pt x="148" y="0"/>
                    </a:cubicBezTo>
                    <a:cubicBezTo>
                      <a:pt x="148" y="0"/>
                      <a:pt x="102" y="41"/>
                      <a:pt x="120" y="92"/>
                    </a:cubicBezTo>
                    <a:cubicBezTo>
                      <a:pt x="120" y="92"/>
                      <a:pt x="171" y="57"/>
                      <a:pt x="160" y="6"/>
                    </a:cubicBezTo>
                    <a:cubicBezTo>
                      <a:pt x="160" y="6"/>
                      <a:pt x="274" y="105"/>
                      <a:pt x="79" y="178"/>
                    </a:cubicBezTo>
                    <a:close/>
                  </a:path>
                </a:pathLst>
              </a:cu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grpSp>
            <p:nvGrpSpPr>
              <p:cNvPr id="110" name="组合 109"/>
              <p:cNvGrpSpPr/>
              <p:nvPr/>
            </p:nvGrpSpPr>
            <p:grpSpPr>
              <a:xfrm>
                <a:off x="4081000" y="2202655"/>
                <a:ext cx="4009860" cy="3063311"/>
                <a:chOff x="4081000" y="2202655"/>
                <a:chExt cx="4009860" cy="3063311"/>
              </a:xfrm>
            </p:grpSpPr>
            <p:sp>
              <p:nvSpPr>
                <p:cNvPr id="119" name="任意多边形: 形状 118"/>
                <p:cNvSpPr/>
                <p:nvPr/>
              </p:nvSpPr>
              <p:spPr bwMode="auto">
                <a:xfrm>
                  <a:off x="7228046" y="4142398"/>
                  <a:ext cx="709119" cy="950792"/>
                </a:xfrm>
                <a:custGeom>
                  <a:avLst/>
                  <a:gdLst>
                    <a:gd name="T0" fmla="*/ 283 w 283"/>
                    <a:gd name="T1" fmla="*/ 315 h 379"/>
                    <a:gd name="T2" fmla="*/ 38 w 283"/>
                    <a:gd name="T3" fmla="*/ 156 h 379"/>
                    <a:gd name="T4" fmla="*/ 167 w 283"/>
                    <a:gd name="T5" fmla="*/ 227 h 379"/>
                    <a:gd name="T6" fmla="*/ 51 w 283"/>
                    <a:gd name="T7" fmla="*/ 140 h 379"/>
                    <a:gd name="T8" fmla="*/ 283 w 283"/>
                    <a:gd name="T9" fmla="*/ 315 h 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83" h="379">
                      <a:moveTo>
                        <a:pt x="283" y="315"/>
                      </a:moveTo>
                      <a:cubicBezTo>
                        <a:pt x="283" y="315"/>
                        <a:pt x="0" y="379"/>
                        <a:pt x="38" y="156"/>
                      </a:cubicBezTo>
                      <a:cubicBezTo>
                        <a:pt x="38" y="156"/>
                        <a:pt x="85" y="238"/>
                        <a:pt x="167" y="227"/>
                      </a:cubicBezTo>
                      <a:cubicBezTo>
                        <a:pt x="167" y="227"/>
                        <a:pt x="131" y="140"/>
                        <a:pt x="51" y="140"/>
                      </a:cubicBezTo>
                      <a:cubicBezTo>
                        <a:pt x="51" y="140"/>
                        <a:pt x="236" y="0"/>
                        <a:pt x="283" y="315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20" name="任意多边形: 形状 119"/>
                <p:cNvSpPr/>
                <p:nvPr/>
              </p:nvSpPr>
              <p:spPr bwMode="auto">
                <a:xfrm>
                  <a:off x="7328743" y="2877855"/>
                  <a:ext cx="762117" cy="945492"/>
                </a:xfrm>
                <a:custGeom>
                  <a:avLst/>
                  <a:gdLst>
                    <a:gd name="T0" fmla="*/ 304 w 304"/>
                    <a:gd name="T1" fmla="*/ 93 h 377"/>
                    <a:gd name="T2" fmla="*/ 56 w 304"/>
                    <a:gd name="T3" fmla="*/ 246 h 377"/>
                    <a:gd name="T4" fmla="*/ 175 w 304"/>
                    <a:gd name="T5" fmla="*/ 161 h 377"/>
                    <a:gd name="T6" fmla="*/ 47 w 304"/>
                    <a:gd name="T7" fmla="*/ 228 h 377"/>
                    <a:gd name="T8" fmla="*/ 304 w 304"/>
                    <a:gd name="T9" fmla="*/ 93 h 3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04" h="377">
                      <a:moveTo>
                        <a:pt x="304" y="93"/>
                      </a:moveTo>
                      <a:cubicBezTo>
                        <a:pt x="304" y="93"/>
                        <a:pt x="241" y="377"/>
                        <a:pt x="56" y="246"/>
                      </a:cubicBezTo>
                      <a:cubicBezTo>
                        <a:pt x="56" y="246"/>
                        <a:pt x="150" y="238"/>
                        <a:pt x="175" y="161"/>
                      </a:cubicBezTo>
                      <a:cubicBezTo>
                        <a:pt x="175" y="161"/>
                        <a:pt x="81" y="155"/>
                        <a:pt x="47" y="228"/>
                      </a:cubicBezTo>
                      <a:cubicBezTo>
                        <a:pt x="47" y="228"/>
                        <a:pt x="0" y="0"/>
                        <a:pt x="304" y="93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21" name="任意多边形: 形状 120"/>
                <p:cNvSpPr/>
                <p:nvPr/>
              </p:nvSpPr>
              <p:spPr bwMode="auto">
                <a:xfrm>
                  <a:off x="6071621" y="2202655"/>
                  <a:ext cx="1096007" cy="710179"/>
                </a:xfrm>
                <a:custGeom>
                  <a:avLst/>
                  <a:gdLst>
                    <a:gd name="T0" fmla="*/ 281 w 437"/>
                    <a:gd name="T1" fmla="*/ 0 h 283"/>
                    <a:gd name="T2" fmla="*/ 214 w 437"/>
                    <a:gd name="T3" fmla="*/ 283 h 283"/>
                    <a:gd name="T4" fmla="*/ 237 w 437"/>
                    <a:gd name="T5" fmla="*/ 138 h 283"/>
                    <a:gd name="T6" fmla="*/ 194 w 437"/>
                    <a:gd name="T7" fmla="*/ 277 h 283"/>
                    <a:gd name="T8" fmla="*/ 281 w 437"/>
                    <a:gd name="T9" fmla="*/ 0 h 2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7" h="283">
                      <a:moveTo>
                        <a:pt x="281" y="0"/>
                      </a:moveTo>
                      <a:cubicBezTo>
                        <a:pt x="281" y="0"/>
                        <a:pt x="437" y="244"/>
                        <a:pt x="214" y="283"/>
                      </a:cubicBezTo>
                      <a:cubicBezTo>
                        <a:pt x="214" y="283"/>
                        <a:pt x="274" y="211"/>
                        <a:pt x="237" y="138"/>
                      </a:cubicBezTo>
                      <a:cubicBezTo>
                        <a:pt x="237" y="138"/>
                        <a:pt x="167" y="201"/>
                        <a:pt x="194" y="277"/>
                      </a:cubicBezTo>
                      <a:cubicBezTo>
                        <a:pt x="194" y="277"/>
                        <a:pt x="0" y="149"/>
                        <a:pt x="281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22" name="任意多边形: 形状 121"/>
                <p:cNvSpPr/>
                <p:nvPr/>
              </p:nvSpPr>
              <p:spPr bwMode="auto">
                <a:xfrm>
                  <a:off x="4963954" y="2248234"/>
                  <a:ext cx="997430" cy="737738"/>
                </a:xfrm>
                <a:custGeom>
                  <a:avLst/>
                  <a:gdLst>
                    <a:gd name="T0" fmla="*/ 122 w 398"/>
                    <a:gd name="T1" fmla="*/ 0 h 294"/>
                    <a:gd name="T2" fmla="*/ 250 w 398"/>
                    <a:gd name="T3" fmla="*/ 262 h 294"/>
                    <a:gd name="T4" fmla="*/ 177 w 398"/>
                    <a:gd name="T5" fmla="*/ 135 h 294"/>
                    <a:gd name="T6" fmla="*/ 231 w 398"/>
                    <a:gd name="T7" fmla="*/ 270 h 294"/>
                    <a:gd name="T8" fmla="*/ 122 w 398"/>
                    <a:gd name="T9" fmla="*/ 0 h 2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98" h="294">
                      <a:moveTo>
                        <a:pt x="122" y="0"/>
                      </a:moveTo>
                      <a:cubicBezTo>
                        <a:pt x="122" y="0"/>
                        <a:pt x="398" y="91"/>
                        <a:pt x="250" y="262"/>
                      </a:cubicBezTo>
                      <a:cubicBezTo>
                        <a:pt x="250" y="262"/>
                        <a:pt x="252" y="168"/>
                        <a:pt x="177" y="135"/>
                      </a:cubicBezTo>
                      <a:cubicBezTo>
                        <a:pt x="177" y="135"/>
                        <a:pt x="162" y="228"/>
                        <a:pt x="231" y="270"/>
                      </a:cubicBezTo>
                      <a:cubicBezTo>
                        <a:pt x="231" y="270"/>
                        <a:pt x="0" y="294"/>
                        <a:pt x="122" y="0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23" name="任意多边形: 形状 122"/>
                <p:cNvSpPr/>
                <p:nvPr/>
              </p:nvSpPr>
              <p:spPr bwMode="auto">
                <a:xfrm>
                  <a:off x="4081000" y="2967953"/>
                  <a:ext cx="679440" cy="1026050"/>
                </a:xfrm>
                <a:custGeom>
                  <a:avLst/>
                  <a:gdLst>
                    <a:gd name="T0" fmla="*/ 0 w 271"/>
                    <a:gd name="T1" fmla="*/ 104 h 409"/>
                    <a:gd name="T2" fmla="*/ 265 w 271"/>
                    <a:gd name="T3" fmla="*/ 226 h 409"/>
                    <a:gd name="T4" fmla="*/ 127 w 271"/>
                    <a:gd name="T5" fmla="*/ 174 h 409"/>
                    <a:gd name="T6" fmla="*/ 255 w 271"/>
                    <a:gd name="T7" fmla="*/ 244 h 409"/>
                    <a:gd name="T8" fmla="*/ 0 w 271"/>
                    <a:gd name="T9" fmla="*/ 104 h 4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71" h="409">
                      <a:moveTo>
                        <a:pt x="0" y="104"/>
                      </a:moveTo>
                      <a:cubicBezTo>
                        <a:pt x="0" y="104"/>
                        <a:pt x="271" y="0"/>
                        <a:pt x="265" y="226"/>
                      </a:cubicBezTo>
                      <a:cubicBezTo>
                        <a:pt x="265" y="226"/>
                        <a:pt x="206" y="152"/>
                        <a:pt x="127" y="174"/>
                      </a:cubicBezTo>
                      <a:cubicBezTo>
                        <a:pt x="127" y="174"/>
                        <a:pt x="175" y="255"/>
                        <a:pt x="255" y="244"/>
                      </a:cubicBezTo>
                      <a:cubicBezTo>
                        <a:pt x="255" y="244"/>
                        <a:pt x="92" y="409"/>
                        <a:pt x="0" y="104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24" name="任意多边形: 形状 123"/>
                <p:cNvSpPr/>
                <p:nvPr/>
              </p:nvSpPr>
              <p:spPr bwMode="auto">
                <a:xfrm>
                  <a:off x="4156258" y="4397851"/>
                  <a:ext cx="782257" cy="868115"/>
                </a:xfrm>
                <a:custGeom>
                  <a:avLst/>
                  <a:gdLst>
                    <a:gd name="T0" fmla="*/ 0 w 312"/>
                    <a:gd name="T1" fmla="*/ 288 h 346"/>
                    <a:gd name="T2" fmla="*/ 229 w 312"/>
                    <a:gd name="T3" fmla="*/ 108 h 346"/>
                    <a:gd name="T4" fmla="*/ 120 w 312"/>
                    <a:gd name="T5" fmla="*/ 207 h 346"/>
                    <a:gd name="T6" fmla="*/ 240 w 312"/>
                    <a:gd name="T7" fmla="*/ 126 h 346"/>
                    <a:gd name="T8" fmla="*/ 0 w 312"/>
                    <a:gd name="T9" fmla="*/ 288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12" h="346">
                      <a:moveTo>
                        <a:pt x="0" y="288"/>
                      </a:moveTo>
                      <a:cubicBezTo>
                        <a:pt x="0" y="288"/>
                        <a:pt x="31" y="0"/>
                        <a:pt x="229" y="108"/>
                      </a:cubicBezTo>
                      <a:cubicBezTo>
                        <a:pt x="229" y="108"/>
                        <a:pt x="137" y="127"/>
                        <a:pt x="120" y="207"/>
                      </a:cubicBezTo>
                      <a:cubicBezTo>
                        <a:pt x="120" y="207"/>
                        <a:pt x="214" y="202"/>
                        <a:pt x="240" y="126"/>
                      </a:cubicBezTo>
                      <a:cubicBezTo>
                        <a:pt x="240" y="126"/>
                        <a:pt x="312" y="346"/>
                        <a:pt x="0" y="288"/>
                      </a:cubicBez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11" name="组合 110"/>
              <p:cNvGrpSpPr/>
              <p:nvPr/>
            </p:nvGrpSpPr>
            <p:grpSpPr>
              <a:xfrm>
                <a:off x="4143538" y="2586364"/>
                <a:ext cx="3771368" cy="2702921"/>
                <a:chOff x="4143538" y="2586364"/>
                <a:chExt cx="3771368" cy="2702921"/>
              </a:xfrm>
            </p:grpSpPr>
            <p:sp>
              <p:nvSpPr>
                <p:cNvPr id="112" name="任意多边形: 形状 111"/>
                <p:cNvSpPr/>
                <p:nvPr/>
              </p:nvSpPr>
              <p:spPr bwMode="auto">
                <a:xfrm>
                  <a:off x="6332373" y="4222956"/>
                  <a:ext cx="963511" cy="1066329"/>
                </a:xfrm>
                <a:custGeom>
                  <a:avLst/>
                  <a:gdLst>
                    <a:gd name="T0" fmla="*/ 371 w 384"/>
                    <a:gd name="T1" fmla="*/ 408 h 425"/>
                    <a:gd name="T2" fmla="*/ 98 w 384"/>
                    <a:gd name="T3" fmla="*/ 153 h 425"/>
                    <a:gd name="T4" fmla="*/ 245 w 384"/>
                    <a:gd name="T5" fmla="*/ 271 h 425"/>
                    <a:gd name="T6" fmla="*/ 118 w 384"/>
                    <a:gd name="T7" fmla="*/ 135 h 425"/>
                    <a:gd name="T8" fmla="*/ 371 w 384"/>
                    <a:gd name="T9" fmla="*/ 408 h 42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84" h="425">
                      <a:moveTo>
                        <a:pt x="371" y="408"/>
                      </a:moveTo>
                      <a:cubicBezTo>
                        <a:pt x="371" y="408"/>
                        <a:pt x="0" y="425"/>
                        <a:pt x="98" y="153"/>
                      </a:cubicBezTo>
                      <a:cubicBezTo>
                        <a:pt x="98" y="153"/>
                        <a:pt x="140" y="266"/>
                        <a:pt x="245" y="271"/>
                      </a:cubicBezTo>
                      <a:cubicBezTo>
                        <a:pt x="245" y="271"/>
                        <a:pt x="220" y="153"/>
                        <a:pt x="118" y="135"/>
                      </a:cubicBezTo>
                      <a:cubicBezTo>
                        <a:pt x="118" y="135"/>
                        <a:pt x="384" y="0"/>
                        <a:pt x="371" y="40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3" name="任意多边形: 形状 112"/>
                <p:cNvSpPr/>
                <p:nvPr/>
              </p:nvSpPr>
              <p:spPr bwMode="auto">
                <a:xfrm>
                  <a:off x="6982134" y="3296543"/>
                  <a:ext cx="932772" cy="1425658"/>
                </a:xfrm>
                <a:custGeom>
                  <a:avLst/>
                  <a:gdLst>
                    <a:gd name="T0" fmla="*/ 372 w 372"/>
                    <a:gd name="T1" fmla="*/ 271 h 568"/>
                    <a:gd name="T2" fmla="*/ 1 w 372"/>
                    <a:gd name="T3" fmla="*/ 317 h 568"/>
                    <a:gd name="T4" fmla="*/ 186 w 372"/>
                    <a:gd name="T5" fmla="*/ 281 h 568"/>
                    <a:gd name="T6" fmla="*/ 0 w 372"/>
                    <a:gd name="T7" fmla="*/ 290 h 568"/>
                    <a:gd name="T8" fmla="*/ 372 w 372"/>
                    <a:gd name="T9" fmla="*/ 271 h 56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2" h="568">
                      <a:moveTo>
                        <a:pt x="372" y="271"/>
                      </a:moveTo>
                      <a:cubicBezTo>
                        <a:pt x="372" y="271"/>
                        <a:pt x="148" y="568"/>
                        <a:pt x="1" y="317"/>
                      </a:cubicBezTo>
                      <a:cubicBezTo>
                        <a:pt x="1" y="317"/>
                        <a:pt x="115" y="358"/>
                        <a:pt x="186" y="281"/>
                      </a:cubicBezTo>
                      <a:cubicBezTo>
                        <a:pt x="186" y="281"/>
                        <a:pt x="79" y="224"/>
                        <a:pt x="0" y="290"/>
                      </a:cubicBezTo>
                      <a:cubicBezTo>
                        <a:pt x="0" y="290"/>
                        <a:pt x="67" y="0"/>
                        <a:pt x="372" y="27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4" name="任意多边形: 形状 113"/>
                <p:cNvSpPr/>
                <p:nvPr/>
              </p:nvSpPr>
              <p:spPr bwMode="auto">
                <a:xfrm>
                  <a:off x="6277255" y="2850296"/>
                  <a:ext cx="1013330" cy="1068449"/>
                </a:xfrm>
                <a:custGeom>
                  <a:avLst/>
                  <a:gdLst>
                    <a:gd name="T0" fmla="*/ 404 w 404"/>
                    <a:gd name="T1" fmla="*/ 55 h 426"/>
                    <a:gd name="T2" fmla="*/ 122 w 404"/>
                    <a:gd name="T3" fmla="*/ 300 h 426"/>
                    <a:gd name="T4" fmla="*/ 255 w 404"/>
                    <a:gd name="T5" fmla="*/ 166 h 426"/>
                    <a:gd name="T6" fmla="*/ 106 w 404"/>
                    <a:gd name="T7" fmla="*/ 278 h 426"/>
                    <a:gd name="T8" fmla="*/ 404 w 404"/>
                    <a:gd name="T9" fmla="*/ 55 h 4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4" h="426">
                      <a:moveTo>
                        <a:pt x="404" y="55"/>
                      </a:moveTo>
                      <a:cubicBezTo>
                        <a:pt x="404" y="55"/>
                        <a:pt x="383" y="426"/>
                        <a:pt x="122" y="300"/>
                      </a:cubicBezTo>
                      <a:cubicBezTo>
                        <a:pt x="122" y="300"/>
                        <a:pt x="239" y="270"/>
                        <a:pt x="255" y="166"/>
                      </a:cubicBezTo>
                      <a:cubicBezTo>
                        <a:pt x="255" y="166"/>
                        <a:pt x="135" y="179"/>
                        <a:pt x="106" y="278"/>
                      </a:cubicBezTo>
                      <a:cubicBezTo>
                        <a:pt x="106" y="278"/>
                        <a:pt x="0" y="0"/>
                        <a:pt x="404" y="5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5" name="任意多边形: 形状 114"/>
                <p:cNvSpPr/>
                <p:nvPr/>
              </p:nvSpPr>
              <p:spPr bwMode="auto">
                <a:xfrm>
                  <a:off x="4712741" y="2927674"/>
                  <a:ext cx="1068448" cy="1016510"/>
                </a:xfrm>
                <a:custGeom>
                  <a:avLst/>
                  <a:gdLst>
                    <a:gd name="T0" fmla="*/ 55 w 426"/>
                    <a:gd name="T1" fmla="*/ 0 h 405"/>
                    <a:gd name="T2" fmla="*/ 299 w 426"/>
                    <a:gd name="T3" fmla="*/ 283 h 405"/>
                    <a:gd name="T4" fmla="*/ 166 w 426"/>
                    <a:gd name="T5" fmla="*/ 150 h 405"/>
                    <a:gd name="T6" fmla="*/ 278 w 426"/>
                    <a:gd name="T7" fmla="*/ 299 h 405"/>
                    <a:gd name="T8" fmla="*/ 55 w 426"/>
                    <a:gd name="T9" fmla="*/ 0 h 4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6" h="405">
                      <a:moveTo>
                        <a:pt x="55" y="0"/>
                      </a:moveTo>
                      <a:cubicBezTo>
                        <a:pt x="55" y="0"/>
                        <a:pt x="426" y="22"/>
                        <a:pt x="299" y="283"/>
                      </a:cubicBezTo>
                      <a:cubicBezTo>
                        <a:pt x="299" y="283"/>
                        <a:pt x="270" y="166"/>
                        <a:pt x="166" y="150"/>
                      </a:cubicBezTo>
                      <a:cubicBezTo>
                        <a:pt x="166" y="150"/>
                        <a:pt x="179" y="270"/>
                        <a:pt x="278" y="299"/>
                      </a:cubicBezTo>
                      <a:cubicBezTo>
                        <a:pt x="278" y="299"/>
                        <a:pt x="0" y="405"/>
                        <a:pt x="55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6" name="任意多边形: 形状 115"/>
                <p:cNvSpPr/>
                <p:nvPr/>
              </p:nvSpPr>
              <p:spPr bwMode="auto">
                <a:xfrm>
                  <a:off x="5331763" y="2586364"/>
                  <a:ext cx="1437317" cy="939133"/>
                </a:xfrm>
                <a:custGeom>
                  <a:avLst/>
                  <a:gdLst>
                    <a:gd name="T0" fmla="*/ 298 w 573"/>
                    <a:gd name="T1" fmla="*/ 0 h 374"/>
                    <a:gd name="T2" fmla="*/ 310 w 573"/>
                    <a:gd name="T3" fmla="*/ 374 h 374"/>
                    <a:gd name="T4" fmla="*/ 290 w 573"/>
                    <a:gd name="T5" fmla="*/ 187 h 374"/>
                    <a:gd name="T6" fmla="*/ 283 w 573"/>
                    <a:gd name="T7" fmla="*/ 373 h 374"/>
                    <a:gd name="T8" fmla="*/ 298 w 573"/>
                    <a:gd name="T9" fmla="*/ 0 h 3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73" h="374">
                      <a:moveTo>
                        <a:pt x="298" y="0"/>
                      </a:moveTo>
                      <a:cubicBezTo>
                        <a:pt x="298" y="0"/>
                        <a:pt x="573" y="251"/>
                        <a:pt x="310" y="374"/>
                      </a:cubicBezTo>
                      <a:cubicBezTo>
                        <a:pt x="310" y="374"/>
                        <a:pt x="361" y="265"/>
                        <a:pt x="290" y="187"/>
                      </a:cubicBezTo>
                      <a:cubicBezTo>
                        <a:pt x="290" y="187"/>
                        <a:pt x="224" y="288"/>
                        <a:pt x="283" y="373"/>
                      </a:cubicBezTo>
                      <a:cubicBezTo>
                        <a:pt x="283" y="373"/>
                        <a:pt x="0" y="279"/>
                        <a:pt x="298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7" name="任意多边形: 形状 116"/>
                <p:cNvSpPr/>
                <p:nvPr/>
              </p:nvSpPr>
              <p:spPr bwMode="auto">
                <a:xfrm>
                  <a:off x="4143538" y="3391940"/>
                  <a:ext cx="935952" cy="1433078"/>
                </a:xfrm>
                <a:custGeom>
                  <a:avLst/>
                  <a:gdLst>
                    <a:gd name="T0" fmla="*/ 0 w 373"/>
                    <a:gd name="T1" fmla="*/ 282 h 571"/>
                    <a:gd name="T2" fmla="*/ 373 w 373"/>
                    <a:gd name="T3" fmla="*/ 259 h 571"/>
                    <a:gd name="T4" fmla="*/ 186 w 373"/>
                    <a:gd name="T5" fmla="*/ 284 h 571"/>
                    <a:gd name="T6" fmla="*/ 373 w 373"/>
                    <a:gd name="T7" fmla="*/ 286 h 571"/>
                    <a:gd name="T8" fmla="*/ 0 w 373"/>
                    <a:gd name="T9" fmla="*/ 282 h 5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73" h="571">
                      <a:moveTo>
                        <a:pt x="0" y="282"/>
                      </a:moveTo>
                      <a:cubicBezTo>
                        <a:pt x="0" y="282"/>
                        <a:pt x="243" y="0"/>
                        <a:pt x="373" y="259"/>
                      </a:cubicBezTo>
                      <a:cubicBezTo>
                        <a:pt x="373" y="259"/>
                        <a:pt x="262" y="212"/>
                        <a:pt x="186" y="284"/>
                      </a:cubicBezTo>
                      <a:cubicBezTo>
                        <a:pt x="186" y="284"/>
                        <a:pt x="289" y="347"/>
                        <a:pt x="373" y="286"/>
                      </a:cubicBezTo>
                      <a:cubicBezTo>
                        <a:pt x="373" y="286"/>
                        <a:pt x="288" y="571"/>
                        <a:pt x="0" y="28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  <p:sp>
              <p:nvSpPr>
                <p:cNvPr id="118" name="任意多边形: 形状 117"/>
                <p:cNvSpPr/>
                <p:nvPr/>
              </p:nvSpPr>
              <p:spPr bwMode="auto">
                <a:xfrm>
                  <a:off x="4890816" y="4307754"/>
                  <a:ext cx="1066328" cy="963512"/>
                </a:xfrm>
                <a:custGeom>
                  <a:avLst/>
                  <a:gdLst>
                    <a:gd name="T0" fmla="*/ 17 w 425"/>
                    <a:gd name="T1" fmla="*/ 371 h 384"/>
                    <a:gd name="T2" fmla="*/ 273 w 425"/>
                    <a:gd name="T3" fmla="*/ 99 h 384"/>
                    <a:gd name="T4" fmla="*/ 154 w 425"/>
                    <a:gd name="T5" fmla="*/ 245 h 384"/>
                    <a:gd name="T6" fmla="*/ 291 w 425"/>
                    <a:gd name="T7" fmla="*/ 119 h 384"/>
                    <a:gd name="T8" fmla="*/ 17 w 425"/>
                    <a:gd name="T9" fmla="*/ 371 h 3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25" h="384">
                      <a:moveTo>
                        <a:pt x="17" y="371"/>
                      </a:moveTo>
                      <a:cubicBezTo>
                        <a:pt x="17" y="371"/>
                        <a:pt x="0" y="0"/>
                        <a:pt x="273" y="99"/>
                      </a:cubicBezTo>
                      <a:cubicBezTo>
                        <a:pt x="273" y="99"/>
                        <a:pt x="159" y="140"/>
                        <a:pt x="154" y="245"/>
                      </a:cubicBezTo>
                      <a:cubicBezTo>
                        <a:pt x="154" y="245"/>
                        <a:pt x="272" y="220"/>
                        <a:pt x="291" y="119"/>
                      </a:cubicBezTo>
                      <a:cubicBezTo>
                        <a:pt x="291" y="119"/>
                        <a:pt x="425" y="384"/>
                        <a:pt x="17" y="37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id-ID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59" name="组合 58"/>
            <p:cNvGrpSpPr/>
            <p:nvPr/>
          </p:nvGrpSpPr>
          <p:grpSpPr>
            <a:xfrm>
              <a:off x="5023312" y="3687672"/>
              <a:ext cx="2232294" cy="2459128"/>
              <a:chOff x="5023312" y="3687672"/>
              <a:chExt cx="2232294" cy="2459128"/>
            </a:xfrm>
          </p:grpSpPr>
          <p:sp>
            <p:nvSpPr>
              <p:cNvPr id="96" name="任意多边形: 形状 95"/>
              <p:cNvSpPr/>
              <p:nvPr/>
            </p:nvSpPr>
            <p:spPr bwMode="auto">
              <a:xfrm>
                <a:off x="5023312" y="3924045"/>
                <a:ext cx="2232294" cy="2222755"/>
              </a:xfrm>
              <a:custGeom>
                <a:avLst/>
                <a:gdLst>
                  <a:gd name="T0" fmla="*/ 664 w 890"/>
                  <a:gd name="T1" fmla="*/ 836 h 886"/>
                  <a:gd name="T2" fmla="*/ 512 w 890"/>
                  <a:gd name="T3" fmla="*/ 691 h 886"/>
                  <a:gd name="T4" fmla="*/ 544 w 890"/>
                  <a:gd name="T5" fmla="*/ 529 h 886"/>
                  <a:gd name="T6" fmla="*/ 485 w 890"/>
                  <a:gd name="T7" fmla="*/ 354 h 886"/>
                  <a:gd name="T8" fmla="*/ 762 w 890"/>
                  <a:gd name="T9" fmla="*/ 4 h 886"/>
                  <a:gd name="T10" fmla="*/ 430 w 890"/>
                  <a:gd name="T11" fmla="*/ 299 h 886"/>
                  <a:gd name="T12" fmla="*/ 46 w 890"/>
                  <a:gd name="T13" fmla="*/ 4 h 886"/>
                  <a:gd name="T14" fmla="*/ 363 w 890"/>
                  <a:gd name="T15" fmla="*/ 359 h 886"/>
                  <a:gd name="T16" fmla="*/ 317 w 890"/>
                  <a:gd name="T17" fmla="*/ 529 h 886"/>
                  <a:gd name="T18" fmla="*/ 351 w 890"/>
                  <a:gd name="T19" fmla="*/ 713 h 886"/>
                  <a:gd name="T20" fmla="*/ 177 w 890"/>
                  <a:gd name="T21" fmla="*/ 828 h 886"/>
                  <a:gd name="T22" fmla="*/ 0 w 890"/>
                  <a:gd name="T23" fmla="*/ 886 h 886"/>
                  <a:gd name="T24" fmla="*/ 890 w 890"/>
                  <a:gd name="T25" fmla="*/ 875 h 886"/>
                  <a:gd name="T26" fmla="*/ 664 w 890"/>
                  <a:gd name="T27" fmla="*/ 836 h 8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890" h="886">
                    <a:moveTo>
                      <a:pt x="664" y="836"/>
                    </a:moveTo>
                    <a:cubicBezTo>
                      <a:pt x="564" y="836"/>
                      <a:pt x="514" y="775"/>
                      <a:pt x="512" y="691"/>
                    </a:cubicBezTo>
                    <a:cubicBezTo>
                      <a:pt x="510" y="645"/>
                      <a:pt x="544" y="596"/>
                      <a:pt x="544" y="529"/>
                    </a:cubicBezTo>
                    <a:cubicBezTo>
                      <a:pt x="544" y="455"/>
                      <a:pt x="481" y="416"/>
                      <a:pt x="485" y="354"/>
                    </a:cubicBezTo>
                    <a:cubicBezTo>
                      <a:pt x="485" y="354"/>
                      <a:pt x="554" y="71"/>
                      <a:pt x="762" y="4"/>
                    </a:cubicBezTo>
                    <a:cubicBezTo>
                      <a:pt x="762" y="4"/>
                      <a:pt x="514" y="29"/>
                      <a:pt x="430" y="299"/>
                    </a:cubicBezTo>
                    <a:cubicBezTo>
                      <a:pt x="430" y="299"/>
                      <a:pt x="279" y="0"/>
                      <a:pt x="46" y="4"/>
                    </a:cubicBezTo>
                    <a:cubicBezTo>
                      <a:pt x="46" y="4"/>
                      <a:pt x="301" y="63"/>
                      <a:pt x="363" y="359"/>
                    </a:cubicBezTo>
                    <a:cubicBezTo>
                      <a:pt x="376" y="422"/>
                      <a:pt x="317" y="456"/>
                      <a:pt x="317" y="529"/>
                    </a:cubicBezTo>
                    <a:cubicBezTo>
                      <a:pt x="317" y="620"/>
                      <a:pt x="351" y="633"/>
                      <a:pt x="351" y="713"/>
                    </a:cubicBezTo>
                    <a:cubicBezTo>
                      <a:pt x="351" y="792"/>
                      <a:pt x="341" y="827"/>
                      <a:pt x="177" y="828"/>
                    </a:cubicBezTo>
                    <a:cubicBezTo>
                      <a:pt x="177" y="828"/>
                      <a:pt x="49" y="859"/>
                      <a:pt x="0" y="886"/>
                    </a:cubicBezTo>
                    <a:cubicBezTo>
                      <a:pt x="0" y="886"/>
                      <a:pt x="540" y="840"/>
                      <a:pt x="890" y="875"/>
                    </a:cubicBezTo>
                    <a:cubicBezTo>
                      <a:pt x="890" y="875"/>
                      <a:pt x="754" y="836"/>
                      <a:pt x="664" y="836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  <p:sp>
            <p:nvSpPr>
              <p:cNvPr id="97" name="椭圆 96"/>
              <p:cNvSpPr/>
              <p:nvPr/>
            </p:nvSpPr>
            <p:spPr bwMode="auto">
              <a:xfrm>
                <a:off x="5818288" y="3687672"/>
                <a:ext cx="493945" cy="49182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id-ID">
                  <a:cs typeface="+mn-ea"/>
                  <a:sym typeface="+mn-lt"/>
                </a:endParaRPr>
              </a:p>
            </p:txBody>
          </p:sp>
        </p:grpSp>
      </p:grpSp>
      <p:sp>
        <p:nvSpPr>
          <p:cNvPr id="43" name="文本框 42">
            <a:extLst>
              <a:ext uri="{FF2B5EF4-FFF2-40B4-BE49-F238E27FC236}">
                <a16:creationId xmlns:a16="http://schemas.microsoft.com/office/drawing/2014/main" id="{319D5EFE-ED84-4120-82C2-B69CCD883F90}"/>
              </a:ext>
            </a:extLst>
          </p:cNvPr>
          <p:cNvSpPr txBox="1"/>
          <p:nvPr/>
        </p:nvSpPr>
        <p:spPr>
          <a:xfrm>
            <a:off x="4662812" y="2269729"/>
            <a:ext cx="2866377" cy="667535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</a:t>
            </a:r>
            <a:r>
              <a:rPr lang="en-US" altLang="zh-CN" sz="1100">
                <a:cs typeface="+mn-ea"/>
                <a:sym typeface="+mn-lt"/>
              </a:rPr>
              <a:t>text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44" name="矩形: 圆角 43">
            <a:extLst>
              <a:ext uri="{FF2B5EF4-FFF2-40B4-BE49-F238E27FC236}">
                <a16:creationId xmlns:a16="http://schemas.microsoft.com/office/drawing/2014/main" id="{5776F453-6247-4A0E-AD30-10ED7E1A5738}"/>
              </a:ext>
            </a:extLst>
          </p:cNvPr>
          <p:cNvSpPr/>
          <p:nvPr/>
        </p:nvSpPr>
        <p:spPr>
          <a:xfrm>
            <a:off x="5074985" y="1723925"/>
            <a:ext cx="2042031" cy="5267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zh-CN" b="1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620D1770-2821-465C-B89E-504032138290}"/>
              </a:ext>
            </a:extLst>
          </p:cNvPr>
          <p:cNvSpPr/>
          <p:nvPr/>
        </p:nvSpPr>
        <p:spPr bwMode="auto">
          <a:xfrm>
            <a:off x="5884904" y="1257383"/>
            <a:ext cx="422192" cy="351433"/>
          </a:xfrm>
          <a:custGeom>
            <a:avLst/>
            <a:gdLst>
              <a:gd name="T0" fmla="*/ 64 w 358"/>
              <a:gd name="T1" fmla="*/ 91 h 298"/>
              <a:gd name="T2" fmla="*/ 83 w 358"/>
              <a:gd name="T3" fmla="*/ 194 h 298"/>
              <a:gd name="T4" fmla="*/ 275 w 358"/>
              <a:gd name="T5" fmla="*/ 194 h 298"/>
              <a:gd name="T6" fmla="*/ 294 w 358"/>
              <a:gd name="T7" fmla="*/ 91 h 298"/>
              <a:gd name="T8" fmla="*/ 358 w 358"/>
              <a:gd name="T9" fmla="*/ 91 h 298"/>
              <a:gd name="T10" fmla="*/ 345 w 358"/>
              <a:gd name="T11" fmla="*/ 259 h 298"/>
              <a:gd name="T12" fmla="*/ 306 w 358"/>
              <a:gd name="T13" fmla="*/ 259 h 298"/>
              <a:gd name="T14" fmla="*/ 306 w 358"/>
              <a:gd name="T15" fmla="*/ 298 h 298"/>
              <a:gd name="T16" fmla="*/ 294 w 358"/>
              <a:gd name="T17" fmla="*/ 298 h 298"/>
              <a:gd name="T18" fmla="*/ 294 w 358"/>
              <a:gd name="T19" fmla="*/ 259 h 298"/>
              <a:gd name="T20" fmla="*/ 64 w 358"/>
              <a:gd name="T21" fmla="*/ 259 h 298"/>
              <a:gd name="T22" fmla="*/ 64 w 358"/>
              <a:gd name="T23" fmla="*/ 298 h 298"/>
              <a:gd name="T24" fmla="*/ 51 w 358"/>
              <a:gd name="T25" fmla="*/ 298 h 298"/>
              <a:gd name="T26" fmla="*/ 51 w 358"/>
              <a:gd name="T27" fmla="*/ 259 h 298"/>
              <a:gd name="T28" fmla="*/ 13 w 358"/>
              <a:gd name="T29" fmla="*/ 259 h 298"/>
              <a:gd name="T30" fmla="*/ 0 w 358"/>
              <a:gd name="T31" fmla="*/ 91 h 298"/>
              <a:gd name="T32" fmla="*/ 64 w 358"/>
              <a:gd name="T33" fmla="*/ 91 h 298"/>
              <a:gd name="T34" fmla="*/ 326 w 358"/>
              <a:gd name="T35" fmla="*/ 0 h 298"/>
              <a:gd name="T36" fmla="*/ 326 w 358"/>
              <a:gd name="T37" fmla="*/ 78 h 298"/>
              <a:gd name="T38" fmla="*/ 284 w 358"/>
              <a:gd name="T39" fmla="*/ 78 h 298"/>
              <a:gd name="T40" fmla="*/ 265 w 358"/>
              <a:gd name="T41" fmla="*/ 181 h 298"/>
              <a:gd name="T42" fmla="*/ 93 w 358"/>
              <a:gd name="T43" fmla="*/ 181 h 298"/>
              <a:gd name="T44" fmla="*/ 73 w 358"/>
              <a:gd name="T45" fmla="*/ 78 h 298"/>
              <a:gd name="T46" fmla="*/ 38 w 358"/>
              <a:gd name="T47" fmla="*/ 78 h 298"/>
              <a:gd name="T48" fmla="*/ 38 w 358"/>
              <a:gd name="T49" fmla="*/ 0 h 298"/>
              <a:gd name="T50" fmla="*/ 326 w 358"/>
              <a:gd name="T51" fmla="*/ 0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358" h="298">
                <a:moveTo>
                  <a:pt x="64" y="91"/>
                </a:moveTo>
                <a:lnTo>
                  <a:pt x="83" y="194"/>
                </a:lnTo>
                <a:lnTo>
                  <a:pt x="275" y="194"/>
                </a:lnTo>
                <a:lnTo>
                  <a:pt x="294" y="91"/>
                </a:lnTo>
                <a:lnTo>
                  <a:pt x="358" y="91"/>
                </a:lnTo>
                <a:lnTo>
                  <a:pt x="345" y="259"/>
                </a:lnTo>
                <a:lnTo>
                  <a:pt x="306" y="259"/>
                </a:lnTo>
                <a:lnTo>
                  <a:pt x="306" y="298"/>
                </a:lnTo>
                <a:lnTo>
                  <a:pt x="294" y="298"/>
                </a:lnTo>
                <a:lnTo>
                  <a:pt x="294" y="259"/>
                </a:lnTo>
                <a:lnTo>
                  <a:pt x="64" y="259"/>
                </a:lnTo>
                <a:lnTo>
                  <a:pt x="64" y="298"/>
                </a:lnTo>
                <a:lnTo>
                  <a:pt x="51" y="298"/>
                </a:lnTo>
                <a:lnTo>
                  <a:pt x="51" y="259"/>
                </a:lnTo>
                <a:lnTo>
                  <a:pt x="13" y="259"/>
                </a:lnTo>
                <a:lnTo>
                  <a:pt x="0" y="91"/>
                </a:lnTo>
                <a:lnTo>
                  <a:pt x="64" y="91"/>
                </a:lnTo>
                <a:close/>
                <a:moveTo>
                  <a:pt x="326" y="0"/>
                </a:moveTo>
                <a:lnTo>
                  <a:pt x="326" y="78"/>
                </a:lnTo>
                <a:lnTo>
                  <a:pt x="284" y="78"/>
                </a:lnTo>
                <a:lnTo>
                  <a:pt x="265" y="181"/>
                </a:lnTo>
                <a:lnTo>
                  <a:pt x="93" y="181"/>
                </a:lnTo>
                <a:lnTo>
                  <a:pt x="73" y="78"/>
                </a:lnTo>
                <a:lnTo>
                  <a:pt x="38" y="78"/>
                </a:lnTo>
                <a:lnTo>
                  <a:pt x="38" y="0"/>
                </a:lnTo>
                <a:lnTo>
                  <a:pt x="32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6" name="文本框 45">
            <a:extLst>
              <a:ext uri="{FF2B5EF4-FFF2-40B4-BE49-F238E27FC236}">
                <a16:creationId xmlns:a16="http://schemas.microsoft.com/office/drawing/2014/main" id="{319D5EFE-ED84-4120-82C2-B69CCD883F90}"/>
              </a:ext>
            </a:extLst>
          </p:cNvPr>
          <p:cNvSpPr txBox="1"/>
          <p:nvPr/>
        </p:nvSpPr>
        <p:spPr>
          <a:xfrm>
            <a:off x="673100" y="2269729"/>
            <a:ext cx="2866377" cy="667535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47" name="矩形: 圆角 46">
            <a:extLst>
              <a:ext uri="{FF2B5EF4-FFF2-40B4-BE49-F238E27FC236}">
                <a16:creationId xmlns:a16="http://schemas.microsoft.com/office/drawing/2014/main" id="{5776F453-6247-4A0E-AD30-10ED7E1A5738}"/>
              </a:ext>
            </a:extLst>
          </p:cNvPr>
          <p:cNvSpPr/>
          <p:nvPr/>
        </p:nvSpPr>
        <p:spPr>
          <a:xfrm>
            <a:off x="1085273" y="1723925"/>
            <a:ext cx="2042031" cy="5267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zh-CN" b="1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319D5EFE-ED84-4120-82C2-B69CCD883F90}"/>
              </a:ext>
            </a:extLst>
          </p:cNvPr>
          <p:cNvSpPr txBox="1"/>
          <p:nvPr/>
        </p:nvSpPr>
        <p:spPr>
          <a:xfrm>
            <a:off x="8652523" y="2269729"/>
            <a:ext cx="2866377" cy="667535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1" name="任意多边形: 形状 60">
            <a:extLst>
              <a:ext uri="{FF2B5EF4-FFF2-40B4-BE49-F238E27FC236}">
                <a16:creationId xmlns:a16="http://schemas.microsoft.com/office/drawing/2014/main" id="{620D1770-2821-465C-B89E-504032138290}"/>
              </a:ext>
            </a:extLst>
          </p:cNvPr>
          <p:cNvSpPr/>
          <p:nvPr/>
        </p:nvSpPr>
        <p:spPr bwMode="auto">
          <a:xfrm>
            <a:off x="1895192" y="1223183"/>
            <a:ext cx="422192" cy="419833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0" name="矩形: 圆角 49">
            <a:extLst>
              <a:ext uri="{FF2B5EF4-FFF2-40B4-BE49-F238E27FC236}">
                <a16:creationId xmlns:a16="http://schemas.microsoft.com/office/drawing/2014/main" id="{5776F453-6247-4A0E-AD30-10ED7E1A5738}"/>
              </a:ext>
            </a:extLst>
          </p:cNvPr>
          <p:cNvSpPr/>
          <p:nvPr/>
        </p:nvSpPr>
        <p:spPr>
          <a:xfrm>
            <a:off x="9064696" y="1723925"/>
            <a:ext cx="2042031" cy="5267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zh-CN" b="1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620D1770-2821-465C-B89E-504032138290}"/>
              </a:ext>
            </a:extLst>
          </p:cNvPr>
          <p:cNvSpPr/>
          <p:nvPr/>
        </p:nvSpPr>
        <p:spPr bwMode="auto">
          <a:xfrm>
            <a:off x="9914851" y="1222004"/>
            <a:ext cx="341719" cy="422192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2" name="文本框 51">
            <a:extLst>
              <a:ext uri="{FF2B5EF4-FFF2-40B4-BE49-F238E27FC236}">
                <a16:creationId xmlns:a16="http://schemas.microsoft.com/office/drawing/2014/main" id="{319D5EFE-ED84-4120-82C2-B69CCD883F90}"/>
              </a:ext>
            </a:extLst>
          </p:cNvPr>
          <p:cNvSpPr txBox="1"/>
          <p:nvPr/>
        </p:nvSpPr>
        <p:spPr>
          <a:xfrm>
            <a:off x="673100" y="5021681"/>
            <a:ext cx="2866377" cy="667535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3" name="矩形: 圆角 52">
            <a:extLst>
              <a:ext uri="{FF2B5EF4-FFF2-40B4-BE49-F238E27FC236}">
                <a16:creationId xmlns:a16="http://schemas.microsoft.com/office/drawing/2014/main" id="{5776F453-6247-4A0E-AD30-10ED7E1A5738}"/>
              </a:ext>
            </a:extLst>
          </p:cNvPr>
          <p:cNvSpPr/>
          <p:nvPr/>
        </p:nvSpPr>
        <p:spPr>
          <a:xfrm>
            <a:off x="1085273" y="4475877"/>
            <a:ext cx="2042031" cy="5267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zh-CN" b="1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620D1770-2821-465C-B89E-504032138290}"/>
              </a:ext>
            </a:extLst>
          </p:cNvPr>
          <p:cNvSpPr/>
          <p:nvPr/>
        </p:nvSpPr>
        <p:spPr bwMode="auto">
          <a:xfrm>
            <a:off x="1916359" y="3973956"/>
            <a:ext cx="379858" cy="422192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5" name="文本框 54">
            <a:extLst>
              <a:ext uri="{FF2B5EF4-FFF2-40B4-BE49-F238E27FC236}">
                <a16:creationId xmlns:a16="http://schemas.microsoft.com/office/drawing/2014/main" id="{319D5EFE-ED84-4120-82C2-B69CCD883F90}"/>
              </a:ext>
            </a:extLst>
          </p:cNvPr>
          <p:cNvSpPr txBox="1"/>
          <p:nvPr/>
        </p:nvSpPr>
        <p:spPr>
          <a:xfrm>
            <a:off x="8652523" y="5021681"/>
            <a:ext cx="2866377" cy="667535"/>
          </a:xfrm>
          <a:prstGeom prst="rect">
            <a:avLst/>
          </a:prstGeom>
          <a:noFill/>
          <a:ln w="3175">
            <a:noFill/>
          </a:ln>
        </p:spPr>
        <p:txBody>
          <a:bodyPr wrap="square" lIns="91440" tIns="45720" rIns="91440" bIns="45720" anchor="t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ts val="60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6" name="矩形: 圆角 55">
            <a:extLst>
              <a:ext uri="{FF2B5EF4-FFF2-40B4-BE49-F238E27FC236}">
                <a16:creationId xmlns:a16="http://schemas.microsoft.com/office/drawing/2014/main" id="{5776F453-6247-4A0E-AD30-10ED7E1A5738}"/>
              </a:ext>
            </a:extLst>
          </p:cNvPr>
          <p:cNvSpPr/>
          <p:nvPr/>
        </p:nvSpPr>
        <p:spPr>
          <a:xfrm>
            <a:off x="9064696" y="4475877"/>
            <a:ext cx="2042031" cy="526754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10000"/>
              </a:lnSpc>
            </a:pPr>
            <a:r>
              <a:rPr lang="en-US" altLang="zh-CN" b="1" i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b="1" i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67" name="任意多边形: 形状 66">
            <a:extLst>
              <a:ext uri="{FF2B5EF4-FFF2-40B4-BE49-F238E27FC236}">
                <a16:creationId xmlns:a16="http://schemas.microsoft.com/office/drawing/2014/main" id="{620D1770-2821-465C-B89E-504032138290}"/>
              </a:ext>
            </a:extLst>
          </p:cNvPr>
          <p:cNvSpPr/>
          <p:nvPr/>
        </p:nvSpPr>
        <p:spPr bwMode="auto">
          <a:xfrm>
            <a:off x="9874615" y="4014952"/>
            <a:ext cx="422192" cy="340200"/>
          </a:xfrm>
          <a:custGeom>
            <a:avLst/>
            <a:gdLst>
              <a:gd name="T0" fmla="*/ 216 w 216"/>
              <a:gd name="T1" fmla="*/ 0 h 172"/>
              <a:gd name="T2" fmla="*/ 216 w 216"/>
              <a:gd name="T3" fmla="*/ 148 h 172"/>
              <a:gd name="T4" fmla="*/ 80 w 216"/>
              <a:gd name="T5" fmla="*/ 148 h 172"/>
              <a:gd name="T6" fmla="*/ 48 w 216"/>
              <a:gd name="T7" fmla="*/ 172 h 172"/>
              <a:gd name="T8" fmla="*/ 48 w 216"/>
              <a:gd name="T9" fmla="*/ 148 h 172"/>
              <a:gd name="T10" fmla="*/ 0 w 216"/>
              <a:gd name="T11" fmla="*/ 148 h 172"/>
              <a:gd name="T12" fmla="*/ 0 w 216"/>
              <a:gd name="T13" fmla="*/ 0 h 172"/>
              <a:gd name="T14" fmla="*/ 216 w 216"/>
              <a:gd name="T15" fmla="*/ 0 h 172"/>
              <a:gd name="T16" fmla="*/ 52 w 216"/>
              <a:gd name="T17" fmla="*/ 60 h 172"/>
              <a:gd name="T18" fmla="*/ 38 w 216"/>
              <a:gd name="T19" fmla="*/ 74 h 172"/>
              <a:gd name="T20" fmla="*/ 52 w 216"/>
              <a:gd name="T21" fmla="*/ 88 h 172"/>
              <a:gd name="T22" fmla="*/ 66 w 216"/>
              <a:gd name="T23" fmla="*/ 74 h 172"/>
              <a:gd name="T24" fmla="*/ 52 w 216"/>
              <a:gd name="T25" fmla="*/ 60 h 172"/>
              <a:gd name="T26" fmla="*/ 108 w 216"/>
              <a:gd name="T27" fmla="*/ 60 h 172"/>
              <a:gd name="T28" fmla="*/ 94 w 216"/>
              <a:gd name="T29" fmla="*/ 74 h 172"/>
              <a:gd name="T30" fmla="*/ 108 w 216"/>
              <a:gd name="T31" fmla="*/ 88 h 172"/>
              <a:gd name="T32" fmla="*/ 122 w 216"/>
              <a:gd name="T33" fmla="*/ 74 h 172"/>
              <a:gd name="T34" fmla="*/ 108 w 216"/>
              <a:gd name="T35" fmla="*/ 60 h 172"/>
              <a:gd name="T36" fmla="*/ 164 w 216"/>
              <a:gd name="T37" fmla="*/ 60 h 172"/>
              <a:gd name="T38" fmla="*/ 150 w 216"/>
              <a:gd name="T39" fmla="*/ 74 h 172"/>
              <a:gd name="T40" fmla="*/ 164 w 216"/>
              <a:gd name="T41" fmla="*/ 88 h 172"/>
              <a:gd name="T42" fmla="*/ 178 w 216"/>
              <a:gd name="T43" fmla="*/ 74 h 172"/>
              <a:gd name="T44" fmla="*/ 164 w 216"/>
              <a:gd name="T45" fmla="*/ 60 h 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216" h="172">
                <a:moveTo>
                  <a:pt x="216" y="0"/>
                </a:moveTo>
                <a:cubicBezTo>
                  <a:pt x="216" y="148"/>
                  <a:pt x="216" y="148"/>
                  <a:pt x="216" y="148"/>
                </a:cubicBezTo>
                <a:cubicBezTo>
                  <a:pt x="80" y="148"/>
                  <a:pt x="80" y="148"/>
                  <a:pt x="80" y="148"/>
                </a:cubicBezTo>
                <a:cubicBezTo>
                  <a:pt x="48" y="172"/>
                  <a:pt x="48" y="172"/>
                  <a:pt x="48" y="172"/>
                </a:cubicBezTo>
                <a:cubicBezTo>
                  <a:pt x="48" y="148"/>
                  <a:pt x="48" y="148"/>
                  <a:pt x="48" y="148"/>
                </a:cubicBezTo>
                <a:cubicBezTo>
                  <a:pt x="0" y="148"/>
                  <a:pt x="0" y="148"/>
                  <a:pt x="0" y="148"/>
                </a:cubicBezTo>
                <a:cubicBezTo>
                  <a:pt x="0" y="0"/>
                  <a:pt x="0" y="0"/>
                  <a:pt x="0" y="0"/>
                </a:cubicBezTo>
                <a:lnTo>
                  <a:pt x="216" y="0"/>
                </a:lnTo>
                <a:close/>
                <a:moveTo>
                  <a:pt x="52" y="60"/>
                </a:moveTo>
                <a:cubicBezTo>
                  <a:pt x="44" y="60"/>
                  <a:pt x="38" y="66"/>
                  <a:pt x="38" y="74"/>
                </a:cubicBezTo>
                <a:cubicBezTo>
                  <a:pt x="38" y="82"/>
                  <a:pt x="44" y="88"/>
                  <a:pt x="52" y="88"/>
                </a:cubicBezTo>
                <a:cubicBezTo>
                  <a:pt x="60" y="88"/>
                  <a:pt x="66" y="82"/>
                  <a:pt x="66" y="74"/>
                </a:cubicBezTo>
                <a:cubicBezTo>
                  <a:pt x="66" y="66"/>
                  <a:pt x="60" y="60"/>
                  <a:pt x="52" y="60"/>
                </a:cubicBezTo>
                <a:close/>
                <a:moveTo>
                  <a:pt x="108" y="60"/>
                </a:moveTo>
                <a:cubicBezTo>
                  <a:pt x="100" y="60"/>
                  <a:pt x="94" y="66"/>
                  <a:pt x="94" y="74"/>
                </a:cubicBezTo>
                <a:cubicBezTo>
                  <a:pt x="94" y="82"/>
                  <a:pt x="100" y="88"/>
                  <a:pt x="108" y="88"/>
                </a:cubicBezTo>
                <a:cubicBezTo>
                  <a:pt x="116" y="88"/>
                  <a:pt x="122" y="82"/>
                  <a:pt x="122" y="74"/>
                </a:cubicBezTo>
                <a:cubicBezTo>
                  <a:pt x="122" y="66"/>
                  <a:pt x="116" y="60"/>
                  <a:pt x="108" y="60"/>
                </a:cubicBezTo>
                <a:close/>
                <a:moveTo>
                  <a:pt x="164" y="60"/>
                </a:moveTo>
                <a:cubicBezTo>
                  <a:pt x="156" y="60"/>
                  <a:pt x="150" y="66"/>
                  <a:pt x="150" y="74"/>
                </a:cubicBezTo>
                <a:cubicBezTo>
                  <a:pt x="150" y="82"/>
                  <a:pt x="156" y="88"/>
                  <a:pt x="164" y="88"/>
                </a:cubicBezTo>
                <a:cubicBezTo>
                  <a:pt x="172" y="88"/>
                  <a:pt x="178" y="82"/>
                  <a:pt x="178" y="74"/>
                </a:cubicBezTo>
                <a:cubicBezTo>
                  <a:pt x="178" y="66"/>
                  <a:pt x="172" y="60"/>
                  <a:pt x="164" y="6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675532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: 圆角 9">
            <a:extLst>
              <a:ext uri="{FF2B5EF4-FFF2-40B4-BE49-F238E27FC236}">
                <a16:creationId xmlns:a16="http://schemas.microsoft.com/office/drawing/2014/main" id="{7606E312-EB0F-46A6-934C-47C51F8F95C1}"/>
              </a:ext>
            </a:extLst>
          </p:cNvPr>
          <p:cNvSpPr/>
          <p:nvPr/>
        </p:nvSpPr>
        <p:spPr>
          <a:xfrm>
            <a:off x="4361048" y="1435768"/>
            <a:ext cx="3452220" cy="1039338"/>
          </a:xfrm>
          <a:prstGeom prst="roundRect">
            <a:avLst/>
          </a:prstGeom>
          <a:solidFill>
            <a:schemeClr val="accent1">
              <a:alpha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5A8256E8-6BC2-4CCC-8A32-FD8B343734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E439CD6-6D4C-4F0C-BE2C-38B72F049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DF30A5D-B281-401F-9F99-D324D4341F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" name="矩形: 圆角 5">
            <a:extLst>
              <a:ext uri="{FF2B5EF4-FFF2-40B4-BE49-F238E27FC236}">
                <a16:creationId xmlns:a16="http://schemas.microsoft.com/office/drawing/2014/main" id="{213DF729-6D56-4758-9AF1-7ED8A6AA8A07}"/>
              </a:ext>
            </a:extLst>
          </p:cNvPr>
          <p:cNvSpPr/>
          <p:nvPr/>
        </p:nvSpPr>
        <p:spPr>
          <a:xfrm>
            <a:off x="718964" y="1927672"/>
            <a:ext cx="3452220" cy="147486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4400" b="1" dirty="0">
                <a:cs typeface="+mn-ea"/>
                <a:sym typeface="+mn-lt"/>
              </a:rPr>
              <a:t>30%</a:t>
            </a:r>
            <a:endParaRPr sz="4400" b="1" dirty="0">
              <a:cs typeface="+mn-ea"/>
              <a:sym typeface="+mn-lt"/>
            </a:endParaRPr>
          </a:p>
        </p:txBody>
      </p:sp>
      <p:sp>
        <p:nvSpPr>
          <p:cNvPr id="7" name="矩形: 圆角 6">
            <a:extLst>
              <a:ext uri="{FF2B5EF4-FFF2-40B4-BE49-F238E27FC236}">
                <a16:creationId xmlns:a16="http://schemas.microsoft.com/office/drawing/2014/main" id="{E9DF8E50-C704-4DEA-BA3C-B155FD1A0529}"/>
              </a:ext>
            </a:extLst>
          </p:cNvPr>
          <p:cNvSpPr/>
          <p:nvPr/>
        </p:nvSpPr>
        <p:spPr>
          <a:xfrm>
            <a:off x="718964" y="1556792"/>
            <a:ext cx="3452220" cy="794693"/>
          </a:xfrm>
          <a:prstGeom prst="roundRect">
            <a:avLst/>
          </a:prstGeom>
          <a:solidFill>
            <a:schemeClr val="tx1">
              <a:lumMod val="50000"/>
              <a:lumOff val="50000"/>
              <a:alpha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6244CB8-9FFA-4072-B15D-055B0EEC49E0}"/>
              </a:ext>
            </a:extLst>
          </p:cNvPr>
          <p:cNvSpPr>
            <a:spLocks/>
          </p:cNvSpPr>
          <p:nvPr/>
        </p:nvSpPr>
        <p:spPr>
          <a:xfrm>
            <a:off x="718964" y="5215179"/>
            <a:ext cx="3452220" cy="46916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000" b="1" dirty="0">
                <a:cs typeface="+mn-ea"/>
                <a:sym typeface="+mn-lt"/>
              </a:rPr>
              <a:t>Keyword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CEC5C454-6825-451E-B146-618C34A44D64}"/>
              </a:ext>
            </a:extLst>
          </p:cNvPr>
          <p:cNvSpPr/>
          <p:nvPr/>
        </p:nvSpPr>
        <p:spPr>
          <a:xfrm>
            <a:off x="4361048" y="1927671"/>
            <a:ext cx="3452220" cy="1474869"/>
          </a:xfrm>
          <a:prstGeom prst="roundRect">
            <a:avLst/>
          </a:prstGeom>
          <a:solidFill>
            <a:schemeClr val="accent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4800" b="1" dirty="0">
                <a:cs typeface="+mn-ea"/>
                <a:sym typeface="+mn-lt"/>
              </a:rPr>
              <a:t>50%</a:t>
            </a:r>
            <a:endParaRPr sz="4800" b="1" dirty="0">
              <a:cs typeface="+mn-ea"/>
              <a:sym typeface="+mn-lt"/>
            </a:endParaRPr>
          </a:p>
        </p:txBody>
      </p:sp>
      <p:sp>
        <p:nvSpPr>
          <p:cNvPr id="11" name="矩形: 圆角 10">
            <a:extLst>
              <a:ext uri="{FF2B5EF4-FFF2-40B4-BE49-F238E27FC236}">
                <a16:creationId xmlns:a16="http://schemas.microsoft.com/office/drawing/2014/main" id="{9FAB23BD-5BA4-45D7-9103-5038865BCC35}"/>
              </a:ext>
            </a:extLst>
          </p:cNvPr>
          <p:cNvSpPr>
            <a:spLocks/>
          </p:cNvSpPr>
          <p:nvPr/>
        </p:nvSpPr>
        <p:spPr>
          <a:xfrm>
            <a:off x="4361047" y="5215179"/>
            <a:ext cx="3452220" cy="469169"/>
          </a:xfrm>
          <a:prstGeom prst="roundRect">
            <a:avLst/>
          </a:prstGeom>
          <a:solidFill>
            <a:schemeClr val="accent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000" b="1" dirty="0">
                <a:cs typeface="+mn-ea"/>
                <a:sym typeface="+mn-lt"/>
              </a:rPr>
              <a:t>Keyword</a:t>
            </a:r>
            <a:endParaRPr lang="zh-CN" altLang="en-US" sz="2000" b="1" dirty="0">
              <a:cs typeface="+mn-ea"/>
              <a:sym typeface="+mn-lt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288E28E5-6707-477B-9238-E1E9B380204B}"/>
              </a:ext>
            </a:extLst>
          </p:cNvPr>
          <p:cNvSpPr/>
          <p:nvPr/>
        </p:nvSpPr>
        <p:spPr>
          <a:xfrm>
            <a:off x="8003708" y="1927672"/>
            <a:ext cx="3452220" cy="147486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4400" b="1" dirty="0">
                <a:cs typeface="+mn-ea"/>
                <a:sym typeface="+mn-lt"/>
              </a:rPr>
              <a:t>30%</a:t>
            </a:r>
            <a:endParaRPr sz="4400" b="1" dirty="0">
              <a:cs typeface="+mn-ea"/>
              <a:sym typeface="+mn-lt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1BFEDE1B-AFA7-405B-A1C6-703CB0C59291}"/>
              </a:ext>
            </a:extLst>
          </p:cNvPr>
          <p:cNvSpPr/>
          <p:nvPr/>
        </p:nvSpPr>
        <p:spPr>
          <a:xfrm>
            <a:off x="8003708" y="1556793"/>
            <a:ext cx="3452220" cy="794693"/>
          </a:xfrm>
          <a:prstGeom prst="roundRect">
            <a:avLst/>
          </a:prstGeom>
          <a:solidFill>
            <a:schemeClr val="tx1">
              <a:lumMod val="50000"/>
              <a:lumOff val="50000"/>
              <a:alpha val="25000"/>
            </a:schemeClr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4" name="矩形: 圆角 13">
            <a:extLst>
              <a:ext uri="{FF2B5EF4-FFF2-40B4-BE49-F238E27FC236}">
                <a16:creationId xmlns:a16="http://schemas.microsoft.com/office/drawing/2014/main" id="{D7741EE1-0537-458F-9134-071AAE4B9508}"/>
              </a:ext>
            </a:extLst>
          </p:cNvPr>
          <p:cNvSpPr>
            <a:spLocks/>
          </p:cNvSpPr>
          <p:nvPr/>
        </p:nvSpPr>
        <p:spPr>
          <a:xfrm>
            <a:off x="8003708" y="5215179"/>
            <a:ext cx="3452220" cy="469169"/>
          </a:xfrm>
          <a:prstGeom prst="roundRect">
            <a:avLst/>
          </a:prstGeom>
          <a:solidFill>
            <a:schemeClr val="tx1">
              <a:lumMod val="50000"/>
              <a:lumOff val="5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r>
              <a:rPr lang="en-US" altLang="zh-CN" sz="2000" b="1" dirty="0">
                <a:cs typeface="+mn-ea"/>
                <a:sym typeface="+mn-lt"/>
              </a:rPr>
              <a:t>Keyword</a:t>
            </a:r>
            <a:endParaRPr lang="zh-CN" altLang="en-US" sz="2000" b="1" dirty="0">
              <a:cs typeface="+mn-ea"/>
              <a:sym typeface="+mn-lt"/>
            </a:endParaRPr>
          </a:p>
        </p:txBody>
      </p: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280CBB26-C5CD-4086-BF79-4E584CAA7876}"/>
              </a:ext>
            </a:extLst>
          </p:cNvPr>
          <p:cNvGrpSpPr/>
          <p:nvPr/>
        </p:nvGrpSpPr>
        <p:grpSpPr>
          <a:xfrm>
            <a:off x="1124888" y="3586638"/>
            <a:ext cx="2640372" cy="1444441"/>
            <a:chOff x="1124888" y="3599654"/>
            <a:chExt cx="2640372" cy="1444441"/>
          </a:xfrm>
        </p:grpSpPr>
        <p:sp>
          <p:nvSpPr>
            <p:cNvPr id="22" name="文本框 21">
              <a:extLst>
                <a:ext uri="{FF2B5EF4-FFF2-40B4-BE49-F238E27FC236}">
                  <a16:creationId xmlns:a16="http://schemas.microsoft.com/office/drawing/2014/main" id="{CA624439-3FC7-46A1-A824-2CBA1829B640}"/>
                </a:ext>
              </a:extLst>
            </p:cNvPr>
            <p:cNvSpPr txBox="1"/>
            <p:nvPr/>
          </p:nvSpPr>
          <p:spPr>
            <a:xfrm>
              <a:off x="1124889" y="3993043"/>
              <a:ext cx="2640371" cy="10510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3" name="文本框 22">
              <a:extLst>
                <a:ext uri="{FF2B5EF4-FFF2-40B4-BE49-F238E27FC236}">
                  <a16:creationId xmlns:a16="http://schemas.microsoft.com/office/drawing/2014/main" id="{200F8E15-8A1A-48BF-9FB2-804E4981842A}"/>
                </a:ext>
              </a:extLst>
            </p:cNvPr>
            <p:cNvSpPr txBox="1"/>
            <p:nvPr/>
          </p:nvSpPr>
          <p:spPr>
            <a:xfrm>
              <a:off x="1124888" y="3599654"/>
              <a:ext cx="2640372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CE6FCD7D-BDE8-485C-BAD5-4904AA0B89BE}"/>
              </a:ext>
            </a:extLst>
          </p:cNvPr>
          <p:cNvGrpSpPr/>
          <p:nvPr/>
        </p:nvGrpSpPr>
        <p:grpSpPr>
          <a:xfrm>
            <a:off x="4766971" y="3586638"/>
            <a:ext cx="2640372" cy="1444441"/>
            <a:chOff x="1124888" y="3599654"/>
            <a:chExt cx="2640372" cy="1444441"/>
          </a:xfrm>
        </p:grpSpPr>
        <p:sp>
          <p:nvSpPr>
            <p:cNvPr id="20" name="文本框 19">
              <a:extLst>
                <a:ext uri="{FF2B5EF4-FFF2-40B4-BE49-F238E27FC236}">
                  <a16:creationId xmlns:a16="http://schemas.microsoft.com/office/drawing/2014/main" id="{CA624439-3FC7-46A1-A824-2CBA1829B640}"/>
                </a:ext>
              </a:extLst>
            </p:cNvPr>
            <p:cNvSpPr txBox="1"/>
            <p:nvPr/>
          </p:nvSpPr>
          <p:spPr>
            <a:xfrm>
              <a:off x="1124889" y="3993043"/>
              <a:ext cx="2640371" cy="10510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00F8E15-8A1A-48BF-9FB2-804E4981842A}"/>
                </a:ext>
              </a:extLst>
            </p:cNvPr>
            <p:cNvSpPr txBox="1"/>
            <p:nvPr/>
          </p:nvSpPr>
          <p:spPr>
            <a:xfrm>
              <a:off x="1124888" y="3599654"/>
              <a:ext cx="2640372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</p:grpSp>
      <p:grpSp>
        <p:nvGrpSpPr>
          <p:cNvPr id="17" name="组合 16">
            <a:extLst>
              <a:ext uri="{FF2B5EF4-FFF2-40B4-BE49-F238E27FC236}">
                <a16:creationId xmlns:a16="http://schemas.microsoft.com/office/drawing/2014/main" id="{6D1056E4-A9B3-43DE-9B4A-41FC4D4B490E}"/>
              </a:ext>
            </a:extLst>
          </p:cNvPr>
          <p:cNvGrpSpPr/>
          <p:nvPr/>
        </p:nvGrpSpPr>
        <p:grpSpPr>
          <a:xfrm>
            <a:off x="8409632" y="3586638"/>
            <a:ext cx="2640372" cy="1444441"/>
            <a:chOff x="1124888" y="3599654"/>
            <a:chExt cx="2640372" cy="1444441"/>
          </a:xfrm>
        </p:grpSpPr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CA624439-3FC7-46A1-A824-2CBA1829B640}"/>
                </a:ext>
              </a:extLst>
            </p:cNvPr>
            <p:cNvSpPr txBox="1"/>
            <p:nvPr/>
          </p:nvSpPr>
          <p:spPr>
            <a:xfrm>
              <a:off x="1124889" y="3993043"/>
              <a:ext cx="2640371" cy="1051052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algn="ctr">
                <a:lnSpc>
                  <a:spcPct val="120000"/>
                </a:lnSpc>
              </a:pP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200F8E15-8A1A-48BF-9FB2-804E4981842A}"/>
                </a:ext>
              </a:extLst>
            </p:cNvPr>
            <p:cNvSpPr txBox="1"/>
            <p:nvPr/>
          </p:nvSpPr>
          <p:spPr>
            <a:xfrm>
              <a:off x="1124888" y="3599654"/>
              <a:ext cx="2640372" cy="393389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normAutofit/>
            </a:bodyPr>
            <a:lstStyle/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768679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矩形 95">
            <a:extLst>
              <a:ext uri="{FF2B5EF4-FFF2-40B4-BE49-F238E27FC236}">
                <a16:creationId xmlns:a16="http://schemas.microsoft.com/office/drawing/2014/main" id="{0FEF934F-C39E-42D2-896E-044FBFC0FB88}"/>
              </a:ext>
            </a:extLst>
          </p:cNvPr>
          <p:cNvSpPr/>
          <p:nvPr/>
        </p:nvSpPr>
        <p:spPr>
          <a:xfrm>
            <a:off x="0" y="-1"/>
            <a:ext cx="12192000" cy="4204447"/>
          </a:xfrm>
          <a:prstGeom prst="rect">
            <a:avLst/>
          </a:prstGeom>
          <a:blipFill>
            <a:blip r:embed="rId3"/>
            <a:stretch>
              <a:fillRect t="-57026" b="-56682"/>
            </a:stretch>
          </a:blipFill>
          <a:ln w="285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7" name="矩形 96">
            <a:extLst>
              <a:ext uri="{FF2B5EF4-FFF2-40B4-BE49-F238E27FC236}">
                <a16:creationId xmlns:a16="http://schemas.microsoft.com/office/drawing/2014/main" id="{9C161F3F-9402-4741-A4BF-30508D8DEE5F}"/>
              </a:ext>
            </a:extLst>
          </p:cNvPr>
          <p:cNvSpPr/>
          <p:nvPr/>
        </p:nvSpPr>
        <p:spPr>
          <a:xfrm>
            <a:off x="0" y="0"/>
            <a:ext cx="12192000" cy="4204446"/>
          </a:xfrm>
          <a:prstGeom prst="rect">
            <a:avLst/>
          </a:prstGeom>
          <a:solidFill>
            <a:schemeClr val="accent2">
              <a:alpha val="70000"/>
            </a:schemeClr>
          </a:solidFill>
          <a:ln w="2857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7"/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98" name="组合 97">
            <a:extLst>
              <a:ext uri="{FF2B5EF4-FFF2-40B4-BE49-F238E27FC236}">
                <a16:creationId xmlns:a16="http://schemas.microsoft.com/office/drawing/2014/main" id="{0524F0F6-8786-4A7F-9E53-5709D10D151E}"/>
              </a:ext>
            </a:extLst>
          </p:cNvPr>
          <p:cNvGrpSpPr/>
          <p:nvPr/>
        </p:nvGrpSpPr>
        <p:grpSpPr>
          <a:xfrm>
            <a:off x="2144965" y="4973729"/>
            <a:ext cx="1662263" cy="1016934"/>
            <a:chOff x="1556066" y="5117165"/>
            <a:chExt cx="1662263" cy="1016934"/>
          </a:xfrm>
        </p:grpSpPr>
        <p:sp>
          <p:nvSpPr>
            <p:cNvPr id="123" name="矩形 122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556066" y="5509002"/>
              <a:ext cx="166226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4" name="矩形 123">
              <a:extLst>
                <a:ext uri="{FF2B5EF4-FFF2-40B4-BE49-F238E27FC236}">
                  <a16:creationId xmlns:a16="http://schemas.microsoft.com/office/drawing/2014/main" id="{F7DA18FF-DEB3-46B6-81D2-E3F6DC64A6A8}"/>
                </a:ext>
              </a:extLst>
            </p:cNvPr>
            <p:cNvSpPr/>
            <p:nvPr/>
          </p:nvSpPr>
          <p:spPr>
            <a:xfrm>
              <a:off x="1556066" y="5117165"/>
              <a:ext cx="1662263" cy="391835"/>
            </a:xfrm>
            <a:prstGeom prst="rect">
              <a:avLst/>
            </a:prstGeom>
            <a:noFill/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id-ID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FF8682A8-6435-484D-8B6B-C3E2EC973772}"/>
              </a:ext>
            </a:extLst>
          </p:cNvPr>
          <p:cNvGrpSpPr/>
          <p:nvPr/>
        </p:nvGrpSpPr>
        <p:grpSpPr>
          <a:xfrm>
            <a:off x="5258518" y="4973729"/>
            <a:ext cx="1662263" cy="1016934"/>
            <a:chOff x="1556066" y="5117165"/>
            <a:chExt cx="1662263" cy="1016934"/>
          </a:xfrm>
        </p:grpSpPr>
        <p:sp>
          <p:nvSpPr>
            <p:cNvPr id="121" name="矩形 12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556066" y="5509002"/>
              <a:ext cx="166226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2" name="矩形 121">
              <a:extLst>
                <a:ext uri="{FF2B5EF4-FFF2-40B4-BE49-F238E27FC236}">
                  <a16:creationId xmlns:a16="http://schemas.microsoft.com/office/drawing/2014/main" id="{F9980DF5-5B3E-42EB-98F9-D8A1772D18C7}"/>
                </a:ext>
              </a:extLst>
            </p:cNvPr>
            <p:cNvSpPr/>
            <p:nvPr/>
          </p:nvSpPr>
          <p:spPr>
            <a:xfrm>
              <a:off x="1556066" y="5117165"/>
              <a:ext cx="1662263" cy="391835"/>
            </a:xfrm>
            <a:prstGeom prst="rect">
              <a:avLst/>
            </a:prstGeom>
            <a:noFill/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id-ID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C1CA5C8F-96FE-4481-8B69-FB2C6F6248F5}"/>
              </a:ext>
            </a:extLst>
          </p:cNvPr>
          <p:cNvGrpSpPr/>
          <p:nvPr/>
        </p:nvGrpSpPr>
        <p:grpSpPr>
          <a:xfrm>
            <a:off x="8372072" y="4973729"/>
            <a:ext cx="1662263" cy="1016934"/>
            <a:chOff x="1556066" y="5117165"/>
            <a:chExt cx="1662263" cy="1016934"/>
          </a:xfrm>
        </p:grpSpPr>
        <p:sp>
          <p:nvSpPr>
            <p:cNvPr id="119" name="矩形 11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556066" y="5509002"/>
              <a:ext cx="1662263" cy="6250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0" name="矩形 119">
              <a:extLst>
                <a:ext uri="{FF2B5EF4-FFF2-40B4-BE49-F238E27FC236}">
                  <a16:creationId xmlns:a16="http://schemas.microsoft.com/office/drawing/2014/main" id="{C82EDCB2-282A-47DD-ADBF-EBB57B199249}"/>
                </a:ext>
              </a:extLst>
            </p:cNvPr>
            <p:cNvSpPr/>
            <p:nvPr/>
          </p:nvSpPr>
          <p:spPr>
            <a:xfrm>
              <a:off x="1556066" y="5117165"/>
              <a:ext cx="1662263" cy="391835"/>
            </a:xfrm>
            <a:prstGeom prst="rect">
              <a:avLst/>
            </a:prstGeom>
            <a:noFill/>
            <a:ln w="3175" cap="rnd">
              <a:noFill/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altLang="zh-CN" sz="1600" b="1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id-ID" altLang="zh-CN" sz="16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</p:grpSp>
      <p:grpSp>
        <p:nvGrpSpPr>
          <p:cNvPr id="101" name="组合 100">
            <a:extLst>
              <a:ext uri="{FF2B5EF4-FFF2-40B4-BE49-F238E27FC236}">
                <a16:creationId xmlns:a16="http://schemas.microsoft.com/office/drawing/2014/main" id="{8B9E1D0C-0539-4676-9501-83FE9B21F1F3}"/>
              </a:ext>
            </a:extLst>
          </p:cNvPr>
          <p:cNvGrpSpPr/>
          <p:nvPr/>
        </p:nvGrpSpPr>
        <p:grpSpPr>
          <a:xfrm>
            <a:off x="2142371" y="1691341"/>
            <a:ext cx="7894558" cy="1385732"/>
            <a:chOff x="2459677" y="1407459"/>
            <a:chExt cx="7259947" cy="1385732"/>
          </a:xfrm>
        </p:grpSpPr>
        <p:sp>
          <p:nvSpPr>
            <p:cNvPr id="117" name="文本框 116">
              <a:extLst>
                <a:ext uri="{FF2B5EF4-FFF2-40B4-BE49-F238E27FC236}">
                  <a16:creationId xmlns:a16="http://schemas.microsoft.com/office/drawing/2014/main" id="{F6C0B8BD-8162-4FCA-B7AC-235FD87189C5}"/>
                </a:ext>
              </a:extLst>
            </p:cNvPr>
            <p:cNvSpPr txBox="1"/>
            <p:nvPr/>
          </p:nvSpPr>
          <p:spPr>
            <a:xfrm>
              <a:off x="2459677" y="1407459"/>
              <a:ext cx="7259947" cy="58898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buSzPct val="25000"/>
              </a:pPr>
              <a:r>
                <a:rPr lang="en-US" sz="2000" b="1" dirty="0">
                  <a:solidFill>
                    <a:schemeClr val="bg1"/>
                  </a:solidFill>
                  <a:cs typeface="+mn-ea"/>
                  <a:sym typeface="+mn-lt"/>
                </a:rPr>
                <a:t>Unified fonts make reading more fluent.</a:t>
              </a:r>
            </a:p>
          </p:txBody>
        </p:sp>
        <p:sp>
          <p:nvSpPr>
            <p:cNvPr id="118" name="文本框 117">
              <a:extLst>
                <a:ext uri="{FF2B5EF4-FFF2-40B4-BE49-F238E27FC236}">
                  <a16:creationId xmlns:a16="http://schemas.microsoft.com/office/drawing/2014/main" id="{4526A6D4-3938-483E-AE04-387A4D4F50AE}"/>
                </a:ext>
              </a:extLst>
            </p:cNvPr>
            <p:cNvSpPr txBox="1"/>
            <p:nvPr/>
          </p:nvSpPr>
          <p:spPr>
            <a:xfrm>
              <a:off x="2459677" y="1996444"/>
              <a:ext cx="7259947" cy="7967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lnSpc>
                  <a:spcPct val="150000"/>
                </a:lnSpc>
                <a:buSzPct val="25000"/>
              </a:pPr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Theme color makes PPT more convenient to </a:t>
              </a:r>
              <a:r>
                <a:rPr lang="en-US" altLang="zh-CN" sz="1200" dirty="0" err="1">
                  <a:solidFill>
                    <a:schemeClr val="bg1"/>
                  </a:solidFill>
                  <a:cs typeface="+mn-ea"/>
                  <a:sym typeface="+mn-lt"/>
                </a:rPr>
                <a:t>change.Adjust</a:t>
              </a:r>
              <a:r>
                <a:rPr lang="en-US" altLang="zh-CN" sz="1200" dirty="0">
                  <a:solidFill>
                    <a:schemeClr val="bg1"/>
                  </a:solidFill>
                  <a:cs typeface="+mn-ea"/>
                  <a:sym typeface="+mn-lt"/>
                </a:rPr>
                <a:t> the spacing to adapt to Chinese typesetting, use the reference line in PPT.</a:t>
              </a:r>
            </a:p>
          </p:txBody>
        </p:sp>
      </p:grpSp>
      <p:cxnSp>
        <p:nvCxnSpPr>
          <p:cNvPr id="102" name="直接连接符 101">
            <a:extLst>
              <a:ext uri="{FF2B5EF4-FFF2-40B4-BE49-F238E27FC236}">
                <a16:creationId xmlns:a16="http://schemas.microsoft.com/office/drawing/2014/main" id="{562EA1F1-F464-49A6-BAC6-EEE062FDE33D}"/>
              </a:ext>
            </a:extLst>
          </p:cNvPr>
          <p:cNvCxnSpPr/>
          <p:nvPr/>
        </p:nvCxnSpPr>
        <p:spPr>
          <a:xfrm>
            <a:off x="4532873" y="5073461"/>
            <a:ext cx="0" cy="81747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直接连接符 102">
            <a:extLst>
              <a:ext uri="{FF2B5EF4-FFF2-40B4-BE49-F238E27FC236}">
                <a16:creationId xmlns:a16="http://schemas.microsoft.com/office/drawing/2014/main" id="{87DC3305-535F-42EA-A00B-B669044DCC95}"/>
              </a:ext>
            </a:extLst>
          </p:cNvPr>
          <p:cNvCxnSpPr/>
          <p:nvPr/>
        </p:nvCxnSpPr>
        <p:spPr>
          <a:xfrm>
            <a:off x="7646426" y="5073461"/>
            <a:ext cx="0" cy="81747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直接连接符 103">
            <a:extLst>
              <a:ext uri="{FF2B5EF4-FFF2-40B4-BE49-F238E27FC236}">
                <a16:creationId xmlns:a16="http://schemas.microsoft.com/office/drawing/2014/main" id="{79F48D96-0A4B-4FEC-948A-55623393989B}"/>
              </a:ext>
            </a:extLst>
          </p:cNvPr>
          <p:cNvCxnSpPr>
            <a:stCxn id="107" idx="6"/>
          </p:cNvCxnSpPr>
          <p:nvPr/>
        </p:nvCxnSpPr>
        <p:spPr>
          <a:xfrm>
            <a:off x="3567953" y="4204446"/>
            <a:ext cx="5043393" cy="0"/>
          </a:xfrm>
          <a:prstGeom prst="line">
            <a:avLst/>
          </a:prstGeom>
          <a:ln w="76200" cap="rnd">
            <a:solidFill>
              <a:schemeClr val="bg1">
                <a:lumMod val="9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5" name="椭圆 104">
            <a:extLst>
              <a:ext uri="{FF2B5EF4-FFF2-40B4-BE49-F238E27FC236}">
                <a16:creationId xmlns:a16="http://schemas.microsoft.com/office/drawing/2014/main" id="{1DCB02FE-E7DC-4EE5-B3C1-9B53B03A79CD}"/>
              </a:ext>
            </a:extLst>
          </p:cNvPr>
          <p:cNvSpPr/>
          <p:nvPr/>
        </p:nvSpPr>
        <p:spPr>
          <a:xfrm>
            <a:off x="5497792" y="3612589"/>
            <a:ext cx="1183714" cy="1183714"/>
          </a:xfrm>
          <a:prstGeom prst="ellipse">
            <a:avLst/>
          </a:prstGeom>
          <a:solidFill>
            <a:schemeClr val="accent2"/>
          </a:solidFill>
          <a:ln w="571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6" name="任意多边形: 形状 105">
            <a:extLst>
              <a:ext uri="{FF2B5EF4-FFF2-40B4-BE49-F238E27FC236}">
                <a16:creationId xmlns:a16="http://schemas.microsoft.com/office/drawing/2014/main" id="{7E7D9C5C-A6A5-4522-98FE-E2499905CC58}"/>
              </a:ext>
            </a:extLst>
          </p:cNvPr>
          <p:cNvSpPr/>
          <p:nvPr/>
        </p:nvSpPr>
        <p:spPr>
          <a:xfrm>
            <a:off x="5819936" y="3904674"/>
            <a:ext cx="539425" cy="599543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/>
          </a:solidFill>
          <a:ln w="571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7" name="椭圆 106">
            <a:extLst>
              <a:ext uri="{FF2B5EF4-FFF2-40B4-BE49-F238E27FC236}">
                <a16:creationId xmlns:a16="http://schemas.microsoft.com/office/drawing/2014/main" id="{AB7E2A31-1D02-4CEB-A38A-DBF62E8FAB49}"/>
              </a:ext>
            </a:extLst>
          </p:cNvPr>
          <p:cNvSpPr/>
          <p:nvPr/>
        </p:nvSpPr>
        <p:spPr>
          <a:xfrm>
            <a:off x="2384239" y="3612589"/>
            <a:ext cx="1183714" cy="1183714"/>
          </a:xfrm>
          <a:prstGeom prst="ellipse">
            <a:avLst/>
          </a:prstGeom>
          <a:solidFill>
            <a:schemeClr val="accent1"/>
          </a:solidFill>
          <a:ln w="571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8" name="椭圆 107">
            <a:extLst>
              <a:ext uri="{FF2B5EF4-FFF2-40B4-BE49-F238E27FC236}">
                <a16:creationId xmlns:a16="http://schemas.microsoft.com/office/drawing/2014/main" id="{BE07081C-7D6B-4152-916F-D86039B7E6DD}"/>
              </a:ext>
            </a:extLst>
          </p:cNvPr>
          <p:cNvSpPr/>
          <p:nvPr/>
        </p:nvSpPr>
        <p:spPr>
          <a:xfrm>
            <a:off x="8611346" y="3612589"/>
            <a:ext cx="1183714" cy="1183714"/>
          </a:xfrm>
          <a:prstGeom prst="ellipse">
            <a:avLst/>
          </a:prstGeom>
          <a:solidFill>
            <a:schemeClr val="accent1"/>
          </a:solidFill>
          <a:ln w="5715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9" name="任意多边形: 形状 108">
            <a:extLst>
              <a:ext uri="{FF2B5EF4-FFF2-40B4-BE49-F238E27FC236}">
                <a16:creationId xmlns:a16="http://schemas.microsoft.com/office/drawing/2014/main" id="{AB33AAD2-2F88-4BEB-A490-E0F3B18AB540}"/>
              </a:ext>
            </a:extLst>
          </p:cNvPr>
          <p:cNvSpPr/>
          <p:nvPr/>
        </p:nvSpPr>
        <p:spPr>
          <a:xfrm>
            <a:off x="2696533" y="3904674"/>
            <a:ext cx="559124" cy="599543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bg1"/>
          </a:solidFill>
          <a:ln w="571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0" name="任意多边形: 形状 109">
            <a:extLst>
              <a:ext uri="{FF2B5EF4-FFF2-40B4-BE49-F238E27FC236}">
                <a16:creationId xmlns:a16="http://schemas.microsoft.com/office/drawing/2014/main" id="{8B4CA837-1C5F-4D5B-AA65-67EFACAFB0E8}"/>
              </a:ext>
            </a:extLst>
          </p:cNvPr>
          <p:cNvSpPr/>
          <p:nvPr/>
        </p:nvSpPr>
        <p:spPr>
          <a:xfrm>
            <a:off x="8960569" y="3904674"/>
            <a:ext cx="485266" cy="599543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/>
          </a:solidFill>
          <a:ln w="5715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81CDBFA5-4A00-448F-8445-A72F413E12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BFEB7E8-AAD8-4F05-86A6-942487019A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75A591-3F19-49D7-919B-D982D0CB7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581930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9D0E84E-A64C-4ADB-BC26-FC70220D3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F6A5F72-5BD5-47E4-8ACF-09A480220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128B7C7-AD96-4C8F-93CE-4FCCB3263A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箭头: 五边形 5">
            <a:extLst>
              <a:ext uri="{FF2B5EF4-FFF2-40B4-BE49-F238E27FC236}">
                <a16:creationId xmlns:a16="http://schemas.microsoft.com/office/drawing/2014/main" id="{034AC0B6-2A24-4F92-BE75-F639A0F8DD39}"/>
              </a:ext>
            </a:extLst>
          </p:cNvPr>
          <p:cNvSpPr/>
          <p:nvPr/>
        </p:nvSpPr>
        <p:spPr>
          <a:xfrm>
            <a:off x="660400" y="2640541"/>
            <a:ext cx="10858500" cy="261690"/>
          </a:xfrm>
          <a:prstGeom prst="homePlate">
            <a:avLst>
              <a:gd name="adj" fmla="val 50000"/>
            </a:avLst>
          </a:prstGeom>
          <a:solidFill>
            <a:schemeClr val="bg1">
              <a:lumMod val="9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625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cxnSp>
        <p:nvCxnSpPr>
          <p:cNvPr id="7" name="直接箭头连接符 6">
            <a:extLst>
              <a:ext uri="{FF2B5EF4-FFF2-40B4-BE49-F238E27FC236}">
                <a16:creationId xmlns:a16="http://schemas.microsoft.com/office/drawing/2014/main" id="{82A7885E-009E-47EC-A144-4807D3869D54}"/>
              </a:ext>
            </a:extLst>
          </p:cNvPr>
          <p:cNvCxnSpPr/>
          <p:nvPr/>
        </p:nvCxnSpPr>
        <p:spPr>
          <a:xfrm>
            <a:off x="2738287" y="2771386"/>
            <a:ext cx="36231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箭头连接符 7">
            <a:extLst>
              <a:ext uri="{FF2B5EF4-FFF2-40B4-BE49-F238E27FC236}">
                <a16:creationId xmlns:a16="http://schemas.microsoft.com/office/drawing/2014/main" id="{DBF0D7DD-6C8B-4CF6-BA4C-293E75298473}"/>
              </a:ext>
            </a:extLst>
          </p:cNvPr>
          <p:cNvCxnSpPr/>
          <p:nvPr/>
        </p:nvCxnSpPr>
        <p:spPr>
          <a:xfrm>
            <a:off x="4851759" y="2771386"/>
            <a:ext cx="36231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箭头连接符 8">
            <a:extLst>
              <a:ext uri="{FF2B5EF4-FFF2-40B4-BE49-F238E27FC236}">
                <a16:creationId xmlns:a16="http://schemas.microsoft.com/office/drawing/2014/main" id="{AAF486E9-A965-4C0E-9562-6D45469B6253}"/>
              </a:ext>
            </a:extLst>
          </p:cNvPr>
          <p:cNvCxnSpPr/>
          <p:nvPr/>
        </p:nvCxnSpPr>
        <p:spPr>
          <a:xfrm>
            <a:off x="6965231" y="2771386"/>
            <a:ext cx="36231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箭头连接符 9">
            <a:extLst>
              <a:ext uri="{FF2B5EF4-FFF2-40B4-BE49-F238E27FC236}">
                <a16:creationId xmlns:a16="http://schemas.microsoft.com/office/drawing/2014/main" id="{31EAEEC3-38FB-443A-A9FC-DCA0348C4E0D}"/>
              </a:ext>
            </a:extLst>
          </p:cNvPr>
          <p:cNvCxnSpPr/>
          <p:nvPr/>
        </p:nvCxnSpPr>
        <p:spPr>
          <a:xfrm>
            <a:off x="9078703" y="2771386"/>
            <a:ext cx="362310" cy="0"/>
          </a:xfrm>
          <a:prstGeom prst="straightConnector1">
            <a:avLst/>
          </a:prstGeom>
          <a:ln w="19050" cap="rnd">
            <a:solidFill>
              <a:schemeClr val="tx1">
                <a:lumMod val="50000"/>
                <a:lumOff val="50000"/>
              </a:schemeClr>
            </a:solidFill>
            <a:prstDash val="sysDash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E24E2649-B4D0-4E47-9427-1B7AE6889903}"/>
              </a:ext>
            </a:extLst>
          </p:cNvPr>
          <p:cNvGrpSpPr/>
          <p:nvPr/>
        </p:nvGrpSpPr>
        <p:grpSpPr>
          <a:xfrm>
            <a:off x="1381022" y="1854175"/>
            <a:ext cx="963368" cy="1349131"/>
            <a:chOff x="1381022" y="1145341"/>
            <a:chExt cx="963368" cy="1349131"/>
          </a:xfrm>
        </p:grpSpPr>
        <p:sp>
          <p:nvSpPr>
            <p:cNvPr id="32" name="椭圆 31">
              <a:extLst>
                <a:ext uri="{FF2B5EF4-FFF2-40B4-BE49-F238E27FC236}">
                  <a16:creationId xmlns:a16="http://schemas.microsoft.com/office/drawing/2014/main" id="{7C667131-F06C-47C9-9F6C-D0868E757DE7}"/>
                </a:ext>
              </a:extLst>
            </p:cNvPr>
            <p:cNvSpPr/>
            <p:nvPr/>
          </p:nvSpPr>
          <p:spPr>
            <a:xfrm>
              <a:off x="1430786" y="1630632"/>
              <a:ext cx="863840" cy="863840"/>
            </a:xfrm>
            <a:prstGeom prst="ellipse">
              <a:avLst/>
            </a:prstGeom>
            <a:solidFill>
              <a:schemeClr val="accent1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381022" y="1145341"/>
              <a:ext cx="963368" cy="4852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id-ID" altLang="zh-CN" sz="1600" b="1" dirty="0">
                <a:cs typeface="+mn-ea"/>
                <a:sym typeface="+mn-lt"/>
              </a:endParaRPr>
            </a:p>
          </p:txBody>
        </p:sp>
      </p:grpSp>
      <p:sp>
        <p:nvSpPr>
          <p:cNvPr id="12" name="矩形 1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1083033" y="3314007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9930226B-B04B-48F7-A6BF-3E797FE08ACA}"/>
              </a:ext>
            </a:extLst>
          </p:cNvPr>
          <p:cNvGrpSpPr/>
          <p:nvPr/>
        </p:nvGrpSpPr>
        <p:grpSpPr>
          <a:xfrm>
            <a:off x="3494494" y="1854175"/>
            <a:ext cx="963368" cy="1349131"/>
            <a:chOff x="3494494" y="1145341"/>
            <a:chExt cx="963368" cy="1349131"/>
          </a:xfrm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957A2B1A-9D85-4759-9036-21F1D4892A27}"/>
                </a:ext>
              </a:extLst>
            </p:cNvPr>
            <p:cNvSpPr/>
            <p:nvPr/>
          </p:nvSpPr>
          <p:spPr>
            <a:xfrm>
              <a:off x="3544258" y="1630632"/>
              <a:ext cx="863840" cy="863840"/>
            </a:xfrm>
            <a:prstGeom prst="ellipse">
              <a:avLst/>
            </a:prstGeom>
            <a:solidFill>
              <a:schemeClr val="accent2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3494494" y="1145341"/>
              <a:ext cx="963368" cy="4852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id-ID" altLang="zh-CN" sz="1600" b="1" dirty="0">
                <a:cs typeface="+mn-ea"/>
                <a:sym typeface="+mn-lt"/>
              </a:endParaRPr>
            </a:p>
          </p:txBody>
        </p:sp>
      </p:grpSp>
      <p:grpSp>
        <p:nvGrpSpPr>
          <p:cNvPr id="14" name="组合 13">
            <a:extLst>
              <a:ext uri="{FF2B5EF4-FFF2-40B4-BE49-F238E27FC236}">
                <a16:creationId xmlns:a16="http://schemas.microsoft.com/office/drawing/2014/main" id="{243FE976-EFB4-479D-9A38-93EA155A2DD6}"/>
              </a:ext>
            </a:extLst>
          </p:cNvPr>
          <p:cNvGrpSpPr/>
          <p:nvPr/>
        </p:nvGrpSpPr>
        <p:grpSpPr>
          <a:xfrm>
            <a:off x="5607966" y="1854175"/>
            <a:ext cx="963368" cy="1349131"/>
            <a:chOff x="5607966" y="1145341"/>
            <a:chExt cx="963368" cy="1349131"/>
          </a:xfrm>
        </p:grpSpPr>
        <p:sp>
          <p:nvSpPr>
            <p:cNvPr id="28" name="椭圆 27">
              <a:extLst>
                <a:ext uri="{FF2B5EF4-FFF2-40B4-BE49-F238E27FC236}">
                  <a16:creationId xmlns:a16="http://schemas.microsoft.com/office/drawing/2014/main" id="{20376447-35AE-4AAC-B4D5-39A87376C556}"/>
                </a:ext>
              </a:extLst>
            </p:cNvPr>
            <p:cNvSpPr/>
            <p:nvPr/>
          </p:nvSpPr>
          <p:spPr>
            <a:xfrm>
              <a:off x="5657730" y="1630632"/>
              <a:ext cx="863840" cy="863840"/>
            </a:xfrm>
            <a:prstGeom prst="ellipse">
              <a:avLst/>
            </a:prstGeom>
            <a:solidFill>
              <a:schemeClr val="accent1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5607966" y="1145341"/>
              <a:ext cx="963368" cy="4852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id-ID" altLang="zh-CN" sz="1600" b="1" dirty="0">
                <a:cs typeface="+mn-ea"/>
                <a:sym typeface="+mn-lt"/>
              </a:endParaRPr>
            </a:p>
          </p:txBody>
        </p:sp>
      </p:grpSp>
      <p:grpSp>
        <p:nvGrpSpPr>
          <p:cNvPr id="15" name="组合 14">
            <a:extLst>
              <a:ext uri="{FF2B5EF4-FFF2-40B4-BE49-F238E27FC236}">
                <a16:creationId xmlns:a16="http://schemas.microsoft.com/office/drawing/2014/main" id="{7218ECBD-5284-40DD-BB98-8FBFC89BAD52}"/>
              </a:ext>
            </a:extLst>
          </p:cNvPr>
          <p:cNvGrpSpPr/>
          <p:nvPr/>
        </p:nvGrpSpPr>
        <p:grpSpPr>
          <a:xfrm>
            <a:off x="7721438" y="1854175"/>
            <a:ext cx="963368" cy="1349131"/>
            <a:chOff x="7721438" y="1145341"/>
            <a:chExt cx="963368" cy="1349131"/>
          </a:xfrm>
        </p:grpSpPr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11202CBA-9488-4BEF-B110-DDBE65AB8086}"/>
                </a:ext>
              </a:extLst>
            </p:cNvPr>
            <p:cNvSpPr/>
            <p:nvPr/>
          </p:nvSpPr>
          <p:spPr>
            <a:xfrm>
              <a:off x="7771202" y="1630632"/>
              <a:ext cx="863840" cy="863840"/>
            </a:xfrm>
            <a:prstGeom prst="ellipse">
              <a:avLst/>
            </a:prstGeom>
            <a:solidFill>
              <a:schemeClr val="accent2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7721438" y="1145341"/>
              <a:ext cx="963368" cy="4852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id-ID" altLang="zh-CN" sz="1600" b="1" dirty="0">
                <a:cs typeface="+mn-ea"/>
                <a:sym typeface="+mn-lt"/>
              </a:endParaRPr>
            </a:p>
          </p:txBody>
        </p:sp>
      </p:grpSp>
      <p:grpSp>
        <p:nvGrpSpPr>
          <p:cNvPr id="16" name="组合 15">
            <a:extLst>
              <a:ext uri="{FF2B5EF4-FFF2-40B4-BE49-F238E27FC236}">
                <a16:creationId xmlns:a16="http://schemas.microsoft.com/office/drawing/2014/main" id="{18F5FB0D-01B5-46BA-8223-6C3246A253C1}"/>
              </a:ext>
            </a:extLst>
          </p:cNvPr>
          <p:cNvGrpSpPr/>
          <p:nvPr/>
        </p:nvGrpSpPr>
        <p:grpSpPr>
          <a:xfrm>
            <a:off x="9834909" y="1854175"/>
            <a:ext cx="963368" cy="1349131"/>
            <a:chOff x="9834910" y="1145341"/>
            <a:chExt cx="963368" cy="1349131"/>
          </a:xfrm>
        </p:grpSpPr>
        <p:sp>
          <p:nvSpPr>
            <p:cNvPr id="24" name="椭圆 23">
              <a:extLst>
                <a:ext uri="{FF2B5EF4-FFF2-40B4-BE49-F238E27FC236}">
                  <a16:creationId xmlns:a16="http://schemas.microsoft.com/office/drawing/2014/main" id="{4BF44C20-EFE7-42BF-9B0C-60FD64FA6F6C}"/>
                </a:ext>
              </a:extLst>
            </p:cNvPr>
            <p:cNvSpPr/>
            <p:nvPr/>
          </p:nvSpPr>
          <p:spPr>
            <a:xfrm>
              <a:off x="9884674" y="1630632"/>
              <a:ext cx="863840" cy="863840"/>
            </a:xfrm>
            <a:prstGeom prst="ellipse">
              <a:avLst/>
            </a:prstGeom>
            <a:solidFill>
              <a:schemeClr val="accent1"/>
            </a:solidFill>
            <a:ln w="7620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20XX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9834910" y="1145341"/>
              <a:ext cx="963368" cy="48529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</a:t>
              </a:r>
              <a:endParaRPr lang="id-ID" altLang="zh-CN" sz="1600" b="1" dirty="0">
                <a:cs typeface="+mn-ea"/>
                <a:sym typeface="+mn-lt"/>
              </a:endParaRPr>
            </a:p>
          </p:txBody>
        </p:sp>
      </p:grpSp>
      <p:sp>
        <p:nvSpPr>
          <p:cNvPr id="17" name="矩形 16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3196505" y="3314007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5309977" y="3314007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7423449" y="3314007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536921" y="3314007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D3945377-F420-4250-BCDC-B7A15C0FDDF6}"/>
              </a:ext>
            </a:extLst>
          </p:cNvPr>
          <p:cNvSpPr/>
          <p:nvPr/>
        </p:nvSpPr>
        <p:spPr bwMode="auto">
          <a:xfrm>
            <a:off x="1083033" y="4682702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2" name="矩形 21">
            <a:extLst>
              <a:ext uri="{FF2B5EF4-FFF2-40B4-BE49-F238E27FC236}">
                <a16:creationId xmlns:a16="http://schemas.microsoft.com/office/drawing/2014/main" id="{81D7FCB7-7750-4B04-A063-E38173CFAA6B}"/>
              </a:ext>
            </a:extLst>
          </p:cNvPr>
          <p:cNvSpPr/>
          <p:nvPr/>
        </p:nvSpPr>
        <p:spPr bwMode="auto">
          <a:xfrm>
            <a:off x="5309977" y="4682702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257F9E0F-AB7C-4CBE-81E3-5F007F350D48}"/>
              </a:ext>
            </a:extLst>
          </p:cNvPr>
          <p:cNvSpPr/>
          <p:nvPr/>
        </p:nvSpPr>
        <p:spPr bwMode="auto">
          <a:xfrm>
            <a:off x="9536921" y="4682702"/>
            <a:ext cx="1559345" cy="1257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endParaRPr lang="en-US" altLang="zh-CN" sz="1000" dirty="0">
              <a:cs typeface="+mn-ea"/>
              <a:sym typeface="+mn-lt"/>
            </a:endParaRP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000" dirty="0">
                <a:cs typeface="+mn-ea"/>
                <a:sym typeface="+mn-lt"/>
              </a:rPr>
              <a:t>……</a:t>
            </a:r>
          </a:p>
        </p:txBody>
      </p:sp>
    </p:spTree>
    <p:extLst>
      <p:ext uri="{BB962C8B-B14F-4D97-AF65-F5344CB8AC3E}">
        <p14:creationId xmlns:p14="http://schemas.microsoft.com/office/powerpoint/2010/main" val="37534407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C4EE8AF-6BE0-4331-BA83-DEE590425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3EC40F8-7ED5-4703-8B59-65204BB9F3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E0D1BA5-1D17-4A28-B1E8-E2C22F3227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06257DCC-5440-4524-8B50-36706D68F453}"/>
              </a:ext>
            </a:extLst>
          </p:cNvPr>
          <p:cNvSpPr txBox="1"/>
          <p:nvPr/>
        </p:nvSpPr>
        <p:spPr>
          <a:xfrm>
            <a:off x="673099" y="2084856"/>
            <a:ext cx="5070476" cy="1866045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Unified </a:t>
            </a:r>
          </a:p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fonts make </a:t>
            </a:r>
          </a:p>
          <a:p>
            <a:pPr marL="0" marR="0" lvl="0" indent="0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reading more fluent.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4641708F-6DF9-4373-9906-F0ED83E3BF8F}"/>
              </a:ext>
            </a:extLst>
          </p:cNvPr>
          <p:cNvSpPr/>
          <p:nvPr/>
        </p:nvSpPr>
        <p:spPr bwMode="auto">
          <a:xfrm>
            <a:off x="673100" y="1731576"/>
            <a:ext cx="5070475" cy="35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 </a:t>
            </a: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A908BFA4-5DFC-496B-832B-8B725FDF4AE7}"/>
              </a:ext>
            </a:extLst>
          </p:cNvPr>
          <p:cNvSpPr txBox="1"/>
          <p:nvPr/>
        </p:nvSpPr>
        <p:spPr>
          <a:xfrm>
            <a:off x="673101" y="4304181"/>
            <a:ext cx="5070474" cy="104217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2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sp>
        <p:nvSpPr>
          <p:cNvPr id="115" name="直接连接符 114">
            <a:extLst>
              <a:ext uri="{FF2B5EF4-FFF2-40B4-BE49-F238E27FC236}">
                <a16:creationId xmlns:a16="http://schemas.microsoft.com/office/drawing/2014/main" id="{A45E77FA-6425-4E32-9202-26EDEAFECE24}"/>
              </a:ext>
            </a:extLst>
          </p:cNvPr>
          <p:cNvSpPr/>
          <p:nvPr/>
        </p:nvSpPr>
        <p:spPr>
          <a:xfrm>
            <a:off x="673100" y="4074196"/>
            <a:ext cx="1615714" cy="5"/>
          </a:xfrm>
          <a:prstGeom prst="line">
            <a:avLst/>
          </a:prstGeom>
          <a:noFill/>
          <a:ln w="25400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91440" tIns="45720" rIns="91440" bIns="45720" numCol="1" anchor="t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>
              <a:cs typeface="+mn-ea"/>
              <a:sym typeface="+mn-lt"/>
            </a:endParaRPr>
          </a:p>
        </p:txBody>
      </p:sp>
      <p:sp>
        <p:nvSpPr>
          <p:cNvPr id="116" name="直接连接符 115">
            <a:extLst>
              <a:ext uri="{FF2B5EF4-FFF2-40B4-BE49-F238E27FC236}">
                <a16:creationId xmlns:a16="http://schemas.microsoft.com/office/drawing/2014/main" id="{B7A4D882-940F-4C45-A9BB-02E16AE744B9}"/>
              </a:ext>
            </a:extLst>
          </p:cNvPr>
          <p:cNvSpPr/>
          <p:nvPr/>
        </p:nvSpPr>
        <p:spPr>
          <a:xfrm>
            <a:off x="673100" y="4093251"/>
            <a:ext cx="4460875" cy="0"/>
          </a:xfrm>
          <a:prstGeom prst="line">
            <a:avLst/>
          </a:prstGeom>
          <a:noFill/>
          <a:ln w="9525" cap="flat">
            <a:solidFill>
              <a:schemeClr val="accent1"/>
            </a:solidFill>
            <a:prstDash val="solid"/>
            <a:miter lim="800000"/>
          </a:ln>
          <a:effectLst/>
        </p:spPr>
        <p:txBody>
          <a:bodyPr wrap="square" lIns="91440" tIns="45720" rIns="91440" bIns="45720" numCol="1" anchor="t">
            <a:normAutofit fontScale="25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>
              <a:cs typeface="+mn-ea"/>
              <a:sym typeface="+mn-lt"/>
            </a:endParaRPr>
          </a:p>
        </p:txBody>
      </p:sp>
      <p:sp>
        <p:nvSpPr>
          <p:cNvPr id="113" name="椭圆 112">
            <a:extLst>
              <a:ext uri="{FF2B5EF4-FFF2-40B4-BE49-F238E27FC236}">
                <a16:creationId xmlns:a16="http://schemas.microsoft.com/office/drawing/2014/main" id="{5FCCF5BE-2209-4802-9712-C22FF355F021}"/>
              </a:ext>
            </a:extLst>
          </p:cNvPr>
          <p:cNvSpPr/>
          <p:nvPr/>
        </p:nvSpPr>
        <p:spPr>
          <a:xfrm>
            <a:off x="6936460" y="1511602"/>
            <a:ext cx="1160205" cy="1160205"/>
          </a:xfrm>
          <a:prstGeom prst="ellipse">
            <a:avLst/>
          </a:prstGeom>
          <a:noFill/>
          <a:ln w="317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400">
              <a:cs typeface="+mn-ea"/>
              <a:sym typeface="+mn-lt"/>
            </a:endParaRPr>
          </a:p>
        </p:txBody>
      </p:sp>
      <p:sp>
        <p:nvSpPr>
          <p:cNvPr id="114" name="任意多边形: 形状 113">
            <a:extLst>
              <a:ext uri="{FF2B5EF4-FFF2-40B4-BE49-F238E27FC236}">
                <a16:creationId xmlns:a16="http://schemas.microsoft.com/office/drawing/2014/main" id="{DF5F749A-C960-4844-A83A-C8AC4573D68D}"/>
              </a:ext>
            </a:extLst>
          </p:cNvPr>
          <p:cNvSpPr/>
          <p:nvPr/>
        </p:nvSpPr>
        <p:spPr bwMode="auto">
          <a:xfrm>
            <a:off x="7312057" y="1839041"/>
            <a:ext cx="409007" cy="505326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i="1">
              <a:cs typeface="+mn-ea"/>
              <a:sym typeface="+mn-lt"/>
            </a:endParaRPr>
          </a:p>
        </p:txBody>
      </p:sp>
      <p:sp>
        <p:nvSpPr>
          <p:cNvPr id="111" name="矩形 110">
            <a:extLst>
              <a:ext uri="{FF2B5EF4-FFF2-40B4-BE49-F238E27FC236}">
                <a16:creationId xmlns:a16="http://schemas.microsoft.com/office/drawing/2014/main" id="{96029B2C-46A0-45E5-BCCF-F6338701DE82}"/>
              </a:ext>
            </a:extLst>
          </p:cNvPr>
          <p:cNvSpPr/>
          <p:nvPr/>
        </p:nvSpPr>
        <p:spPr bwMode="auto">
          <a:xfrm>
            <a:off x="8239125" y="1988574"/>
            <a:ext cx="3279775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12" name="文本框 111">
            <a:extLst>
              <a:ext uri="{FF2B5EF4-FFF2-40B4-BE49-F238E27FC236}">
                <a16:creationId xmlns:a16="http://schemas.microsoft.com/office/drawing/2014/main" id="{1B483F25-8588-42F1-B33B-34514EFC1921}"/>
              </a:ext>
            </a:extLst>
          </p:cNvPr>
          <p:cNvSpPr txBox="1"/>
          <p:nvPr/>
        </p:nvSpPr>
        <p:spPr bwMode="auto">
          <a:xfrm>
            <a:off x="8239125" y="1637435"/>
            <a:ext cx="3279775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  <a:endParaRPr lang="zh-CN" altLang="en-US" sz="1800" b="1" dirty="0">
              <a:cs typeface="+mn-ea"/>
              <a:sym typeface="+mn-lt"/>
            </a:endParaRPr>
          </a:p>
        </p:txBody>
      </p:sp>
      <p:sp>
        <p:nvSpPr>
          <p:cNvPr id="109" name="椭圆 108">
            <a:extLst>
              <a:ext uri="{FF2B5EF4-FFF2-40B4-BE49-F238E27FC236}">
                <a16:creationId xmlns:a16="http://schemas.microsoft.com/office/drawing/2014/main" id="{38B428ED-8B6A-46BB-B6B6-3F10E23CAAAE}"/>
              </a:ext>
            </a:extLst>
          </p:cNvPr>
          <p:cNvSpPr/>
          <p:nvPr/>
        </p:nvSpPr>
        <p:spPr>
          <a:xfrm>
            <a:off x="6936460" y="3058448"/>
            <a:ext cx="1160205" cy="1160205"/>
          </a:xfrm>
          <a:prstGeom prst="ellipse">
            <a:avLst/>
          </a:prstGeom>
          <a:noFill/>
          <a:ln w="317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400">
              <a:cs typeface="+mn-ea"/>
              <a:sym typeface="+mn-lt"/>
            </a:endParaRPr>
          </a:p>
        </p:txBody>
      </p:sp>
      <p:sp>
        <p:nvSpPr>
          <p:cNvPr id="110" name="任意多边形: 形状 109">
            <a:extLst>
              <a:ext uri="{FF2B5EF4-FFF2-40B4-BE49-F238E27FC236}">
                <a16:creationId xmlns:a16="http://schemas.microsoft.com/office/drawing/2014/main" id="{CEDDF75A-BC7E-4106-9C12-ABB4C6642623}"/>
              </a:ext>
            </a:extLst>
          </p:cNvPr>
          <p:cNvSpPr/>
          <p:nvPr/>
        </p:nvSpPr>
        <p:spPr bwMode="auto">
          <a:xfrm>
            <a:off x="7280931" y="3385887"/>
            <a:ext cx="471259" cy="505326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i="1">
              <a:cs typeface="+mn-ea"/>
              <a:sym typeface="+mn-lt"/>
            </a:endParaRPr>
          </a:p>
        </p:txBody>
      </p:sp>
      <p:sp>
        <p:nvSpPr>
          <p:cNvPr id="107" name="矩形 106">
            <a:extLst>
              <a:ext uri="{FF2B5EF4-FFF2-40B4-BE49-F238E27FC236}">
                <a16:creationId xmlns:a16="http://schemas.microsoft.com/office/drawing/2014/main" id="{C8D7199E-A925-45EB-8EF7-0136073278B6}"/>
              </a:ext>
            </a:extLst>
          </p:cNvPr>
          <p:cNvSpPr/>
          <p:nvPr/>
        </p:nvSpPr>
        <p:spPr bwMode="auto">
          <a:xfrm>
            <a:off x="8239125" y="3535420"/>
            <a:ext cx="3279775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08" name="文本框 107">
            <a:extLst>
              <a:ext uri="{FF2B5EF4-FFF2-40B4-BE49-F238E27FC236}">
                <a16:creationId xmlns:a16="http://schemas.microsoft.com/office/drawing/2014/main" id="{6B53CD89-261B-42EC-AF49-B21BFB7F66EE}"/>
              </a:ext>
            </a:extLst>
          </p:cNvPr>
          <p:cNvSpPr txBox="1"/>
          <p:nvPr/>
        </p:nvSpPr>
        <p:spPr bwMode="auto">
          <a:xfrm>
            <a:off x="8239125" y="3184281"/>
            <a:ext cx="3279775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  <a:endParaRPr lang="zh-CN" altLang="en-US" sz="1800" b="1" dirty="0">
              <a:cs typeface="+mn-ea"/>
              <a:sym typeface="+mn-lt"/>
            </a:endParaRPr>
          </a:p>
        </p:txBody>
      </p:sp>
      <p:sp>
        <p:nvSpPr>
          <p:cNvPr id="105" name="椭圆 104">
            <a:extLst>
              <a:ext uri="{FF2B5EF4-FFF2-40B4-BE49-F238E27FC236}">
                <a16:creationId xmlns:a16="http://schemas.microsoft.com/office/drawing/2014/main" id="{DC5B3F36-D763-49B4-9E8C-CFEC8C869791}"/>
              </a:ext>
            </a:extLst>
          </p:cNvPr>
          <p:cNvSpPr/>
          <p:nvPr/>
        </p:nvSpPr>
        <p:spPr>
          <a:xfrm>
            <a:off x="6936460" y="4605293"/>
            <a:ext cx="1160205" cy="1160205"/>
          </a:xfrm>
          <a:prstGeom prst="ellipse">
            <a:avLst/>
          </a:prstGeom>
          <a:noFill/>
          <a:ln w="317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id-ID" sz="2400">
              <a:cs typeface="+mn-ea"/>
              <a:sym typeface="+mn-lt"/>
            </a:endParaRPr>
          </a:p>
        </p:txBody>
      </p:sp>
      <p:sp>
        <p:nvSpPr>
          <p:cNvPr id="106" name="任意多边形: 形状 105">
            <a:extLst>
              <a:ext uri="{FF2B5EF4-FFF2-40B4-BE49-F238E27FC236}">
                <a16:creationId xmlns:a16="http://schemas.microsoft.com/office/drawing/2014/main" id="{A98638E2-93A9-42D6-8D16-08F6B292E220}"/>
              </a:ext>
            </a:extLst>
          </p:cNvPr>
          <p:cNvSpPr/>
          <p:nvPr/>
        </p:nvSpPr>
        <p:spPr bwMode="auto">
          <a:xfrm>
            <a:off x="7263898" y="4934143"/>
            <a:ext cx="505326" cy="502503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  <a:ln>
            <a:noFill/>
          </a:ln>
          <a:effectLst/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i="1">
              <a:cs typeface="+mn-ea"/>
              <a:sym typeface="+mn-lt"/>
            </a:endParaRPr>
          </a:p>
        </p:txBody>
      </p:sp>
      <p:sp>
        <p:nvSpPr>
          <p:cNvPr id="103" name="矩形 102">
            <a:extLst>
              <a:ext uri="{FF2B5EF4-FFF2-40B4-BE49-F238E27FC236}">
                <a16:creationId xmlns:a16="http://schemas.microsoft.com/office/drawing/2014/main" id="{F92CB6DC-5781-4743-805B-5EF7B22897F1}"/>
              </a:ext>
            </a:extLst>
          </p:cNvPr>
          <p:cNvSpPr/>
          <p:nvPr/>
        </p:nvSpPr>
        <p:spPr bwMode="auto">
          <a:xfrm>
            <a:off x="8239125" y="5082265"/>
            <a:ext cx="3279775" cy="5573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….</a:t>
            </a:r>
          </a:p>
        </p:txBody>
      </p:sp>
      <p:sp>
        <p:nvSpPr>
          <p:cNvPr id="104" name="文本框 103">
            <a:extLst>
              <a:ext uri="{FF2B5EF4-FFF2-40B4-BE49-F238E27FC236}">
                <a16:creationId xmlns:a16="http://schemas.microsoft.com/office/drawing/2014/main" id="{C18A7EE9-7B1E-4DBE-BFFC-4D832A16F79C}"/>
              </a:ext>
            </a:extLst>
          </p:cNvPr>
          <p:cNvSpPr txBox="1"/>
          <p:nvPr/>
        </p:nvSpPr>
        <p:spPr bwMode="auto">
          <a:xfrm>
            <a:off x="8239125" y="4731126"/>
            <a:ext cx="3279775" cy="35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>
            <a:normAutofit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zh-CN" sz="1800" b="1" dirty="0">
                <a:cs typeface="+mn-ea"/>
                <a:sym typeface="+mn-lt"/>
              </a:rPr>
              <a:t>Text here</a:t>
            </a:r>
            <a:endParaRPr lang="zh-CN" altLang="en-US" sz="1800" b="1" dirty="0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490638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30C1184-3D0C-4EE3-AA04-B9B90D32CF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F5B9A43-4B6B-4A9F-885A-0AF9CB6B3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E8F2D0A-738B-41B9-B707-035FAA3C19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4558110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4925820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cxnSp>
        <p:nvCxnSpPr>
          <p:cNvPr id="70" name="直接连接符 69">
            <a:extLst>
              <a:ext uri="{FF2B5EF4-FFF2-40B4-BE49-F238E27FC236}">
                <a16:creationId xmlns:a16="http://schemas.microsoft.com/office/drawing/2014/main" id="{7C56DE99-EBA2-40AE-80C1-2B253E291EC5}"/>
              </a:ext>
            </a:extLst>
          </p:cNvPr>
          <p:cNvCxnSpPr/>
          <p:nvPr/>
        </p:nvCxnSpPr>
        <p:spPr>
          <a:xfrm>
            <a:off x="7087271" y="4925820"/>
            <a:ext cx="443162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矩形 64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2442218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2056662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cxnSp>
        <p:nvCxnSpPr>
          <p:cNvPr id="67" name="直接连接符 66">
            <a:extLst>
              <a:ext uri="{FF2B5EF4-FFF2-40B4-BE49-F238E27FC236}">
                <a16:creationId xmlns:a16="http://schemas.microsoft.com/office/drawing/2014/main" id="{83C8EA25-785D-43FD-B0E3-37280F889511}"/>
              </a:ext>
            </a:extLst>
          </p:cNvPr>
          <p:cNvCxnSpPr/>
          <p:nvPr/>
        </p:nvCxnSpPr>
        <p:spPr>
          <a:xfrm>
            <a:off x="7087271" y="2433295"/>
            <a:ext cx="443162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矩形 52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3684019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63" name="矩形 62">
            <a:extLst>
              <a:ext uri="{FF2B5EF4-FFF2-40B4-BE49-F238E27FC236}">
                <a16:creationId xmlns:a16="http://schemas.microsoft.com/office/drawing/2014/main" id="{87EB3514-D7F5-4C66-B77B-52D91FCE33B1}"/>
              </a:ext>
            </a:extLst>
          </p:cNvPr>
          <p:cNvSpPr/>
          <p:nvPr/>
        </p:nvSpPr>
        <p:spPr bwMode="auto">
          <a:xfrm>
            <a:off x="6985770" y="3316309"/>
            <a:ext cx="4533129" cy="36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cxnSp>
        <p:nvCxnSpPr>
          <p:cNvPr id="64" name="直接连接符 63">
            <a:extLst>
              <a:ext uri="{FF2B5EF4-FFF2-40B4-BE49-F238E27FC236}">
                <a16:creationId xmlns:a16="http://schemas.microsoft.com/office/drawing/2014/main" id="{4933F74E-36DD-49E1-B1BE-0D382F31CB6D}"/>
              </a:ext>
            </a:extLst>
          </p:cNvPr>
          <p:cNvCxnSpPr/>
          <p:nvPr/>
        </p:nvCxnSpPr>
        <p:spPr>
          <a:xfrm>
            <a:off x="7087271" y="3684019"/>
            <a:ext cx="4431625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文本框 45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>
            <a:off x="6407310" y="2195266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47" name="文本框 46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>
            <a:off x="6407310" y="3441529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48" name="文本框 47">
            <a:extLst>
              <a:ext uri="{FF2B5EF4-FFF2-40B4-BE49-F238E27FC236}">
                <a16:creationId xmlns:a16="http://schemas.microsoft.com/office/drawing/2014/main" id="{6FA8394A-C750-42B5-8172-8693CBBD3803}"/>
              </a:ext>
            </a:extLst>
          </p:cNvPr>
          <p:cNvSpPr txBox="1"/>
          <p:nvPr/>
        </p:nvSpPr>
        <p:spPr bwMode="auto">
          <a:xfrm>
            <a:off x="6407310" y="4687791"/>
            <a:ext cx="52770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2400" b="1" dirty="0">
                <a:solidFill>
                  <a:schemeClr val="accent1"/>
                </a:solidFill>
                <a:cs typeface="+mn-ea"/>
                <a:sym typeface="+mn-lt"/>
              </a:rPr>
              <a:t>03</a:t>
            </a:r>
          </a:p>
        </p:txBody>
      </p:sp>
      <p:grpSp>
        <p:nvGrpSpPr>
          <p:cNvPr id="50" name="组合 49">
            <a:extLst>
              <a:ext uri="{FF2B5EF4-FFF2-40B4-BE49-F238E27FC236}">
                <a16:creationId xmlns:a16="http://schemas.microsoft.com/office/drawing/2014/main" id="{D5B7038B-CA57-4E7C-BB7F-6260238A7401}"/>
              </a:ext>
            </a:extLst>
          </p:cNvPr>
          <p:cNvGrpSpPr/>
          <p:nvPr/>
        </p:nvGrpSpPr>
        <p:grpSpPr>
          <a:xfrm>
            <a:off x="673100" y="2656931"/>
            <a:ext cx="3992114" cy="1599181"/>
            <a:chOff x="673100" y="4547619"/>
            <a:chExt cx="4424001" cy="1599181"/>
          </a:xfrm>
        </p:grpSpPr>
        <p:sp>
          <p:nvSpPr>
            <p:cNvPr id="51" name="文本框 50">
              <a:extLst>
                <a:ext uri="{FF2B5EF4-FFF2-40B4-BE49-F238E27FC236}">
                  <a16:creationId xmlns:a16="http://schemas.microsoft.com/office/drawing/2014/main" id="{2383217E-16C0-490A-91FC-3BE1C6BB5CD8}"/>
                </a:ext>
              </a:extLst>
            </p:cNvPr>
            <p:cNvSpPr txBox="1"/>
            <p:nvPr/>
          </p:nvSpPr>
          <p:spPr>
            <a:xfrm>
              <a:off x="673100" y="4547619"/>
              <a:ext cx="4424001" cy="7770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buSzPct val="25000"/>
              </a:pPr>
              <a:r>
                <a:rPr lang="en-US" sz="2000" b="1" dirty="0">
                  <a:cs typeface="+mn-ea"/>
                  <a:sym typeface="+mn-lt"/>
                </a:rPr>
                <a:t>Unified fonts make</a:t>
              </a:r>
            </a:p>
            <a:p>
              <a:pPr>
                <a:buSzPct val="25000"/>
              </a:pPr>
              <a:r>
                <a:rPr lang="en-US" sz="2000" b="1" dirty="0">
                  <a:cs typeface="+mn-ea"/>
                  <a:sym typeface="+mn-lt"/>
                </a:rPr>
                <a:t>reading more fluent.</a:t>
              </a:r>
            </a:p>
          </p:txBody>
        </p:sp>
        <p:sp>
          <p:nvSpPr>
            <p:cNvPr id="52" name="文本框 51">
              <a:extLst>
                <a:ext uri="{FF2B5EF4-FFF2-40B4-BE49-F238E27FC236}">
                  <a16:creationId xmlns:a16="http://schemas.microsoft.com/office/drawing/2014/main" id="{60E7B3A5-46B6-4DBA-A5E4-858C46E75CB2}"/>
                </a:ext>
              </a:extLst>
            </p:cNvPr>
            <p:cNvSpPr txBox="1"/>
            <p:nvPr/>
          </p:nvSpPr>
          <p:spPr>
            <a:xfrm>
              <a:off x="673100" y="5324666"/>
              <a:ext cx="4424001" cy="82213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100" dirty="0">
                  <a:cs typeface="+mn-ea"/>
                  <a:sym typeface="+mn-lt"/>
                </a:rPr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100" dirty="0">
                  <a:cs typeface="+mn-ea"/>
                  <a:sym typeface="+mn-lt"/>
                </a:rPr>
                <a:t>Adjust the spacing to adapt to Chinese typesetting, use the reference line in PPT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013082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B864C97-986C-4729-A21A-795A521AC3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9925" y="3"/>
            <a:ext cx="10850563" cy="1028699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D399DC73-6BA3-4561-8DAD-4C5D7836A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64808CE-778C-4337-9CD5-221144819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32" name="组合 31">
            <a:extLst>
              <a:ext uri="{FF2B5EF4-FFF2-40B4-BE49-F238E27FC236}">
                <a16:creationId xmlns:a16="http://schemas.microsoft.com/office/drawing/2014/main" id="{04EA411D-B122-4095-AC94-545320C9C8B6}"/>
              </a:ext>
            </a:extLst>
          </p:cNvPr>
          <p:cNvGrpSpPr/>
          <p:nvPr/>
        </p:nvGrpSpPr>
        <p:grpSpPr>
          <a:xfrm>
            <a:off x="673103" y="2111933"/>
            <a:ext cx="2710980" cy="2111063"/>
            <a:chOff x="4814099" y="1314953"/>
            <a:chExt cx="3614497" cy="2814637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174" name="任意多边形: 形状 173">
              <a:extLst>
                <a:ext uri="{FF2B5EF4-FFF2-40B4-BE49-F238E27FC236}">
                  <a16:creationId xmlns:a16="http://schemas.microsoft.com/office/drawing/2014/main" id="{ECD4B30F-98BB-44E9-BECC-5085BC101F7C}"/>
                </a:ext>
              </a:extLst>
            </p:cNvPr>
            <p:cNvSpPr/>
            <p:nvPr/>
          </p:nvSpPr>
          <p:spPr bwMode="auto">
            <a:xfrm>
              <a:off x="7011491" y="1314953"/>
              <a:ext cx="246622" cy="199648"/>
            </a:xfrm>
            <a:custGeom>
              <a:avLst/>
              <a:gdLst>
                <a:gd name="T0" fmla="*/ 77 w 77"/>
                <a:gd name="T1" fmla="*/ 7 h 62"/>
                <a:gd name="T2" fmla="*/ 68 w 77"/>
                <a:gd name="T3" fmla="*/ 10 h 62"/>
                <a:gd name="T4" fmla="*/ 75 w 77"/>
                <a:gd name="T5" fmla="*/ 1 h 62"/>
                <a:gd name="T6" fmla="*/ 65 w 77"/>
                <a:gd name="T7" fmla="*/ 5 h 62"/>
                <a:gd name="T8" fmla="*/ 53 w 77"/>
                <a:gd name="T9" fmla="*/ 0 h 62"/>
                <a:gd name="T10" fmla="*/ 38 w 77"/>
                <a:gd name="T11" fmla="*/ 15 h 62"/>
                <a:gd name="T12" fmla="*/ 38 w 77"/>
                <a:gd name="T13" fmla="*/ 19 h 62"/>
                <a:gd name="T14" fmla="*/ 6 w 77"/>
                <a:gd name="T15" fmla="*/ 3 h 62"/>
                <a:gd name="T16" fmla="*/ 3 w 77"/>
                <a:gd name="T17" fmla="*/ 10 h 62"/>
                <a:gd name="T18" fmla="*/ 10 w 77"/>
                <a:gd name="T19" fmla="*/ 24 h 62"/>
                <a:gd name="T20" fmla="*/ 3 w 77"/>
                <a:gd name="T21" fmla="*/ 22 h 62"/>
                <a:gd name="T22" fmla="*/ 3 w 77"/>
                <a:gd name="T23" fmla="*/ 22 h 62"/>
                <a:gd name="T24" fmla="*/ 16 w 77"/>
                <a:gd name="T25" fmla="*/ 37 h 62"/>
                <a:gd name="T26" fmla="*/ 12 w 77"/>
                <a:gd name="T27" fmla="*/ 38 h 62"/>
                <a:gd name="T28" fmla="*/ 9 w 77"/>
                <a:gd name="T29" fmla="*/ 38 h 62"/>
                <a:gd name="T30" fmla="*/ 24 w 77"/>
                <a:gd name="T31" fmla="*/ 48 h 62"/>
                <a:gd name="T32" fmla="*/ 4 w 77"/>
                <a:gd name="T33" fmla="*/ 55 h 62"/>
                <a:gd name="T34" fmla="*/ 0 w 77"/>
                <a:gd name="T35" fmla="*/ 55 h 62"/>
                <a:gd name="T36" fmla="*/ 24 w 77"/>
                <a:gd name="T37" fmla="*/ 62 h 62"/>
                <a:gd name="T38" fmla="*/ 69 w 77"/>
                <a:gd name="T39" fmla="*/ 17 h 62"/>
                <a:gd name="T40" fmla="*/ 69 w 77"/>
                <a:gd name="T41" fmla="*/ 15 h 62"/>
                <a:gd name="T42" fmla="*/ 77 w 77"/>
                <a:gd name="T43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7" h="62">
                  <a:moveTo>
                    <a:pt x="77" y="7"/>
                  </a:moveTo>
                  <a:cubicBezTo>
                    <a:pt x="74" y="8"/>
                    <a:pt x="71" y="9"/>
                    <a:pt x="68" y="10"/>
                  </a:cubicBezTo>
                  <a:cubicBezTo>
                    <a:pt x="71" y="8"/>
                    <a:pt x="74" y="4"/>
                    <a:pt x="75" y="1"/>
                  </a:cubicBezTo>
                  <a:cubicBezTo>
                    <a:pt x="72" y="3"/>
                    <a:pt x="68" y="4"/>
                    <a:pt x="65" y="5"/>
                  </a:cubicBezTo>
                  <a:cubicBezTo>
                    <a:pt x="62" y="2"/>
                    <a:pt x="58" y="0"/>
                    <a:pt x="53" y="0"/>
                  </a:cubicBezTo>
                  <a:cubicBezTo>
                    <a:pt x="45" y="0"/>
                    <a:pt x="38" y="7"/>
                    <a:pt x="38" y="15"/>
                  </a:cubicBezTo>
                  <a:cubicBezTo>
                    <a:pt x="38" y="17"/>
                    <a:pt x="38" y="18"/>
                    <a:pt x="38" y="19"/>
                  </a:cubicBezTo>
                  <a:cubicBezTo>
                    <a:pt x="25" y="18"/>
                    <a:pt x="13" y="12"/>
                    <a:pt x="6" y="3"/>
                  </a:cubicBezTo>
                  <a:cubicBezTo>
                    <a:pt x="4" y="5"/>
                    <a:pt x="3" y="8"/>
                    <a:pt x="3" y="10"/>
                  </a:cubicBezTo>
                  <a:cubicBezTo>
                    <a:pt x="3" y="16"/>
                    <a:pt x="6" y="21"/>
                    <a:pt x="10" y="24"/>
                  </a:cubicBezTo>
                  <a:cubicBezTo>
                    <a:pt x="8" y="24"/>
                    <a:pt x="5" y="23"/>
                    <a:pt x="3" y="22"/>
                  </a:cubicBezTo>
                  <a:cubicBezTo>
                    <a:pt x="3" y="22"/>
                    <a:pt x="3" y="22"/>
                    <a:pt x="3" y="22"/>
                  </a:cubicBezTo>
                  <a:cubicBezTo>
                    <a:pt x="3" y="29"/>
                    <a:pt x="9" y="36"/>
                    <a:pt x="16" y="37"/>
                  </a:cubicBezTo>
                  <a:cubicBezTo>
                    <a:pt x="15" y="38"/>
                    <a:pt x="13" y="38"/>
                    <a:pt x="12" y="38"/>
                  </a:cubicBezTo>
                  <a:cubicBezTo>
                    <a:pt x="11" y="38"/>
                    <a:pt x="10" y="38"/>
                    <a:pt x="9" y="38"/>
                  </a:cubicBezTo>
                  <a:cubicBezTo>
                    <a:pt x="11" y="44"/>
                    <a:pt x="17" y="48"/>
                    <a:pt x="24" y="48"/>
                  </a:cubicBezTo>
                  <a:cubicBezTo>
                    <a:pt x="18" y="53"/>
                    <a:pt x="11" y="55"/>
                    <a:pt x="4" y="55"/>
                  </a:cubicBezTo>
                  <a:cubicBezTo>
                    <a:pt x="3" y="55"/>
                    <a:pt x="1" y="55"/>
                    <a:pt x="0" y="55"/>
                  </a:cubicBezTo>
                  <a:cubicBezTo>
                    <a:pt x="7" y="59"/>
                    <a:pt x="15" y="62"/>
                    <a:pt x="24" y="62"/>
                  </a:cubicBezTo>
                  <a:cubicBezTo>
                    <a:pt x="53" y="62"/>
                    <a:pt x="69" y="38"/>
                    <a:pt x="69" y="17"/>
                  </a:cubicBezTo>
                  <a:cubicBezTo>
                    <a:pt x="69" y="17"/>
                    <a:pt x="69" y="16"/>
                    <a:pt x="69" y="15"/>
                  </a:cubicBezTo>
                  <a:cubicBezTo>
                    <a:pt x="72" y="13"/>
                    <a:pt x="75" y="10"/>
                    <a:pt x="77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5" name="任意多边形: 形状 174">
              <a:extLst>
                <a:ext uri="{FF2B5EF4-FFF2-40B4-BE49-F238E27FC236}">
                  <a16:creationId xmlns:a16="http://schemas.microsoft.com/office/drawing/2014/main" id="{384FA765-18AA-4169-A2E8-4A6313076C16}"/>
                </a:ext>
              </a:extLst>
            </p:cNvPr>
            <p:cNvSpPr/>
            <p:nvPr/>
          </p:nvSpPr>
          <p:spPr bwMode="auto">
            <a:xfrm>
              <a:off x="7246370" y="2080267"/>
              <a:ext cx="246622" cy="246623"/>
            </a:xfrm>
            <a:custGeom>
              <a:avLst/>
              <a:gdLst>
                <a:gd name="T0" fmla="*/ 38 w 77"/>
                <a:gd name="T1" fmla="*/ 0 h 77"/>
                <a:gd name="T2" fmla="*/ 0 w 77"/>
                <a:gd name="T3" fmla="*/ 39 h 77"/>
                <a:gd name="T4" fmla="*/ 38 w 77"/>
                <a:gd name="T5" fmla="*/ 77 h 77"/>
                <a:gd name="T6" fmla="*/ 77 w 77"/>
                <a:gd name="T7" fmla="*/ 39 h 77"/>
                <a:gd name="T8" fmla="*/ 38 w 77"/>
                <a:gd name="T9" fmla="*/ 0 h 77"/>
                <a:gd name="T10" fmla="*/ 24 w 77"/>
                <a:gd name="T11" fmla="*/ 39 h 77"/>
                <a:gd name="T12" fmla="*/ 38 w 77"/>
                <a:gd name="T13" fmla="*/ 24 h 77"/>
                <a:gd name="T14" fmla="*/ 53 w 77"/>
                <a:gd name="T15" fmla="*/ 39 h 77"/>
                <a:gd name="T16" fmla="*/ 38 w 77"/>
                <a:gd name="T17" fmla="*/ 53 h 77"/>
                <a:gd name="T18" fmla="*/ 24 w 77"/>
                <a:gd name="T19" fmla="*/ 39 h 77"/>
                <a:gd name="T20" fmla="*/ 70 w 77"/>
                <a:gd name="T21" fmla="*/ 52 h 77"/>
                <a:gd name="T22" fmla="*/ 70 w 77"/>
                <a:gd name="T23" fmla="*/ 52 h 77"/>
                <a:gd name="T24" fmla="*/ 56 w 77"/>
                <a:gd name="T25" fmla="*/ 46 h 77"/>
                <a:gd name="T26" fmla="*/ 58 w 77"/>
                <a:gd name="T27" fmla="*/ 39 h 77"/>
                <a:gd name="T28" fmla="*/ 56 w 77"/>
                <a:gd name="T29" fmla="*/ 31 h 77"/>
                <a:gd name="T30" fmla="*/ 66 w 77"/>
                <a:gd name="T31" fmla="*/ 27 h 77"/>
                <a:gd name="T32" fmla="*/ 70 w 77"/>
                <a:gd name="T33" fmla="*/ 26 h 77"/>
                <a:gd name="T34" fmla="*/ 72 w 77"/>
                <a:gd name="T35" fmla="*/ 39 h 77"/>
                <a:gd name="T36" fmla="*/ 70 w 77"/>
                <a:gd name="T37" fmla="*/ 52 h 77"/>
                <a:gd name="T38" fmla="*/ 51 w 77"/>
                <a:gd name="T39" fmla="*/ 7 h 77"/>
                <a:gd name="T40" fmla="*/ 51 w 77"/>
                <a:gd name="T41" fmla="*/ 7 h 77"/>
                <a:gd name="T42" fmla="*/ 51 w 77"/>
                <a:gd name="T43" fmla="*/ 7 h 77"/>
                <a:gd name="T44" fmla="*/ 46 w 77"/>
                <a:gd name="T45" fmla="*/ 21 h 77"/>
                <a:gd name="T46" fmla="*/ 38 w 77"/>
                <a:gd name="T47" fmla="*/ 19 h 77"/>
                <a:gd name="T48" fmla="*/ 31 w 77"/>
                <a:gd name="T49" fmla="*/ 21 h 77"/>
                <a:gd name="T50" fmla="*/ 28 w 77"/>
                <a:gd name="T51" fmla="*/ 14 h 77"/>
                <a:gd name="T52" fmla="*/ 25 w 77"/>
                <a:gd name="T53" fmla="*/ 7 h 77"/>
                <a:gd name="T54" fmla="*/ 38 w 77"/>
                <a:gd name="T55" fmla="*/ 5 h 77"/>
                <a:gd name="T56" fmla="*/ 51 w 77"/>
                <a:gd name="T57" fmla="*/ 7 h 77"/>
                <a:gd name="T58" fmla="*/ 7 w 77"/>
                <a:gd name="T59" fmla="*/ 26 h 77"/>
                <a:gd name="T60" fmla="*/ 14 w 77"/>
                <a:gd name="T61" fmla="*/ 29 h 77"/>
                <a:gd name="T62" fmla="*/ 20 w 77"/>
                <a:gd name="T63" fmla="*/ 31 h 77"/>
                <a:gd name="T64" fmla="*/ 19 w 77"/>
                <a:gd name="T65" fmla="*/ 39 h 77"/>
                <a:gd name="T66" fmla="*/ 20 w 77"/>
                <a:gd name="T67" fmla="*/ 46 h 77"/>
                <a:gd name="T68" fmla="*/ 7 w 77"/>
                <a:gd name="T69" fmla="*/ 52 h 77"/>
                <a:gd name="T70" fmla="*/ 4 w 77"/>
                <a:gd name="T71" fmla="*/ 39 h 77"/>
                <a:gd name="T72" fmla="*/ 7 w 77"/>
                <a:gd name="T73" fmla="*/ 26 h 77"/>
                <a:gd name="T74" fmla="*/ 25 w 77"/>
                <a:gd name="T75" fmla="*/ 70 h 77"/>
                <a:gd name="T76" fmla="*/ 27 w 77"/>
                <a:gd name="T77" fmla="*/ 66 h 77"/>
                <a:gd name="T78" fmla="*/ 31 w 77"/>
                <a:gd name="T79" fmla="*/ 57 h 77"/>
                <a:gd name="T80" fmla="*/ 38 w 77"/>
                <a:gd name="T81" fmla="*/ 58 h 77"/>
                <a:gd name="T82" fmla="*/ 46 w 77"/>
                <a:gd name="T83" fmla="*/ 57 h 77"/>
                <a:gd name="T84" fmla="*/ 51 w 77"/>
                <a:gd name="T85" fmla="*/ 70 h 77"/>
                <a:gd name="T86" fmla="*/ 51 w 77"/>
                <a:gd name="T87" fmla="*/ 70 h 77"/>
                <a:gd name="T88" fmla="*/ 51 w 77"/>
                <a:gd name="T89" fmla="*/ 70 h 77"/>
                <a:gd name="T90" fmla="*/ 38 w 77"/>
                <a:gd name="T91" fmla="*/ 73 h 77"/>
                <a:gd name="T92" fmla="*/ 25 w 77"/>
                <a:gd name="T93" fmla="*/ 7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" h="77">
                  <a:moveTo>
                    <a:pt x="38" y="0"/>
                  </a:moveTo>
                  <a:cubicBezTo>
                    <a:pt x="17" y="0"/>
                    <a:pt x="0" y="17"/>
                    <a:pt x="0" y="39"/>
                  </a:cubicBezTo>
                  <a:cubicBezTo>
                    <a:pt x="0" y="60"/>
                    <a:pt x="17" y="77"/>
                    <a:pt x="38" y="77"/>
                  </a:cubicBezTo>
                  <a:cubicBezTo>
                    <a:pt x="60" y="77"/>
                    <a:pt x="77" y="60"/>
                    <a:pt x="77" y="39"/>
                  </a:cubicBezTo>
                  <a:cubicBezTo>
                    <a:pt x="77" y="17"/>
                    <a:pt x="60" y="0"/>
                    <a:pt x="38" y="0"/>
                  </a:cubicBezTo>
                  <a:close/>
                  <a:moveTo>
                    <a:pt x="24" y="39"/>
                  </a:moveTo>
                  <a:cubicBezTo>
                    <a:pt x="24" y="31"/>
                    <a:pt x="30" y="24"/>
                    <a:pt x="38" y="24"/>
                  </a:cubicBezTo>
                  <a:cubicBezTo>
                    <a:pt x="46" y="24"/>
                    <a:pt x="53" y="31"/>
                    <a:pt x="53" y="39"/>
                  </a:cubicBezTo>
                  <a:cubicBezTo>
                    <a:pt x="53" y="47"/>
                    <a:pt x="46" y="53"/>
                    <a:pt x="38" y="53"/>
                  </a:cubicBezTo>
                  <a:cubicBezTo>
                    <a:pt x="30" y="53"/>
                    <a:pt x="24" y="47"/>
                    <a:pt x="24" y="39"/>
                  </a:cubicBezTo>
                  <a:close/>
                  <a:moveTo>
                    <a:pt x="70" y="52"/>
                  </a:moveTo>
                  <a:cubicBezTo>
                    <a:pt x="70" y="52"/>
                    <a:pt x="70" y="52"/>
                    <a:pt x="70" y="52"/>
                  </a:cubicBezTo>
                  <a:cubicBezTo>
                    <a:pt x="56" y="46"/>
                    <a:pt x="56" y="46"/>
                    <a:pt x="56" y="46"/>
                  </a:cubicBezTo>
                  <a:cubicBezTo>
                    <a:pt x="57" y="44"/>
                    <a:pt x="58" y="41"/>
                    <a:pt x="58" y="39"/>
                  </a:cubicBezTo>
                  <a:cubicBezTo>
                    <a:pt x="58" y="36"/>
                    <a:pt x="57" y="34"/>
                    <a:pt x="56" y="31"/>
                  </a:cubicBezTo>
                  <a:cubicBezTo>
                    <a:pt x="66" y="27"/>
                    <a:pt x="66" y="27"/>
                    <a:pt x="66" y="27"/>
                  </a:cubicBezTo>
                  <a:cubicBezTo>
                    <a:pt x="70" y="26"/>
                    <a:pt x="70" y="26"/>
                    <a:pt x="70" y="26"/>
                  </a:cubicBezTo>
                  <a:cubicBezTo>
                    <a:pt x="71" y="30"/>
                    <a:pt x="72" y="34"/>
                    <a:pt x="72" y="39"/>
                  </a:cubicBezTo>
                  <a:cubicBezTo>
                    <a:pt x="72" y="43"/>
                    <a:pt x="71" y="48"/>
                    <a:pt x="70" y="52"/>
                  </a:cubicBezTo>
                  <a:close/>
                  <a:moveTo>
                    <a:pt x="51" y="7"/>
                  </a:moveTo>
                  <a:cubicBezTo>
                    <a:pt x="51" y="7"/>
                    <a:pt x="51" y="7"/>
                    <a:pt x="51" y="7"/>
                  </a:cubicBezTo>
                  <a:cubicBezTo>
                    <a:pt x="51" y="7"/>
                    <a:pt x="51" y="7"/>
                    <a:pt x="51" y="7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3" y="20"/>
                    <a:pt x="41" y="19"/>
                    <a:pt x="38" y="19"/>
                  </a:cubicBezTo>
                  <a:cubicBezTo>
                    <a:pt x="36" y="19"/>
                    <a:pt x="33" y="20"/>
                    <a:pt x="31" y="21"/>
                  </a:cubicBezTo>
                  <a:cubicBezTo>
                    <a:pt x="28" y="14"/>
                    <a:pt x="28" y="14"/>
                    <a:pt x="28" y="14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29" y="6"/>
                    <a:pt x="34" y="5"/>
                    <a:pt x="38" y="5"/>
                  </a:cubicBezTo>
                  <a:cubicBezTo>
                    <a:pt x="43" y="5"/>
                    <a:pt x="47" y="6"/>
                    <a:pt x="51" y="7"/>
                  </a:cubicBezTo>
                  <a:close/>
                  <a:moveTo>
                    <a:pt x="7" y="26"/>
                  </a:moveTo>
                  <a:cubicBezTo>
                    <a:pt x="14" y="29"/>
                    <a:pt x="14" y="29"/>
                    <a:pt x="14" y="29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19" y="34"/>
                    <a:pt x="19" y="36"/>
                    <a:pt x="19" y="39"/>
                  </a:cubicBezTo>
                  <a:cubicBezTo>
                    <a:pt x="19" y="41"/>
                    <a:pt x="19" y="44"/>
                    <a:pt x="20" y="46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5" y="48"/>
                    <a:pt x="4" y="43"/>
                    <a:pt x="4" y="39"/>
                  </a:cubicBezTo>
                  <a:cubicBezTo>
                    <a:pt x="4" y="34"/>
                    <a:pt x="5" y="30"/>
                    <a:pt x="7" y="26"/>
                  </a:cubicBezTo>
                  <a:close/>
                  <a:moveTo>
                    <a:pt x="25" y="70"/>
                  </a:moveTo>
                  <a:cubicBezTo>
                    <a:pt x="27" y="66"/>
                    <a:pt x="27" y="66"/>
                    <a:pt x="27" y="66"/>
                  </a:cubicBezTo>
                  <a:cubicBezTo>
                    <a:pt x="31" y="57"/>
                    <a:pt x="31" y="57"/>
                    <a:pt x="31" y="57"/>
                  </a:cubicBezTo>
                  <a:cubicBezTo>
                    <a:pt x="33" y="58"/>
                    <a:pt x="36" y="58"/>
                    <a:pt x="38" y="58"/>
                  </a:cubicBezTo>
                  <a:cubicBezTo>
                    <a:pt x="41" y="58"/>
                    <a:pt x="43" y="58"/>
                    <a:pt x="46" y="57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51" y="70"/>
                    <a:pt x="51" y="70"/>
                    <a:pt x="51" y="70"/>
                  </a:cubicBezTo>
                  <a:cubicBezTo>
                    <a:pt x="47" y="72"/>
                    <a:pt x="43" y="73"/>
                    <a:pt x="38" y="73"/>
                  </a:cubicBezTo>
                  <a:cubicBezTo>
                    <a:pt x="34" y="73"/>
                    <a:pt x="29" y="72"/>
                    <a:pt x="25" y="7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6" name="任意多边形: 形状 175">
              <a:extLst>
                <a:ext uri="{FF2B5EF4-FFF2-40B4-BE49-F238E27FC236}">
                  <a16:creationId xmlns:a16="http://schemas.microsoft.com/office/drawing/2014/main" id="{24A13238-5750-478D-9F5A-3C7BD218DB44}"/>
                </a:ext>
              </a:extLst>
            </p:cNvPr>
            <p:cNvSpPr/>
            <p:nvPr/>
          </p:nvSpPr>
          <p:spPr bwMode="auto">
            <a:xfrm>
              <a:off x="6616112" y="2281873"/>
              <a:ext cx="211390" cy="172245"/>
            </a:xfrm>
            <a:custGeom>
              <a:avLst/>
              <a:gdLst>
                <a:gd name="T0" fmla="*/ 66 w 66"/>
                <a:gd name="T1" fmla="*/ 29 h 54"/>
                <a:gd name="T2" fmla="*/ 58 w 66"/>
                <a:gd name="T3" fmla="*/ 13 h 54"/>
                <a:gd name="T4" fmla="*/ 46 w 66"/>
                <a:gd name="T5" fmla="*/ 13 h 54"/>
                <a:gd name="T6" fmla="*/ 46 w 66"/>
                <a:gd name="T7" fmla="*/ 4 h 54"/>
                <a:gd name="T8" fmla="*/ 42 w 66"/>
                <a:gd name="T9" fmla="*/ 0 h 54"/>
                <a:gd name="T10" fmla="*/ 4 w 66"/>
                <a:gd name="T11" fmla="*/ 0 h 54"/>
                <a:gd name="T12" fmla="*/ 0 w 66"/>
                <a:gd name="T13" fmla="*/ 4 h 54"/>
                <a:gd name="T14" fmla="*/ 0 w 66"/>
                <a:gd name="T15" fmla="*/ 37 h 54"/>
                <a:gd name="T16" fmla="*/ 4 w 66"/>
                <a:gd name="T17" fmla="*/ 41 h 54"/>
                <a:gd name="T18" fmla="*/ 10 w 66"/>
                <a:gd name="T19" fmla="*/ 41 h 54"/>
                <a:gd name="T20" fmla="*/ 9 w 66"/>
                <a:gd name="T21" fmla="*/ 46 h 54"/>
                <a:gd name="T22" fmla="*/ 17 w 66"/>
                <a:gd name="T23" fmla="*/ 54 h 54"/>
                <a:gd name="T24" fmla="*/ 25 w 66"/>
                <a:gd name="T25" fmla="*/ 46 h 54"/>
                <a:gd name="T26" fmla="*/ 24 w 66"/>
                <a:gd name="T27" fmla="*/ 41 h 54"/>
                <a:gd name="T28" fmla="*/ 47 w 66"/>
                <a:gd name="T29" fmla="*/ 41 h 54"/>
                <a:gd name="T30" fmla="*/ 46 w 66"/>
                <a:gd name="T31" fmla="*/ 46 h 54"/>
                <a:gd name="T32" fmla="*/ 54 w 66"/>
                <a:gd name="T33" fmla="*/ 54 h 54"/>
                <a:gd name="T34" fmla="*/ 62 w 66"/>
                <a:gd name="T35" fmla="*/ 46 h 54"/>
                <a:gd name="T36" fmla="*/ 61 w 66"/>
                <a:gd name="T37" fmla="*/ 41 h 54"/>
                <a:gd name="T38" fmla="*/ 66 w 66"/>
                <a:gd name="T39" fmla="*/ 41 h 54"/>
                <a:gd name="T40" fmla="*/ 66 w 66"/>
                <a:gd name="T41" fmla="*/ 29 h 54"/>
                <a:gd name="T42" fmla="*/ 46 w 66"/>
                <a:gd name="T43" fmla="*/ 29 h 54"/>
                <a:gd name="T44" fmla="*/ 46 w 66"/>
                <a:gd name="T45" fmla="*/ 19 h 54"/>
                <a:gd name="T46" fmla="*/ 54 w 66"/>
                <a:gd name="T47" fmla="*/ 19 h 54"/>
                <a:gd name="T48" fmla="*/ 59 w 66"/>
                <a:gd name="T49" fmla="*/ 29 h 54"/>
                <a:gd name="T50" fmla="*/ 46 w 66"/>
                <a:gd name="T51" fmla="*/ 29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4">
                  <a:moveTo>
                    <a:pt x="66" y="29"/>
                  </a:moveTo>
                  <a:cubicBezTo>
                    <a:pt x="58" y="13"/>
                    <a:pt x="58" y="13"/>
                    <a:pt x="58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46" y="2"/>
                    <a:pt x="44" y="0"/>
                    <a:pt x="4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4" y="41"/>
                    <a:pt x="4" y="41"/>
                    <a:pt x="4" y="41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9" y="43"/>
                    <a:pt x="9" y="44"/>
                    <a:pt x="9" y="46"/>
                  </a:cubicBezTo>
                  <a:cubicBezTo>
                    <a:pt x="9" y="50"/>
                    <a:pt x="12" y="54"/>
                    <a:pt x="17" y="54"/>
                  </a:cubicBezTo>
                  <a:cubicBezTo>
                    <a:pt x="21" y="54"/>
                    <a:pt x="25" y="50"/>
                    <a:pt x="25" y="46"/>
                  </a:cubicBezTo>
                  <a:cubicBezTo>
                    <a:pt x="25" y="44"/>
                    <a:pt x="25" y="43"/>
                    <a:pt x="24" y="41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6" y="43"/>
                    <a:pt x="46" y="44"/>
                    <a:pt x="46" y="46"/>
                  </a:cubicBezTo>
                  <a:cubicBezTo>
                    <a:pt x="46" y="50"/>
                    <a:pt x="49" y="54"/>
                    <a:pt x="54" y="54"/>
                  </a:cubicBezTo>
                  <a:cubicBezTo>
                    <a:pt x="59" y="54"/>
                    <a:pt x="62" y="50"/>
                    <a:pt x="62" y="46"/>
                  </a:cubicBezTo>
                  <a:cubicBezTo>
                    <a:pt x="62" y="44"/>
                    <a:pt x="62" y="43"/>
                    <a:pt x="61" y="41"/>
                  </a:cubicBezTo>
                  <a:cubicBezTo>
                    <a:pt x="66" y="41"/>
                    <a:pt x="66" y="41"/>
                    <a:pt x="66" y="41"/>
                  </a:cubicBezTo>
                  <a:lnTo>
                    <a:pt x="66" y="29"/>
                  </a:lnTo>
                  <a:close/>
                  <a:moveTo>
                    <a:pt x="46" y="29"/>
                  </a:moveTo>
                  <a:cubicBezTo>
                    <a:pt x="46" y="19"/>
                    <a:pt x="46" y="19"/>
                    <a:pt x="46" y="19"/>
                  </a:cubicBezTo>
                  <a:cubicBezTo>
                    <a:pt x="54" y="19"/>
                    <a:pt x="54" y="19"/>
                    <a:pt x="54" y="19"/>
                  </a:cubicBezTo>
                  <a:cubicBezTo>
                    <a:pt x="59" y="29"/>
                    <a:pt x="59" y="29"/>
                    <a:pt x="59" y="29"/>
                  </a:cubicBezTo>
                  <a:lnTo>
                    <a:pt x="46" y="2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7" name="任意多边形: 形状 176">
              <a:extLst>
                <a:ext uri="{FF2B5EF4-FFF2-40B4-BE49-F238E27FC236}">
                  <a16:creationId xmlns:a16="http://schemas.microsoft.com/office/drawing/2014/main" id="{37C99A45-A699-4741-999E-4F223D26B8C1}"/>
                </a:ext>
              </a:extLst>
            </p:cNvPr>
            <p:cNvSpPr/>
            <p:nvPr/>
          </p:nvSpPr>
          <p:spPr bwMode="auto">
            <a:xfrm>
              <a:off x="6242261" y="1630081"/>
              <a:ext cx="211390" cy="183988"/>
            </a:xfrm>
            <a:custGeom>
              <a:avLst/>
              <a:gdLst>
                <a:gd name="T0" fmla="*/ 66 w 66"/>
                <a:gd name="T1" fmla="*/ 19 h 58"/>
                <a:gd name="T2" fmla="*/ 47 w 66"/>
                <a:gd name="T3" fmla="*/ 0 h 58"/>
                <a:gd name="T4" fmla="*/ 33 w 66"/>
                <a:gd name="T5" fmla="*/ 6 h 58"/>
                <a:gd name="T6" fmla="*/ 19 w 66"/>
                <a:gd name="T7" fmla="*/ 0 h 58"/>
                <a:gd name="T8" fmla="*/ 0 w 66"/>
                <a:gd name="T9" fmla="*/ 19 h 58"/>
                <a:gd name="T10" fmla="*/ 6 w 66"/>
                <a:gd name="T11" fmla="*/ 33 h 58"/>
                <a:gd name="T12" fmla="*/ 6 w 66"/>
                <a:gd name="T13" fmla="*/ 33 h 58"/>
                <a:gd name="T14" fmla="*/ 26 w 66"/>
                <a:gd name="T15" fmla="*/ 54 h 58"/>
                <a:gd name="T16" fmla="*/ 33 w 66"/>
                <a:gd name="T17" fmla="*/ 58 h 58"/>
                <a:gd name="T18" fmla="*/ 39 w 66"/>
                <a:gd name="T19" fmla="*/ 54 h 58"/>
                <a:gd name="T20" fmla="*/ 59 w 66"/>
                <a:gd name="T21" fmla="*/ 33 h 58"/>
                <a:gd name="T22" fmla="*/ 59 w 66"/>
                <a:gd name="T23" fmla="*/ 33 h 58"/>
                <a:gd name="T24" fmla="*/ 66 w 66"/>
                <a:gd name="T25" fmla="*/ 19 h 58"/>
                <a:gd name="T26" fmla="*/ 54 w 66"/>
                <a:gd name="T27" fmla="*/ 27 h 58"/>
                <a:gd name="T28" fmla="*/ 33 w 66"/>
                <a:gd name="T29" fmla="*/ 48 h 58"/>
                <a:gd name="T30" fmla="*/ 33 w 66"/>
                <a:gd name="T31" fmla="*/ 48 h 58"/>
                <a:gd name="T32" fmla="*/ 32 w 66"/>
                <a:gd name="T33" fmla="*/ 48 h 58"/>
                <a:gd name="T34" fmla="*/ 11 w 66"/>
                <a:gd name="T35" fmla="*/ 27 h 58"/>
                <a:gd name="T36" fmla="*/ 8 w 66"/>
                <a:gd name="T37" fmla="*/ 19 h 58"/>
                <a:gd name="T38" fmla="*/ 19 w 66"/>
                <a:gd name="T39" fmla="*/ 8 h 58"/>
                <a:gd name="T40" fmla="*/ 27 w 66"/>
                <a:gd name="T41" fmla="*/ 12 h 58"/>
                <a:gd name="T42" fmla="*/ 33 w 66"/>
                <a:gd name="T43" fmla="*/ 19 h 58"/>
                <a:gd name="T44" fmla="*/ 39 w 66"/>
                <a:gd name="T45" fmla="*/ 12 h 58"/>
                <a:gd name="T46" fmla="*/ 47 w 66"/>
                <a:gd name="T47" fmla="*/ 8 h 58"/>
                <a:gd name="T48" fmla="*/ 57 w 66"/>
                <a:gd name="T49" fmla="*/ 19 h 58"/>
                <a:gd name="T50" fmla="*/ 54 w 66"/>
                <a:gd name="T51" fmla="*/ 2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6" h="58">
                  <a:moveTo>
                    <a:pt x="66" y="19"/>
                  </a:moveTo>
                  <a:cubicBezTo>
                    <a:pt x="66" y="9"/>
                    <a:pt x="57" y="0"/>
                    <a:pt x="47" y="0"/>
                  </a:cubicBezTo>
                  <a:cubicBezTo>
                    <a:pt x="41" y="0"/>
                    <a:pt x="36" y="3"/>
                    <a:pt x="33" y="6"/>
                  </a:cubicBezTo>
                  <a:cubicBezTo>
                    <a:pt x="29" y="3"/>
                    <a:pt x="24" y="0"/>
                    <a:pt x="19" y="0"/>
                  </a:cubicBezTo>
                  <a:cubicBezTo>
                    <a:pt x="8" y="0"/>
                    <a:pt x="0" y="9"/>
                    <a:pt x="0" y="19"/>
                  </a:cubicBezTo>
                  <a:cubicBezTo>
                    <a:pt x="0" y="25"/>
                    <a:pt x="2" y="30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6" y="54"/>
                    <a:pt x="26" y="54"/>
                    <a:pt x="26" y="54"/>
                  </a:cubicBezTo>
                  <a:cubicBezTo>
                    <a:pt x="28" y="56"/>
                    <a:pt x="31" y="58"/>
                    <a:pt x="33" y="58"/>
                  </a:cubicBezTo>
                  <a:cubicBezTo>
                    <a:pt x="35" y="58"/>
                    <a:pt x="37" y="56"/>
                    <a:pt x="39" y="54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3" y="30"/>
                    <a:pt x="66" y="25"/>
                    <a:pt x="66" y="19"/>
                  </a:cubicBezTo>
                  <a:close/>
                  <a:moveTo>
                    <a:pt x="54" y="27"/>
                  </a:moveTo>
                  <a:cubicBezTo>
                    <a:pt x="33" y="48"/>
                    <a:pt x="33" y="48"/>
                    <a:pt x="33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5"/>
                    <a:pt x="8" y="22"/>
                    <a:pt x="8" y="19"/>
                  </a:cubicBezTo>
                  <a:cubicBezTo>
                    <a:pt x="8" y="13"/>
                    <a:pt x="13" y="8"/>
                    <a:pt x="19" y="8"/>
                  </a:cubicBezTo>
                  <a:cubicBezTo>
                    <a:pt x="22" y="8"/>
                    <a:pt x="24" y="10"/>
                    <a:pt x="27" y="12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41" y="10"/>
                    <a:pt x="44" y="8"/>
                    <a:pt x="47" y="8"/>
                  </a:cubicBezTo>
                  <a:cubicBezTo>
                    <a:pt x="53" y="8"/>
                    <a:pt x="57" y="13"/>
                    <a:pt x="57" y="19"/>
                  </a:cubicBezTo>
                  <a:cubicBezTo>
                    <a:pt x="57" y="22"/>
                    <a:pt x="56" y="25"/>
                    <a:pt x="54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8" name="任意多边形: 形状 177">
              <a:extLst>
                <a:ext uri="{FF2B5EF4-FFF2-40B4-BE49-F238E27FC236}">
                  <a16:creationId xmlns:a16="http://schemas.microsoft.com/office/drawing/2014/main" id="{92EB8180-80E6-4589-9FBA-3868E462C7CF}"/>
                </a:ext>
              </a:extLst>
            </p:cNvPr>
            <p:cNvSpPr/>
            <p:nvPr/>
          </p:nvSpPr>
          <p:spPr bwMode="auto">
            <a:xfrm>
              <a:off x="5806080" y="1515561"/>
              <a:ext cx="197691" cy="191818"/>
            </a:xfrm>
            <a:custGeom>
              <a:avLst/>
              <a:gdLst>
                <a:gd name="T0" fmla="*/ 39 w 62"/>
                <a:gd name="T1" fmla="*/ 42 h 60"/>
                <a:gd name="T2" fmla="*/ 37 w 62"/>
                <a:gd name="T3" fmla="*/ 38 h 60"/>
                <a:gd name="T4" fmla="*/ 43 w 62"/>
                <a:gd name="T5" fmla="*/ 27 h 60"/>
                <a:gd name="T6" fmla="*/ 44 w 62"/>
                <a:gd name="T7" fmla="*/ 19 h 60"/>
                <a:gd name="T8" fmla="*/ 31 w 62"/>
                <a:gd name="T9" fmla="*/ 0 h 60"/>
                <a:gd name="T10" fmla="*/ 18 w 62"/>
                <a:gd name="T11" fmla="*/ 19 h 60"/>
                <a:gd name="T12" fmla="*/ 20 w 62"/>
                <a:gd name="T13" fmla="*/ 27 h 60"/>
                <a:gd name="T14" fmla="*/ 25 w 62"/>
                <a:gd name="T15" fmla="*/ 38 h 60"/>
                <a:gd name="T16" fmla="*/ 23 w 62"/>
                <a:gd name="T17" fmla="*/ 42 h 60"/>
                <a:gd name="T18" fmla="*/ 0 w 62"/>
                <a:gd name="T19" fmla="*/ 60 h 60"/>
                <a:gd name="T20" fmla="*/ 31 w 62"/>
                <a:gd name="T21" fmla="*/ 60 h 60"/>
                <a:gd name="T22" fmla="*/ 62 w 62"/>
                <a:gd name="T23" fmla="*/ 60 h 60"/>
                <a:gd name="T24" fmla="*/ 39 w 62"/>
                <a:gd name="T25" fmla="*/ 4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60">
                  <a:moveTo>
                    <a:pt x="39" y="42"/>
                  </a:moveTo>
                  <a:cubicBezTo>
                    <a:pt x="37" y="42"/>
                    <a:pt x="37" y="38"/>
                    <a:pt x="37" y="38"/>
                  </a:cubicBezTo>
                  <a:cubicBezTo>
                    <a:pt x="37" y="38"/>
                    <a:pt x="42" y="33"/>
                    <a:pt x="43" y="27"/>
                  </a:cubicBezTo>
                  <a:cubicBezTo>
                    <a:pt x="45" y="27"/>
                    <a:pt x="47" y="21"/>
                    <a:pt x="44" y="19"/>
                  </a:cubicBezTo>
                  <a:cubicBezTo>
                    <a:pt x="44" y="16"/>
                    <a:pt x="48" y="0"/>
                    <a:pt x="31" y="0"/>
                  </a:cubicBezTo>
                  <a:cubicBezTo>
                    <a:pt x="15" y="0"/>
                    <a:pt x="18" y="16"/>
                    <a:pt x="18" y="19"/>
                  </a:cubicBezTo>
                  <a:cubicBezTo>
                    <a:pt x="15" y="21"/>
                    <a:pt x="17" y="27"/>
                    <a:pt x="20" y="27"/>
                  </a:cubicBezTo>
                  <a:cubicBezTo>
                    <a:pt x="21" y="33"/>
                    <a:pt x="25" y="38"/>
                    <a:pt x="25" y="38"/>
                  </a:cubicBezTo>
                  <a:cubicBezTo>
                    <a:pt x="25" y="38"/>
                    <a:pt x="25" y="42"/>
                    <a:pt x="23" y="42"/>
                  </a:cubicBezTo>
                  <a:cubicBezTo>
                    <a:pt x="19" y="43"/>
                    <a:pt x="0" y="51"/>
                    <a:pt x="0" y="60"/>
                  </a:cubicBezTo>
                  <a:cubicBezTo>
                    <a:pt x="31" y="60"/>
                    <a:pt x="31" y="60"/>
                    <a:pt x="31" y="60"/>
                  </a:cubicBezTo>
                  <a:cubicBezTo>
                    <a:pt x="62" y="60"/>
                    <a:pt x="62" y="60"/>
                    <a:pt x="62" y="60"/>
                  </a:cubicBezTo>
                  <a:cubicBezTo>
                    <a:pt x="62" y="51"/>
                    <a:pt x="44" y="43"/>
                    <a:pt x="39" y="4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9" name="任意多边形: 形状 178">
              <a:extLst>
                <a:ext uri="{FF2B5EF4-FFF2-40B4-BE49-F238E27FC236}">
                  <a16:creationId xmlns:a16="http://schemas.microsoft.com/office/drawing/2014/main" id="{8258F9BA-4F5E-458C-A677-68DFA99C5971}"/>
                </a:ext>
              </a:extLst>
            </p:cNvPr>
            <p:cNvSpPr/>
            <p:nvPr/>
          </p:nvSpPr>
          <p:spPr bwMode="auto">
            <a:xfrm>
              <a:off x="6771079" y="1745565"/>
              <a:ext cx="150715" cy="150714"/>
            </a:xfrm>
            <a:custGeom>
              <a:avLst/>
              <a:gdLst>
                <a:gd name="T0" fmla="*/ 3 w 47"/>
                <a:gd name="T1" fmla="*/ 0 h 47"/>
                <a:gd name="T2" fmla="*/ 21 w 47"/>
                <a:gd name="T3" fmla="*/ 0 h 47"/>
                <a:gd name="T4" fmla="*/ 21 w 47"/>
                <a:gd name="T5" fmla="*/ 3 h 47"/>
                <a:gd name="T6" fmla="*/ 3 w 47"/>
                <a:gd name="T7" fmla="*/ 3 h 47"/>
                <a:gd name="T8" fmla="*/ 3 w 47"/>
                <a:gd name="T9" fmla="*/ 0 h 47"/>
                <a:gd name="T10" fmla="*/ 26 w 47"/>
                <a:gd name="T11" fmla="*/ 0 h 47"/>
                <a:gd name="T12" fmla="*/ 44 w 47"/>
                <a:gd name="T13" fmla="*/ 0 h 47"/>
                <a:gd name="T14" fmla="*/ 44 w 47"/>
                <a:gd name="T15" fmla="*/ 3 h 47"/>
                <a:gd name="T16" fmla="*/ 26 w 47"/>
                <a:gd name="T17" fmla="*/ 3 h 47"/>
                <a:gd name="T18" fmla="*/ 26 w 47"/>
                <a:gd name="T19" fmla="*/ 0 h 47"/>
                <a:gd name="T20" fmla="*/ 43 w 47"/>
                <a:gd name="T21" fmla="*/ 15 h 47"/>
                <a:gd name="T22" fmla="*/ 41 w 47"/>
                <a:gd name="T23" fmla="*/ 15 h 47"/>
                <a:gd name="T24" fmla="*/ 41 w 47"/>
                <a:gd name="T25" fmla="*/ 3 h 47"/>
                <a:gd name="T26" fmla="*/ 29 w 47"/>
                <a:gd name="T27" fmla="*/ 3 h 47"/>
                <a:gd name="T28" fmla="*/ 29 w 47"/>
                <a:gd name="T29" fmla="*/ 15 h 47"/>
                <a:gd name="T30" fmla="*/ 18 w 47"/>
                <a:gd name="T31" fmla="*/ 15 h 47"/>
                <a:gd name="T32" fmla="*/ 18 w 47"/>
                <a:gd name="T33" fmla="*/ 3 h 47"/>
                <a:gd name="T34" fmla="*/ 6 w 47"/>
                <a:gd name="T35" fmla="*/ 3 h 47"/>
                <a:gd name="T36" fmla="*/ 6 w 47"/>
                <a:gd name="T37" fmla="*/ 15 h 47"/>
                <a:gd name="T38" fmla="*/ 4 w 47"/>
                <a:gd name="T39" fmla="*/ 15 h 47"/>
                <a:gd name="T40" fmla="*/ 0 w 47"/>
                <a:gd name="T41" fmla="*/ 18 h 47"/>
                <a:gd name="T42" fmla="*/ 0 w 47"/>
                <a:gd name="T43" fmla="*/ 44 h 47"/>
                <a:gd name="T44" fmla="*/ 4 w 47"/>
                <a:gd name="T45" fmla="*/ 47 h 47"/>
                <a:gd name="T46" fmla="*/ 17 w 47"/>
                <a:gd name="T47" fmla="*/ 47 h 47"/>
                <a:gd name="T48" fmla="*/ 21 w 47"/>
                <a:gd name="T49" fmla="*/ 44 h 47"/>
                <a:gd name="T50" fmla="*/ 21 w 47"/>
                <a:gd name="T51" fmla="*/ 27 h 47"/>
                <a:gd name="T52" fmla="*/ 26 w 47"/>
                <a:gd name="T53" fmla="*/ 27 h 47"/>
                <a:gd name="T54" fmla="*/ 26 w 47"/>
                <a:gd name="T55" fmla="*/ 44 h 47"/>
                <a:gd name="T56" fmla="*/ 30 w 47"/>
                <a:gd name="T57" fmla="*/ 47 h 47"/>
                <a:gd name="T58" fmla="*/ 43 w 47"/>
                <a:gd name="T59" fmla="*/ 47 h 47"/>
                <a:gd name="T60" fmla="*/ 47 w 47"/>
                <a:gd name="T61" fmla="*/ 44 h 47"/>
                <a:gd name="T62" fmla="*/ 47 w 47"/>
                <a:gd name="T63" fmla="*/ 18 h 47"/>
                <a:gd name="T64" fmla="*/ 43 w 47"/>
                <a:gd name="T65" fmla="*/ 15 h 47"/>
                <a:gd name="T66" fmla="*/ 16 w 47"/>
                <a:gd name="T67" fmla="*/ 44 h 47"/>
                <a:gd name="T68" fmla="*/ 5 w 47"/>
                <a:gd name="T69" fmla="*/ 44 h 47"/>
                <a:gd name="T70" fmla="*/ 3 w 47"/>
                <a:gd name="T71" fmla="*/ 42 h 47"/>
                <a:gd name="T72" fmla="*/ 5 w 47"/>
                <a:gd name="T73" fmla="*/ 41 h 47"/>
                <a:gd name="T74" fmla="*/ 16 w 47"/>
                <a:gd name="T75" fmla="*/ 41 h 47"/>
                <a:gd name="T76" fmla="*/ 18 w 47"/>
                <a:gd name="T77" fmla="*/ 42 h 47"/>
                <a:gd name="T78" fmla="*/ 16 w 47"/>
                <a:gd name="T79" fmla="*/ 44 h 47"/>
                <a:gd name="T80" fmla="*/ 25 w 47"/>
                <a:gd name="T81" fmla="*/ 24 h 47"/>
                <a:gd name="T82" fmla="*/ 22 w 47"/>
                <a:gd name="T83" fmla="*/ 24 h 47"/>
                <a:gd name="T84" fmla="*/ 21 w 47"/>
                <a:gd name="T85" fmla="*/ 22 h 47"/>
                <a:gd name="T86" fmla="*/ 22 w 47"/>
                <a:gd name="T87" fmla="*/ 21 h 47"/>
                <a:gd name="T88" fmla="*/ 25 w 47"/>
                <a:gd name="T89" fmla="*/ 21 h 47"/>
                <a:gd name="T90" fmla="*/ 26 w 47"/>
                <a:gd name="T91" fmla="*/ 22 h 47"/>
                <a:gd name="T92" fmla="*/ 25 w 47"/>
                <a:gd name="T93" fmla="*/ 24 h 47"/>
                <a:gd name="T94" fmla="*/ 42 w 47"/>
                <a:gd name="T95" fmla="*/ 44 h 47"/>
                <a:gd name="T96" fmla="*/ 31 w 47"/>
                <a:gd name="T97" fmla="*/ 44 h 47"/>
                <a:gd name="T98" fmla="*/ 29 w 47"/>
                <a:gd name="T99" fmla="*/ 42 h 47"/>
                <a:gd name="T100" fmla="*/ 31 w 47"/>
                <a:gd name="T101" fmla="*/ 41 h 47"/>
                <a:gd name="T102" fmla="*/ 42 w 47"/>
                <a:gd name="T103" fmla="*/ 41 h 47"/>
                <a:gd name="T104" fmla="*/ 44 w 47"/>
                <a:gd name="T105" fmla="*/ 42 h 47"/>
                <a:gd name="T106" fmla="*/ 42 w 47"/>
                <a:gd name="T107" fmla="*/ 4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7" h="47">
                  <a:moveTo>
                    <a:pt x="3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21" y="3"/>
                    <a:pt x="21" y="3"/>
                    <a:pt x="21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0"/>
                  </a:lnTo>
                  <a:close/>
                  <a:moveTo>
                    <a:pt x="26" y="0"/>
                  </a:moveTo>
                  <a:cubicBezTo>
                    <a:pt x="44" y="0"/>
                    <a:pt x="44" y="0"/>
                    <a:pt x="44" y="0"/>
                  </a:cubicBezTo>
                  <a:cubicBezTo>
                    <a:pt x="44" y="3"/>
                    <a:pt x="44" y="3"/>
                    <a:pt x="44" y="3"/>
                  </a:cubicBezTo>
                  <a:cubicBezTo>
                    <a:pt x="26" y="3"/>
                    <a:pt x="26" y="3"/>
                    <a:pt x="26" y="3"/>
                  </a:cubicBezTo>
                  <a:lnTo>
                    <a:pt x="26" y="0"/>
                  </a:lnTo>
                  <a:close/>
                  <a:moveTo>
                    <a:pt x="43" y="15"/>
                  </a:moveTo>
                  <a:cubicBezTo>
                    <a:pt x="41" y="15"/>
                    <a:pt x="41" y="15"/>
                    <a:pt x="41" y="15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5"/>
                    <a:pt x="29" y="15"/>
                    <a:pt x="29" y="15"/>
                  </a:cubicBezTo>
                  <a:cubicBezTo>
                    <a:pt x="18" y="15"/>
                    <a:pt x="18" y="15"/>
                    <a:pt x="18" y="15"/>
                  </a:cubicBezTo>
                  <a:cubicBezTo>
                    <a:pt x="18" y="3"/>
                    <a:pt x="18" y="3"/>
                    <a:pt x="18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5"/>
                    <a:pt x="6" y="15"/>
                    <a:pt x="6" y="15"/>
                  </a:cubicBezTo>
                  <a:cubicBezTo>
                    <a:pt x="4" y="15"/>
                    <a:pt x="4" y="15"/>
                    <a:pt x="4" y="15"/>
                  </a:cubicBezTo>
                  <a:cubicBezTo>
                    <a:pt x="2" y="15"/>
                    <a:pt x="0" y="16"/>
                    <a:pt x="0" y="1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5"/>
                    <a:pt x="2" y="47"/>
                    <a:pt x="4" y="47"/>
                  </a:cubicBezTo>
                  <a:cubicBezTo>
                    <a:pt x="17" y="47"/>
                    <a:pt x="17" y="47"/>
                    <a:pt x="17" y="47"/>
                  </a:cubicBezTo>
                  <a:cubicBezTo>
                    <a:pt x="19" y="47"/>
                    <a:pt x="21" y="45"/>
                    <a:pt x="21" y="44"/>
                  </a:cubicBezTo>
                  <a:cubicBezTo>
                    <a:pt x="21" y="27"/>
                    <a:pt x="21" y="27"/>
                    <a:pt x="21" y="27"/>
                  </a:cubicBezTo>
                  <a:cubicBezTo>
                    <a:pt x="26" y="27"/>
                    <a:pt x="26" y="27"/>
                    <a:pt x="26" y="27"/>
                  </a:cubicBezTo>
                  <a:cubicBezTo>
                    <a:pt x="26" y="44"/>
                    <a:pt x="26" y="44"/>
                    <a:pt x="26" y="44"/>
                  </a:cubicBezTo>
                  <a:cubicBezTo>
                    <a:pt x="26" y="45"/>
                    <a:pt x="28" y="47"/>
                    <a:pt x="30" y="47"/>
                  </a:cubicBezTo>
                  <a:cubicBezTo>
                    <a:pt x="43" y="47"/>
                    <a:pt x="43" y="47"/>
                    <a:pt x="43" y="47"/>
                  </a:cubicBezTo>
                  <a:cubicBezTo>
                    <a:pt x="45" y="47"/>
                    <a:pt x="47" y="45"/>
                    <a:pt x="47" y="44"/>
                  </a:cubicBezTo>
                  <a:cubicBezTo>
                    <a:pt x="47" y="18"/>
                    <a:pt x="47" y="18"/>
                    <a:pt x="47" y="18"/>
                  </a:cubicBezTo>
                  <a:cubicBezTo>
                    <a:pt x="47" y="16"/>
                    <a:pt x="45" y="15"/>
                    <a:pt x="43" y="15"/>
                  </a:cubicBezTo>
                  <a:close/>
                  <a:moveTo>
                    <a:pt x="16" y="44"/>
                  </a:moveTo>
                  <a:cubicBezTo>
                    <a:pt x="5" y="44"/>
                    <a:pt x="5" y="44"/>
                    <a:pt x="5" y="44"/>
                  </a:cubicBezTo>
                  <a:cubicBezTo>
                    <a:pt x="4" y="44"/>
                    <a:pt x="3" y="43"/>
                    <a:pt x="3" y="42"/>
                  </a:cubicBezTo>
                  <a:cubicBezTo>
                    <a:pt x="3" y="42"/>
                    <a:pt x="4" y="41"/>
                    <a:pt x="5" y="41"/>
                  </a:cubicBezTo>
                  <a:cubicBezTo>
                    <a:pt x="16" y="41"/>
                    <a:pt x="16" y="41"/>
                    <a:pt x="16" y="41"/>
                  </a:cubicBezTo>
                  <a:cubicBezTo>
                    <a:pt x="17" y="41"/>
                    <a:pt x="18" y="42"/>
                    <a:pt x="18" y="42"/>
                  </a:cubicBezTo>
                  <a:cubicBezTo>
                    <a:pt x="18" y="43"/>
                    <a:pt x="17" y="44"/>
                    <a:pt x="16" y="44"/>
                  </a:cubicBezTo>
                  <a:close/>
                  <a:moveTo>
                    <a:pt x="25" y="24"/>
                  </a:moveTo>
                  <a:cubicBezTo>
                    <a:pt x="22" y="24"/>
                    <a:pt x="22" y="24"/>
                    <a:pt x="22" y="24"/>
                  </a:cubicBezTo>
                  <a:cubicBezTo>
                    <a:pt x="21" y="24"/>
                    <a:pt x="21" y="23"/>
                    <a:pt x="21" y="22"/>
                  </a:cubicBezTo>
                  <a:cubicBezTo>
                    <a:pt x="21" y="21"/>
                    <a:pt x="21" y="21"/>
                    <a:pt x="22" y="21"/>
                  </a:cubicBezTo>
                  <a:cubicBezTo>
                    <a:pt x="25" y="21"/>
                    <a:pt x="25" y="21"/>
                    <a:pt x="25" y="21"/>
                  </a:cubicBezTo>
                  <a:cubicBezTo>
                    <a:pt x="26" y="21"/>
                    <a:pt x="26" y="21"/>
                    <a:pt x="26" y="22"/>
                  </a:cubicBezTo>
                  <a:cubicBezTo>
                    <a:pt x="26" y="23"/>
                    <a:pt x="26" y="24"/>
                    <a:pt x="25" y="24"/>
                  </a:cubicBezTo>
                  <a:close/>
                  <a:moveTo>
                    <a:pt x="42" y="44"/>
                  </a:moveTo>
                  <a:cubicBezTo>
                    <a:pt x="31" y="44"/>
                    <a:pt x="31" y="44"/>
                    <a:pt x="31" y="44"/>
                  </a:cubicBezTo>
                  <a:cubicBezTo>
                    <a:pt x="30" y="44"/>
                    <a:pt x="29" y="43"/>
                    <a:pt x="29" y="42"/>
                  </a:cubicBezTo>
                  <a:cubicBezTo>
                    <a:pt x="29" y="42"/>
                    <a:pt x="30" y="41"/>
                    <a:pt x="31" y="4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43" y="41"/>
                    <a:pt x="44" y="42"/>
                    <a:pt x="44" y="42"/>
                  </a:cubicBezTo>
                  <a:cubicBezTo>
                    <a:pt x="44" y="43"/>
                    <a:pt x="43" y="44"/>
                    <a:pt x="42" y="4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0" name="任意多边形: 形状 179">
              <a:extLst>
                <a:ext uri="{FF2B5EF4-FFF2-40B4-BE49-F238E27FC236}">
                  <a16:creationId xmlns:a16="http://schemas.microsoft.com/office/drawing/2014/main" id="{FA38F214-4C2C-449B-AE06-1E59278D4B06}"/>
                </a:ext>
              </a:extLst>
            </p:cNvPr>
            <p:cNvSpPr/>
            <p:nvPr/>
          </p:nvSpPr>
          <p:spPr bwMode="auto">
            <a:xfrm>
              <a:off x="8191760" y="2620490"/>
              <a:ext cx="236836" cy="266197"/>
            </a:xfrm>
            <a:custGeom>
              <a:avLst/>
              <a:gdLst>
                <a:gd name="T0" fmla="*/ 58 w 74"/>
                <a:gd name="T1" fmla="*/ 25 h 83"/>
                <a:gd name="T2" fmla="*/ 62 w 74"/>
                <a:gd name="T3" fmla="*/ 22 h 83"/>
                <a:gd name="T4" fmla="*/ 68 w 74"/>
                <a:gd name="T5" fmla="*/ 12 h 83"/>
                <a:gd name="T6" fmla="*/ 65 w 74"/>
                <a:gd name="T7" fmla="*/ 3 h 83"/>
                <a:gd name="T8" fmla="*/ 58 w 74"/>
                <a:gd name="T9" fmla="*/ 0 h 83"/>
                <a:gd name="T10" fmla="*/ 46 w 74"/>
                <a:gd name="T11" fmla="*/ 5 h 83"/>
                <a:gd name="T12" fmla="*/ 36 w 74"/>
                <a:gd name="T13" fmla="*/ 24 h 83"/>
                <a:gd name="T14" fmla="*/ 27 w 74"/>
                <a:gd name="T15" fmla="*/ 6 h 83"/>
                <a:gd name="T16" fmla="*/ 18 w 74"/>
                <a:gd name="T17" fmla="*/ 2 h 83"/>
                <a:gd name="T18" fmla="*/ 11 w 74"/>
                <a:gd name="T19" fmla="*/ 5 h 83"/>
                <a:gd name="T20" fmla="*/ 12 w 74"/>
                <a:gd name="T21" fmla="*/ 21 h 83"/>
                <a:gd name="T22" fmla="*/ 18 w 74"/>
                <a:gd name="T23" fmla="*/ 25 h 83"/>
                <a:gd name="T24" fmla="*/ 0 w 74"/>
                <a:gd name="T25" fmla="*/ 25 h 83"/>
                <a:gd name="T26" fmla="*/ 0 w 74"/>
                <a:gd name="T27" fmla="*/ 46 h 83"/>
                <a:gd name="T28" fmla="*/ 5 w 74"/>
                <a:gd name="T29" fmla="*/ 46 h 83"/>
                <a:gd name="T30" fmla="*/ 5 w 74"/>
                <a:gd name="T31" fmla="*/ 83 h 83"/>
                <a:gd name="T32" fmla="*/ 68 w 74"/>
                <a:gd name="T33" fmla="*/ 83 h 83"/>
                <a:gd name="T34" fmla="*/ 68 w 74"/>
                <a:gd name="T35" fmla="*/ 46 h 83"/>
                <a:gd name="T36" fmla="*/ 74 w 74"/>
                <a:gd name="T37" fmla="*/ 46 h 83"/>
                <a:gd name="T38" fmla="*/ 74 w 74"/>
                <a:gd name="T39" fmla="*/ 25 h 83"/>
                <a:gd name="T40" fmla="*/ 58 w 74"/>
                <a:gd name="T41" fmla="*/ 25 h 83"/>
                <a:gd name="T42" fmla="*/ 50 w 74"/>
                <a:gd name="T43" fmla="*/ 9 h 83"/>
                <a:gd name="T44" fmla="*/ 58 w 74"/>
                <a:gd name="T45" fmla="*/ 6 h 83"/>
                <a:gd name="T46" fmla="*/ 61 w 74"/>
                <a:gd name="T47" fmla="*/ 7 h 83"/>
                <a:gd name="T48" fmla="*/ 58 w 74"/>
                <a:gd name="T49" fmla="*/ 17 h 83"/>
                <a:gd name="T50" fmla="*/ 46 w 74"/>
                <a:gd name="T51" fmla="*/ 25 h 83"/>
                <a:gd name="T52" fmla="*/ 41 w 74"/>
                <a:gd name="T53" fmla="*/ 25 h 83"/>
                <a:gd name="T54" fmla="*/ 50 w 74"/>
                <a:gd name="T55" fmla="*/ 9 h 83"/>
                <a:gd name="T56" fmla="*/ 14 w 74"/>
                <a:gd name="T57" fmla="*/ 12 h 83"/>
                <a:gd name="T58" fmla="*/ 15 w 74"/>
                <a:gd name="T59" fmla="*/ 9 h 83"/>
                <a:gd name="T60" fmla="*/ 18 w 74"/>
                <a:gd name="T61" fmla="*/ 8 h 83"/>
                <a:gd name="T62" fmla="*/ 18 w 74"/>
                <a:gd name="T63" fmla="*/ 8 h 83"/>
                <a:gd name="T64" fmla="*/ 23 w 74"/>
                <a:gd name="T65" fmla="*/ 10 h 83"/>
                <a:gd name="T66" fmla="*/ 29 w 74"/>
                <a:gd name="T67" fmla="*/ 23 h 83"/>
                <a:gd name="T68" fmla="*/ 29 w 74"/>
                <a:gd name="T69" fmla="*/ 23 h 83"/>
                <a:gd name="T70" fmla="*/ 29 w 74"/>
                <a:gd name="T71" fmla="*/ 23 h 83"/>
                <a:gd name="T72" fmla="*/ 16 w 74"/>
                <a:gd name="T73" fmla="*/ 17 h 83"/>
                <a:gd name="T74" fmla="*/ 14 w 74"/>
                <a:gd name="T75" fmla="*/ 12 h 83"/>
                <a:gd name="T76" fmla="*/ 32 w 74"/>
                <a:gd name="T77" fmla="*/ 78 h 83"/>
                <a:gd name="T78" fmla="*/ 11 w 74"/>
                <a:gd name="T79" fmla="*/ 78 h 83"/>
                <a:gd name="T80" fmla="*/ 11 w 74"/>
                <a:gd name="T81" fmla="*/ 44 h 83"/>
                <a:gd name="T82" fmla="*/ 32 w 74"/>
                <a:gd name="T83" fmla="*/ 44 h 83"/>
                <a:gd name="T84" fmla="*/ 32 w 74"/>
                <a:gd name="T85" fmla="*/ 78 h 83"/>
                <a:gd name="T86" fmla="*/ 32 w 74"/>
                <a:gd name="T87" fmla="*/ 41 h 83"/>
                <a:gd name="T88" fmla="*/ 5 w 74"/>
                <a:gd name="T89" fmla="*/ 41 h 83"/>
                <a:gd name="T90" fmla="*/ 5 w 74"/>
                <a:gd name="T91" fmla="*/ 30 h 83"/>
                <a:gd name="T92" fmla="*/ 32 w 74"/>
                <a:gd name="T93" fmla="*/ 30 h 83"/>
                <a:gd name="T94" fmla="*/ 32 w 74"/>
                <a:gd name="T95" fmla="*/ 41 h 83"/>
                <a:gd name="T96" fmla="*/ 63 w 74"/>
                <a:gd name="T97" fmla="*/ 78 h 83"/>
                <a:gd name="T98" fmla="*/ 42 w 74"/>
                <a:gd name="T99" fmla="*/ 78 h 83"/>
                <a:gd name="T100" fmla="*/ 42 w 74"/>
                <a:gd name="T101" fmla="*/ 44 h 83"/>
                <a:gd name="T102" fmla="*/ 63 w 74"/>
                <a:gd name="T103" fmla="*/ 44 h 83"/>
                <a:gd name="T104" fmla="*/ 63 w 74"/>
                <a:gd name="T105" fmla="*/ 78 h 83"/>
                <a:gd name="T106" fmla="*/ 68 w 74"/>
                <a:gd name="T107" fmla="*/ 41 h 83"/>
                <a:gd name="T108" fmla="*/ 42 w 74"/>
                <a:gd name="T109" fmla="*/ 41 h 83"/>
                <a:gd name="T110" fmla="*/ 42 w 74"/>
                <a:gd name="T111" fmla="*/ 30 h 83"/>
                <a:gd name="T112" fmla="*/ 68 w 74"/>
                <a:gd name="T113" fmla="*/ 30 h 83"/>
                <a:gd name="T114" fmla="*/ 68 w 74"/>
                <a:gd name="T115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" h="83">
                  <a:moveTo>
                    <a:pt x="58" y="25"/>
                  </a:moveTo>
                  <a:cubicBezTo>
                    <a:pt x="60" y="24"/>
                    <a:pt x="61" y="23"/>
                    <a:pt x="62" y="22"/>
                  </a:cubicBezTo>
                  <a:cubicBezTo>
                    <a:pt x="65" y="19"/>
                    <a:pt x="67" y="15"/>
                    <a:pt x="68" y="12"/>
                  </a:cubicBezTo>
                  <a:cubicBezTo>
                    <a:pt x="68" y="8"/>
                    <a:pt x="67" y="5"/>
                    <a:pt x="65" y="3"/>
                  </a:cubicBezTo>
                  <a:cubicBezTo>
                    <a:pt x="63" y="1"/>
                    <a:pt x="61" y="0"/>
                    <a:pt x="58" y="0"/>
                  </a:cubicBezTo>
                  <a:cubicBezTo>
                    <a:pt x="54" y="0"/>
                    <a:pt x="49" y="2"/>
                    <a:pt x="46" y="5"/>
                  </a:cubicBezTo>
                  <a:cubicBezTo>
                    <a:pt x="41" y="11"/>
                    <a:pt x="37" y="18"/>
                    <a:pt x="36" y="24"/>
                  </a:cubicBezTo>
                  <a:cubicBezTo>
                    <a:pt x="34" y="18"/>
                    <a:pt x="32" y="11"/>
                    <a:pt x="27" y="6"/>
                  </a:cubicBezTo>
                  <a:cubicBezTo>
                    <a:pt x="24" y="3"/>
                    <a:pt x="21" y="2"/>
                    <a:pt x="18" y="2"/>
                  </a:cubicBezTo>
                  <a:cubicBezTo>
                    <a:pt x="15" y="2"/>
                    <a:pt x="13" y="3"/>
                    <a:pt x="11" y="5"/>
                  </a:cubicBezTo>
                  <a:cubicBezTo>
                    <a:pt x="7" y="9"/>
                    <a:pt x="7" y="16"/>
                    <a:pt x="12" y="21"/>
                  </a:cubicBezTo>
                  <a:cubicBezTo>
                    <a:pt x="14" y="22"/>
                    <a:pt x="16" y="24"/>
                    <a:pt x="18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5" y="83"/>
                    <a:pt x="5" y="83"/>
                    <a:pt x="5" y="83"/>
                  </a:cubicBezTo>
                  <a:cubicBezTo>
                    <a:pt x="68" y="83"/>
                    <a:pt x="68" y="83"/>
                    <a:pt x="68" y="83"/>
                  </a:cubicBezTo>
                  <a:cubicBezTo>
                    <a:pt x="68" y="46"/>
                    <a:pt x="68" y="46"/>
                    <a:pt x="68" y="46"/>
                  </a:cubicBezTo>
                  <a:cubicBezTo>
                    <a:pt x="74" y="46"/>
                    <a:pt x="74" y="46"/>
                    <a:pt x="74" y="46"/>
                  </a:cubicBezTo>
                  <a:cubicBezTo>
                    <a:pt x="74" y="25"/>
                    <a:pt x="74" y="25"/>
                    <a:pt x="74" y="25"/>
                  </a:cubicBezTo>
                  <a:lnTo>
                    <a:pt x="58" y="25"/>
                  </a:lnTo>
                  <a:close/>
                  <a:moveTo>
                    <a:pt x="50" y="9"/>
                  </a:moveTo>
                  <a:cubicBezTo>
                    <a:pt x="52" y="7"/>
                    <a:pt x="55" y="6"/>
                    <a:pt x="58" y="6"/>
                  </a:cubicBezTo>
                  <a:cubicBezTo>
                    <a:pt x="59" y="6"/>
                    <a:pt x="60" y="6"/>
                    <a:pt x="61" y="7"/>
                  </a:cubicBezTo>
                  <a:cubicBezTo>
                    <a:pt x="63" y="9"/>
                    <a:pt x="62" y="14"/>
                    <a:pt x="58" y="17"/>
                  </a:cubicBezTo>
                  <a:cubicBezTo>
                    <a:pt x="55" y="21"/>
                    <a:pt x="50" y="23"/>
                    <a:pt x="46" y="25"/>
                  </a:cubicBezTo>
                  <a:cubicBezTo>
                    <a:pt x="41" y="25"/>
                    <a:pt x="41" y="25"/>
                    <a:pt x="41" y="25"/>
                  </a:cubicBezTo>
                  <a:cubicBezTo>
                    <a:pt x="43" y="20"/>
                    <a:pt x="46" y="14"/>
                    <a:pt x="50" y="9"/>
                  </a:cubicBezTo>
                  <a:close/>
                  <a:moveTo>
                    <a:pt x="14" y="12"/>
                  </a:moveTo>
                  <a:cubicBezTo>
                    <a:pt x="14" y="11"/>
                    <a:pt x="14" y="10"/>
                    <a:pt x="15" y="9"/>
                  </a:cubicBezTo>
                  <a:cubicBezTo>
                    <a:pt x="16" y="8"/>
                    <a:pt x="17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19" y="8"/>
                    <a:pt x="21" y="9"/>
                    <a:pt x="23" y="10"/>
                  </a:cubicBezTo>
                  <a:cubicBezTo>
                    <a:pt x="25" y="13"/>
                    <a:pt x="28" y="17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9" y="23"/>
                    <a:pt x="29" y="23"/>
                    <a:pt x="29" y="23"/>
                  </a:cubicBezTo>
                  <a:cubicBezTo>
                    <a:pt x="23" y="22"/>
                    <a:pt x="19" y="19"/>
                    <a:pt x="16" y="17"/>
                  </a:cubicBezTo>
                  <a:cubicBezTo>
                    <a:pt x="15" y="15"/>
                    <a:pt x="14" y="14"/>
                    <a:pt x="14" y="12"/>
                  </a:cubicBezTo>
                  <a:close/>
                  <a:moveTo>
                    <a:pt x="32" y="78"/>
                  </a:moveTo>
                  <a:cubicBezTo>
                    <a:pt x="11" y="78"/>
                    <a:pt x="11" y="78"/>
                    <a:pt x="11" y="78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32" y="44"/>
                    <a:pt x="32" y="44"/>
                    <a:pt x="32" y="44"/>
                  </a:cubicBezTo>
                  <a:lnTo>
                    <a:pt x="32" y="78"/>
                  </a:lnTo>
                  <a:close/>
                  <a:moveTo>
                    <a:pt x="32" y="41"/>
                  </a:moveTo>
                  <a:cubicBezTo>
                    <a:pt x="5" y="41"/>
                    <a:pt x="5" y="41"/>
                    <a:pt x="5" y="41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32" y="30"/>
                    <a:pt x="32" y="30"/>
                    <a:pt x="32" y="30"/>
                  </a:cubicBezTo>
                  <a:lnTo>
                    <a:pt x="32" y="41"/>
                  </a:lnTo>
                  <a:close/>
                  <a:moveTo>
                    <a:pt x="63" y="78"/>
                  </a:moveTo>
                  <a:cubicBezTo>
                    <a:pt x="42" y="78"/>
                    <a:pt x="42" y="78"/>
                    <a:pt x="42" y="78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63" y="44"/>
                    <a:pt x="63" y="44"/>
                    <a:pt x="63" y="44"/>
                  </a:cubicBezTo>
                  <a:lnTo>
                    <a:pt x="63" y="78"/>
                  </a:lnTo>
                  <a:close/>
                  <a:moveTo>
                    <a:pt x="68" y="41"/>
                  </a:moveTo>
                  <a:cubicBezTo>
                    <a:pt x="42" y="41"/>
                    <a:pt x="42" y="41"/>
                    <a:pt x="42" y="41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68" y="30"/>
                    <a:pt x="68" y="30"/>
                    <a:pt x="68" y="30"/>
                  </a:cubicBezTo>
                  <a:lnTo>
                    <a:pt x="68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1" name="任意多边形: 形状 180">
              <a:extLst>
                <a:ext uri="{FF2B5EF4-FFF2-40B4-BE49-F238E27FC236}">
                  <a16:creationId xmlns:a16="http://schemas.microsoft.com/office/drawing/2014/main" id="{3CAB1DBF-71EE-48BE-A1E1-B9A81421F837}"/>
                </a:ext>
              </a:extLst>
            </p:cNvPr>
            <p:cNvSpPr/>
            <p:nvPr/>
          </p:nvSpPr>
          <p:spPr bwMode="auto">
            <a:xfrm>
              <a:off x="8084107" y="2039165"/>
              <a:ext cx="303387" cy="264239"/>
            </a:xfrm>
            <a:custGeom>
              <a:avLst/>
              <a:gdLst>
                <a:gd name="T0" fmla="*/ 95 w 95"/>
                <a:gd name="T1" fmla="*/ 34 h 83"/>
                <a:gd name="T2" fmla="*/ 83 w 95"/>
                <a:gd name="T3" fmla="*/ 0 h 83"/>
                <a:gd name="T4" fmla="*/ 83 w 95"/>
                <a:gd name="T5" fmla="*/ 0 h 83"/>
                <a:gd name="T6" fmla="*/ 75 w 95"/>
                <a:gd name="T7" fmla="*/ 0 h 83"/>
                <a:gd name="T8" fmla="*/ 31 w 95"/>
                <a:gd name="T9" fmla="*/ 19 h 83"/>
                <a:gd name="T10" fmla="*/ 30 w 95"/>
                <a:gd name="T11" fmla="*/ 34 h 83"/>
                <a:gd name="T12" fmla="*/ 31 w 95"/>
                <a:gd name="T13" fmla="*/ 49 h 83"/>
                <a:gd name="T14" fmla="*/ 75 w 95"/>
                <a:gd name="T15" fmla="*/ 68 h 83"/>
                <a:gd name="T16" fmla="*/ 83 w 95"/>
                <a:gd name="T17" fmla="*/ 68 h 83"/>
                <a:gd name="T18" fmla="*/ 83 w 95"/>
                <a:gd name="T19" fmla="*/ 68 h 83"/>
                <a:gd name="T20" fmla="*/ 95 w 95"/>
                <a:gd name="T21" fmla="*/ 34 h 83"/>
                <a:gd name="T22" fmla="*/ 80 w 95"/>
                <a:gd name="T23" fmla="*/ 63 h 83"/>
                <a:gd name="T24" fmla="*/ 78 w 95"/>
                <a:gd name="T25" fmla="*/ 61 h 83"/>
                <a:gd name="T26" fmla="*/ 75 w 95"/>
                <a:gd name="T27" fmla="*/ 55 h 83"/>
                <a:gd name="T28" fmla="*/ 71 w 95"/>
                <a:gd name="T29" fmla="*/ 34 h 83"/>
                <a:gd name="T30" fmla="*/ 75 w 95"/>
                <a:gd name="T31" fmla="*/ 13 h 83"/>
                <a:gd name="T32" fmla="*/ 78 w 95"/>
                <a:gd name="T33" fmla="*/ 7 h 83"/>
                <a:gd name="T34" fmla="*/ 80 w 95"/>
                <a:gd name="T35" fmla="*/ 5 h 83"/>
                <a:gd name="T36" fmla="*/ 83 w 95"/>
                <a:gd name="T37" fmla="*/ 7 h 83"/>
                <a:gd name="T38" fmla="*/ 86 w 95"/>
                <a:gd name="T39" fmla="*/ 13 h 83"/>
                <a:gd name="T40" fmla="*/ 89 w 95"/>
                <a:gd name="T41" fmla="*/ 34 h 83"/>
                <a:gd name="T42" fmla="*/ 86 w 95"/>
                <a:gd name="T43" fmla="*/ 55 h 83"/>
                <a:gd name="T44" fmla="*/ 83 w 95"/>
                <a:gd name="T45" fmla="*/ 61 h 83"/>
                <a:gd name="T46" fmla="*/ 80 w 95"/>
                <a:gd name="T47" fmla="*/ 63 h 83"/>
                <a:gd name="T48" fmla="*/ 24 w 95"/>
                <a:gd name="T49" fmla="*/ 34 h 83"/>
                <a:gd name="T50" fmla="*/ 25 w 95"/>
                <a:gd name="T51" fmla="*/ 20 h 83"/>
                <a:gd name="T52" fmla="*/ 12 w 95"/>
                <a:gd name="T53" fmla="*/ 21 h 83"/>
                <a:gd name="T54" fmla="*/ 5 w 95"/>
                <a:gd name="T55" fmla="*/ 21 h 83"/>
                <a:gd name="T56" fmla="*/ 0 w 95"/>
                <a:gd name="T57" fmla="*/ 30 h 83"/>
                <a:gd name="T58" fmla="*/ 0 w 95"/>
                <a:gd name="T59" fmla="*/ 38 h 83"/>
                <a:gd name="T60" fmla="*/ 5 w 95"/>
                <a:gd name="T61" fmla="*/ 47 h 83"/>
                <a:gd name="T62" fmla="*/ 12 w 95"/>
                <a:gd name="T63" fmla="*/ 47 h 83"/>
                <a:gd name="T64" fmla="*/ 25 w 95"/>
                <a:gd name="T65" fmla="*/ 48 h 83"/>
                <a:gd name="T66" fmla="*/ 24 w 95"/>
                <a:gd name="T67" fmla="*/ 34 h 83"/>
                <a:gd name="T68" fmla="*/ 34 w 95"/>
                <a:gd name="T69" fmla="*/ 54 h 83"/>
                <a:gd name="T70" fmla="*/ 23 w 95"/>
                <a:gd name="T71" fmla="*/ 51 h 83"/>
                <a:gd name="T72" fmla="*/ 30 w 95"/>
                <a:gd name="T73" fmla="*/ 81 h 83"/>
                <a:gd name="T74" fmla="*/ 34 w 95"/>
                <a:gd name="T75" fmla="*/ 83 h 83"/>
                <a:gd name="T76" fmla="*/ 44 w 95"/>
                <a:gd name="T77" fmla="*/ 78 h 83"/>
                <a:gd name="T78" fmla="*/ 46 w 95"/>
                <a:gd name="T79" fmla="*/ 75 h 83"/>
                <a:gd name="T80" fmla="*/ 34 w 95"/>
                <a:gd name="T81" fmla="*/ 54 h 83"/>
                <a:gd name="T82" fmla="*/ 80 w 95"/>
                <a:gd name="T83" fmla="*/ 45 h 83"/>
                <a:gd name="T84" fmla="*/ 79 w 95"/>
                <a:gd name="T85" fmla="*/ 45 h 83"/>
                <a:gd name="T86" fmla="*/ 78 w 95"/>
                <a:gd name="T87" fmla="*/ 42 h 83"/>
                <a:gd name="T88" fmla="*/ 77 w 95"/>
                <a:gd name="T89" fmla="*/ 34 h 83"/>
                <a:gd name="T90" fmla="*/ 78 w 95"/>
                <a:gd name="T91" fmla="*/ 26 h 83"/>
                <a:gd name="T92" fmla="*/ 79 w 95"/>
                <a:gd name="T93" fmla="*/ 24 h 83"/>
                <a:gd name="T94" fmla="*/ 80 w 95"/>
                <a:gd name="T95" fmla="*/ 23 h 83"/>
                <a:gd name="T96" fmla="*/ 81 w 95"/>
                <a:gd name="T97" fmla="*/ 24 h 83"/>
                <a:gd name="T98" fmla="*/ 82 w 95"/>
                <a:gd name="T99" fmla="*/ 26 h 83"/>
                <a:gd name="T100" fmla="*/ 84 w 95"/>
                <a:gd name="T101" fmla="*/ 34 h 83"/>
                <a:gd name="T102" fmla="*/ 82 w 95"/>
                <a:gd name="T103" fmla="*/ 42 h 83"/>
                <a:gd name="T104" fmla="*/ 81 w 95"/>
                <a:gd name="T105" fmla="*/ 45 h 83"/>
                <a:gd name="T106" fmla="*/ 80 w 95"/>
                <a:gd name="T107" fmla="*/ 4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83">
                  <a:moveTo>
                    <a:pt x="95" y="34"/>
                  </a:moveTo>
                  <a:cubicBezTo>
                    <a:pt x="95" y="15"/>
                    <a:pt x="90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57" y="14"/>
                    <a:pt x="31" y="19"/>
                  </a:cubicBezTo>
                  <a:cubicBezTo>
                    <a:pt x="31" y="23"/>
                    <a:pt x="30" y="28"/>
                    <a:pt x="30" y="34"/>
                  </a:cubicBezTo>
                  <a:cubicBezTo>
                    <a:pt x="30" y="40"/>
                    <a:pt x="31" y="45"/>
                    <a:pt x="31" y="49"/>
                  </a:cubicBezTo>
                  <a:cubicBezTo>
                    <a:pt x="57" y="54"/>
                    <a:pt x="75" y="68"/>
                    <a:pt x="75" y="68"/>
                  </a:cubicBezTo>
                  <a:cubicBezTo>
                    <a:pt x="83" y="68"/>
                    <a:pt x="83" y="68"/>
                    <a:pt x="83" y="68"/>
                  </a:cubicBezTo>
                  <a:cubicBezTo>
                    <a:pt x="83" y="68"/>
                    <a:pt x="83" y="68"/>
                    <a:pt x="83" y="68"/>
                  </a:cubicBezTo>
                  <a:cubicBezTo>
                    <a:pt x="90" y="68"/>
                    <a:pt x="95" y="53"/>
                    <a:pt x="95" y="34"/>
                  </a:cubicBezTo>
                  <a:close/>
                  <a:moveTo>
                    <a:pt x="80" y="63"/>
                  </a:moveTo>
                  <a:cubicBezTo>
                    <a:pt x="79" y="63"/>
                    <a:pt x="78" y="62"/>
                    <a:pt x="78" y="61"/>
                  </a:cubicBezTo>
                  <a:cubicBezTo>
                    <a:pt x="77" y="60"/>
                    <a:pt x="76" y="58"/>
                    <a:pt x="75" y="55"/>
                  </a:cubicBezTo>
                  <a:cubicBezTo>
                    <a:pt x="73" y="50"/>
                    <a:pt x="71" y="42"/>
                    <a:pt x="71" y="34"/>
                  </a:cubicBezTo>
                  <a:cubicBezTo>
                    <a:pt x="71" y="26"/>
                    <a:pt x="73" y="18"/>
                    <a:pt x="75" y="13"/>
                  </a:cubicBezTo>
                  <a:cubicBezTo>
                    <a:pt x="76" y="10"/>
                    <a:pt x="77" y="8"/>
                    <a:pt x="78" y="7"/>
                  </a:cubicBezTo>
                  <a:cubicBezTo>
                    <a:pt x="78" y="6"/>
                    <a:pt x="79" y="5"/>
                    <a:pt x="80" y="5"/>
                  </a:cubicBezTo>
                  <a:cubicBezTo>
                    <a:pt x="81" y="5"/>
                    <a:pt x="82" y="6"/>
                    <a:pt x="83" y="7"/>
                  </a:cubicBezTo>
                  <a:cubicBezTo>
                    <a:pt x="84" y="8"/>
                    <a:pt x="85" y="10"/>
                    <a:pt x="86" y="13"/>
                  </a:cubicBezTo>
                  <a:cubicBezTo>
                    <a:pt x="88" y="18"/>
                    <a:pt x="89" y="26"/>
                    <a:pt x="89" y="34"/>
                  </a:cubicBezTo>
                  <a:cubicBezTo>
                    <a:pt x="89" y="42"/>
                    <a:pt x="88" y="50"/>
                    <a:pt x="86" y="55"/>
                  </a:cubicBezTo>
                  <a:cubicBezTo>
                    <a:pt x="85" y="58"/>
                    <a:pt x="84" y="60"/>
                    <a:pt x="83" y="61"/>
                  </a:cubicBezTo>
                  <a:cubicBezTo>
                    <a:pt x="82" y="62"/>
                    <a:pt x="81" y="63"/>
                    <a:pt x="80" y="63"/>
                  </a:cubicBezTo>
                  <a:close/>
                  <a:moveTo>
                    <a:pt x="24" y="34"/>
                  </a:moveTo>
                  <a:cubicBezTo>
                    <a:pt x="24" y="29"/>
                    <a:pt x="24" y="25"/>
                    <a:pt x="25" y="20"/>
                  </a:cubicBezTo>
                  <a:cubicBezTo>
                    <a:pt x="20" y="21"/>
                    <a:pt x="16" y="21"/>
                    <a:pt x="12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12" y="47"/>
                  </a:cubicBezTo>
                  <a:cubicBezTo>
                    <a:pt x="16" y="47"/>
                    <a:pt x="20" y="47"/>
                    <a:pt x="25" y="48"/>
                  </a:cubicBezTo>
                  <a:cubicBezTo>
                    <a:pt x="24" y="43"/>
                    <a:pt x="24" y="39"/>
                    <a:pt x="24" y="34"/>
                  </a:cubicBezTo>
                  <a:close/>
                  <a:moveTo>
                    <a:pt x="34" y="54"/>
                  </a:moveTo>
                  <a:cubicBezTo>
                    <a:pt x="23" y="51"/>
                    <a:pt x="23" y="51"/>
                    <a:pt x="23" y="5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1" y="83"/>
                    <a:pt x="32" y="83"/>
                    <a:pt x="34" y="83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6" y="78"/>
                    <a:pt x="47" y="76"/>
                    <a:pt x="46" y="75"/>
                  </a:cubicBezTo>
                  <a:lnTo>
                    <a:pt x="34" y="54"/>
                  </a:lnTo>
                  <a:close/>
                  <a:moveTo>
                    <a:pt x="80" y="45"/>
                  </a:moveTo>
                  <a:cubicBezTo>
                    <a:pt x="80" y="45"/>
                    <a:pt x="80" y="45"/>
                    <a:pt x="79" y="45"/>
                  </a:cubicBezTo>
                  <a:cubicBezTo>
                    <a:pt x="79" y="44"/>
                    <a:pt x="79" y="43"/>
                    <a:pt x="78" y="42"/>
                  </a:cubicBezTo>
                  <a:cubicBezTo>
                    <a:pt x="77" y="40"/>
                    <a:pt x="77" y="37"/>
                    <a:pt x="77" y="34"/>
                  </a:cubicBezTo>
                  <a:cubicBezTo>
                    <a:pt x="77" y="31"/>
                    <a:pt x="77" y="28"/>
                    <a:pt x="78" y="26"/>
                  </a:cubicBezTo>
                  <a:cubicBezTo>
                    <a:pt x="79" y="25"/>
                    <a:pt x="79" y="24"/>
                    <a:pt x="79" y="24"/>
                  </a:cubicBezTo>
                  <a:cubicBezTo>
                    <a:pt x="80" y="23"/>
                    <a:pt x="80" y="23"/>
                    <a:pt x="80" y="23"/>
                  </a:cubicBezTo>
                  <a:cubicBezTo>
                    <a:pt x="81" y="23"/>
                    <a:pt x="81" y="23"/>
                    <a:pt x="81" y="24"/>
                  </a:cubicBezTo>
                  <a:cubicBezTo>
                    <a:pt x="82" y="24"/>
                    <a:pt x="82" y="25"/>
                    <a:pt x="82" y="26"/>
                  </a:cubicBezTo>
                  <a:cubicBezTo>
                    <a:pt x="83" y="28"/>
                    <a:pt x="84" y="31"/>
                    <a:pt x="84" y="34"/>
                  </a:cubicBezTo>
                  <a:cubicBezTo>
                    <a:pt x="84" y="37"/>
                    <a:pt x="83" y="40"/>
                    <a:pt x="82" y="42"/>
                  </a:cubicBezTo>
                  <a:cubicBezTo>
                    <a:pt x="82" y="43"/>
                    <a:pt x="82" y="44"/>
                    <a:pt x="81" y="45"/>
                  </a:cubicBezTo>
                  <a:cubicBezTo>
                    <a:pt x="81" y="45"/>
                    <a:pt x="81" y="45"/>
                    <a:pt x="8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2" name="任意多边形: 形状 181">
              <a:extLst>
                <a:ext uri="{FF2B5EF4-FFF2-40B4-BE49-F238E27FC236}">
                  <a16:creationId xmlns:a16="http://schemas.microsoft.com/office/drawing/2014/main" id="{BCD2FF39-42A7-4BB2-B84D-89290F986ED3}"/>
                </a:ext>
              </a:extLst>
            </p:cNvPr>
            <p:cNvSpPr/>
            <p:nvPr/>
          </p:nvSpPr>
          <p:spPr bwMode="auto">
            <a:xfrm>
              <a:off x="7751361" y="2444331"/>
              <a:ext cx="236836" cy="236836"/>
            </a:xfrm>
            <a:custGeom>
              <a:avLst/>
              <a:gdLst>
                <a:gd name="T0" fmla="*/ 60 w 121"/>
                <a:gd name="T1" fmla="*/ 121 h 121"/>
                <a:gd name="T2" fmla="*/ 121 w 121"/>
                <a:gd name="T3" fmla="*/ 61 h 121"/>
                <a:gd name="T4" fmla="*/ 83 w 121"/>
                <a:gd name="T5" fmla="*/ 61 h 121"/>
                <a:gd name="T6" fmla="*/ 83 w 121"/>
                <a:gd name="T7" fmla="*/ 0 h 121"/>
                <a:gd name="T8" fmla="*/ 37 w 121"/>
                <a:gd name="T9" fmla="*/ 0 h 121"/>
                <a:gd name="T10" fmla="*/ 37 w 121"/>
                <a:gd name="T11" fmla="*/ 61 h 121"/>
                <a:gd name="T12" fmla="*/ 0 w 121"/>
                <a:gd name="T13" fmla="*/ 61 h 121"/>
                <a:gd name="T14" fmla="*/ 60 w 121"/>
                <a:gd name="T15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1">
                  <a:moveTo>
                    <a:pt x="60" y="121"/>
                  </a:moveTo>
                  <a:lnTo>
                    <a:pt x="121" y="61"/>
                  </a:lnTo>
                  <a:lnTo>
                    <a:pt x="83" y="61"/>
                  </a:lnTo>
                  <a:lnTo>
                    <a:pt x="83" y="0"/>
                  </a:lnTo>
                  <a:lnTo>
                    <a:pt x="37" y="0"/>
                  </a:lnTo>
                  <a:lnTo>
                    <a:pt x="37" y="61"/>
                  </a:lnTo>
                  <a:lnTo>
                    <a:pt x="0" y="61"/>
                  </a:lnTo>
                  <a:lnTo>
                    <a:pt x="60" y="1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3" name="任意多边形: 形状 182">
              <a:extLst>
                <a:ext uri="{FF2B5EF4-FFF2-40B4-BE49-F238E27FC236}">
                  <a16:creationId xmlns:a16="http://schemas.microsoft.com/office/drawing/2014/main" id="{C9AE5788-1EBF-4A67-9A16-721B0A1ADBAE}"/>
                </a:ext>
              </a:extLst>
            </p:cNvPr>
            <p:cNvSpPr/>
            <p:nvPr/>
          </p:nvSpPr>
          <p:spPr bwMode="auto">
            <a:xfrm>
              <a:off x="7222883" y="3976918"/>
              <a:ext cx="205520" cy="152672"/>
            </a:xfrm>
            <a:custGeom>
              <a:avLst/>
              <a:gdLst>
                <a:gd name="T0" fmla="*/ 56 w 64"/>
                <a:gd name="T1" fmla="*/ 8 h 48"/>
                <a:gd name="T2" fmla="*/ 56 w 64"/>
                <a:gd name="T3" fmla="*/ 0 h 48"/>
                <a:gd name="T4" fmla="*/ 0 w 64"/>
                <a:gd name="T5" fmla="*/ 0 h 48"/>
                <a:gd name="T6" fmla="*/ 0 w 64"/>
                <a:gd name="T7" fmla="*/ 44 h 48"/>
                <a:gd name="T8" fmla="*/ 4 w 64"/>
                <a:gd name="T9" fmla="*/ 48 h 48"/>
                <a:gd name="T10" fmla="*/ 58 w 64"/>
                <a:gd name="T11" fmla="*/ 48 h 48"/>
                <a:gd name="T12" fmla="*/ 64 w 64"/>
                <a:gd name="T13" fmla="*/ 42 h 48"/>
                <a:gd name="T14" fmla="*/ 64 w 64"/>
                <a:gd name="T15" fmla="*/ 8 h 48"/>
                <a:gd name="T16" fmla="*/ 56 w 64"/>
                <a:gd name="T17" fmla="*/ 8 h 48"/>
                <a:gd name="T18" fmla="*/ 52 w 64"/>
                <a:gd name="T19" fmla="*/ 44 h 48"/>
                <a:gd name="T20" fmla="*/ 4 w 64"/>
                <a:gd name="T21" fmla="*/ 44 h 48"/>
                <a:gd name="T22" fmla="*/ 4 w 64"/>
                <a:gd name="T23" fmla="*/ 4 h 48"/>
                <a:gd name="T24" fmla="*/ 52 w 64"/>
                <a:gd name="T25" fmla="*/ 4 h 48"/>
                <a:gd name="T26" fmla="*/ 52 w 64"/>
                <a:gd name="T27" fmla="*/ 44 h 48"/>
                <a:gd name="T28" fmla="*/ 8 w 64"/>
                <a:gd name="T29" fmla="*/ 12 h 48"/>
                <a:gd name="T30" fmla="*/ 48 w 64"/>
                <a:gd name="T31" fmla="*/ 12 h 48"/>
                <a:gd name="T32" fmla="*/ 48 w 64"/>
                <a:gd name="T33" fmla="*/ 16 h 48"/>
                <a:gd name="T34" fmla="*/ 8 w 64"/>
                <a:gd name="T35" fmla="*/ 16 h 48"/>
                <a:gd name="T36" fmla="*/ 8 w 64"/>
                <a:gd name="T37" fmla="*/ 12 h 48"/>
                <a:gd name="T38" fmla="*/ 32 w 64"/>
                <a:gd name="T39" fmla="*/ 20 h 48"/>
                <a:gd name="T40" fmla="*/ 48 w 64"/>
                <a:gd name="T41" fmla="*/ 20 h 48"/>
                <a:gd name="T42" fmla="*/ 48 w 64"/>
                <a:gd name="T43" fmla="*/ 24 h 48"/>
                <a:gd name="T44" fmla="*/ 32 w 64"/>
                <a:gd name="T45" fmla="*/ 24 h 48"/>
                <a:gd name="T46" fmla="*/ 32 w 64"/>
                <a:gd name="T47" fmla="*/ 20 h 48"/>
                <a:gd name="T48" fmla="*/ 32 w 64"/>
                <a:gd name="T49" fmla="*/ 28 h 48"/>
                <a:gd name="T50" fmla="*/ 48 w 64"/>
                <a:gd name="T51" fmla="*/ 28 h 48"/>
                <a:gd name="T52" fmla="*/ 48 w 64"/>
                <a:gd name="T53" fmla="*/ 32 h 48"/>
                <a:gd name="T54" fmla="*/ 32 w 64"/>
                <a:gd name="T55" fmla="*/ 32 h 48"/>
                <a:gd name="T56" fmla="*/ 32 w 64"/>
                <a:gd name="T57" fmla="*/ 28 h 48"/>
                <a:gd name="T58" fmla="*/ 32 w 64"/>
                <a:gd name="T59" fmla="*/ 36 h 48"/>
                <a:gd name="T60" fmla="*/ 44 w 64"/>
                <a:gd name="T61" fmla="*/ 36 h 48"/>
                <a:gd name="T62" fmla="*/ 44 w 64"/>
                <a:gd name="T63" fmla="*/ 40 h 48"/>
                <a:gd name="T64" fmla="*/ 32 w 64"/>
                <a:gd name="T65" fmla="*/ 40 h 48"/>
                <a:gd name="T66" fmla="*/ 32 w 64"/>
                <a:gd name="T67" fmla="*/ 36 h 48"/>
                <a:gd name="T68" fmla="*/ 8 w 64"/>
                <a:gd name="T69" fmla="*/ 20 h 48"/>
                <a:gd name="T70" fmla="*/ 28 w 64"/>
                <a:gd name="T71" fmla="*/ 20 h 48"/>
                <a:gd name="T72" fmla="*/ 28 w 64"/>
                <a:gd name="T73" fmla="*/ 40 h 48"/>
                <a:gd name="T74" fmla="*/ 8 w 64"/>
                <a:gd name="T75" fmla="*/ 40 h 48"/>
                <a:gd name="T76" fmla="*/ 8 w 64"/>
                <a:gd name="T77" fmla="*/ 2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64" h="48">
                  <a:moveTo>
                    <a:pt x="56" y="8"/>
                  </a:moveTo>
                  <a:cubicBezTo>
                    <a:pt x="56" y="0"/>
                    <a:pt x="56" y="0"/>
                    <a:pt x="5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6"/>
                    <a:pt x="2" y="48"/>
                    <a:pt x="4" y="48"/>
                  </a:cubicBezTo>
                  <a:cubicBezTo>
                    <a:pt x="58" y="48"/>
                    <a:pt x="58" y="48"/>
                    <a:pt x="58" y="48"/>
                  </a:cubicBezTo>
                  <a:cubicBezTo>
                    <a:pt x="61" y="48"/>
                    <a:pt x="64" y="45"/>
                    <a:pt x="64" y="42"/>
                  </a:cubicBezTo>
                  <a:cubicBezTo>
                    <a:pt x="64" y="8"/>
                    <a:pt x="64" y="8"/>
                    <a:pt x="64" y="8"/>
                  </a:cubicBezTo>
                  <a:lnTo>
                    <a:pt x="56" y="8"/>
                  </a:lnTo>
                  <a:close/>
                  <a:moveTo>
                    <a:pt x="52" y="44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52" y="4"/>
                    <a:pt x="52" y="4"/>
                    <a:pt x="52" y="4"/>
                  </a:cubicBezTo>
                  <a:lnTo>
                    <a:pt x="52" y="44"/>
                  </a:lnTo>
                  <a:close/>
                  <a:moveTo>
                    <a:pt x="8" y="12"/>
                  </a:moveTo>
                  <a:cubicBezTo>
                    <a:pt x="48" y="12"/>
                    <a:pt x="48" y="12"/>
                    <a:pt x="48" y="12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8" y="16"/>
                    <a:pt x="8" y="16"/>
                    <a:pt x="8" y="16"/>
                  </a:cubicBezTo>
                  <a:lnTo>
                    <a:pt x="8" y="12"/>
                  </a:lnTo>
                  <a:close/>
                  <a:moveTo>
                    <a:pt x="32" y="20"/>
                  </a:moveTo>
                  <a:cubicBezTo>
                    <a:pt x="48" y="20"/>
                    <a:pt x="48" y="20"/>
                    <a:pt x="48" y="20"/>
                  </a:cubicBezTo>
                  <a:cubicBezTo>
                    <a:pt x="48" y="24"/>
                    <a:pt x="48" y="24"/>
                    <a:pt x="48" y="24"/>
                  </a:cubicBezTo>
                  <a:cubicBezTo>
                    <a:pt x="32" y="24"/>
                    <a:pt x="32" y="24"/>
                    <a:pt x="32" y="24"/>
                  </a:cubicBezTo>
                  <a:lnTo>
                    <a:pt x="32" y="20"/>
                  </a:lnTo>
                  <a:close/>
                  <a:moveTo>
                    <a:pt x="32" y="28"/>
                  </a:moveTo>
                  <a:cubicBezTo>
                    <a:pt x="48" y="28"/>
                    <a:pt x="48" y="28"/>
                    <a:pt x="48" y="28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32" y="32"/>
                    <a:pt x="32" y="32"/>
                    <a:pt x="32" y="32"/>
                  </a:cubicBezTo>
                  <a:lnTo>
                    <a:pt x="32" y="28"/>
                  </a:lnTo>
                  <a:close/>
                  <a:moveTo>
                    <a:pt x="32" y="36"/>
                  </a:moveTo>
                  <a:cubicBezTo>
                    <a:pt x="44" y="36"/>
                    <a:pt x="44" y="36"/>
                    <a:pt x="44" y="36"/>
                  </a:cubicBezTo>
                  <a:cubicBezTo>
                    <a:pt x="44" y="40"/>
                    <a:pt x="44" y="40"/>
                    <a:pt x="44" y="40"/>
                  </a:cubicBezTo>
                  <a:cubicBezTo>
                    <a:pt x="32" y="40"/>
                    <a:pt x="32" y="40"/>
                    <a:pt x="32" y="40"/>
                  </a:cubicBezTo>
                  <a:lnTo>
                    <a:pt x="32" y="36"/>
                  </a:lnTo>
                  <a:close/>
                  <a:moveTo>
                    <a:pt x="8" y="20"/>
                  </a:moveTo>
                  <a:cubicBezTo>
                    <a:pt x="28" y="20"/>
                    <a:pt x="28" y="20"/>
                    <a:pt x="28" y="20"/>
                  </a:cubicBezTo>
                  <a:cubicBezTo>
                    <a:pt x="28" y="40"/>
                    <a:pt x="28" y="40"/>
                    <a:pt x="28" y="40"/>
                  </a:cubicBezTo>
                  <a:cubicBezTo>
                    <a:pt x="8" y="40"/>
                    <a:pt x="8" y="40"/>
                    <a:pt x="8" y="40"/>
                  </a:cubicBezTo>
                  <a:lnTo>
                    <a:pt x="8" y="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4" name="任意多边形: 形状 183">
              <a:extLst>
                <a:ext uri="{FF2B5EF4-FFF2-40B4-BE49-F238E27FC236}">
                  <a16:creationId xmlns:a16="http://schemas.microsoft.com/office/drawing/2014/main" id="{EA27792B-77D5-4D27-9001-06A041DAEB82}"/>
                </a:ext>
              </a:extLst>
            </p:cNvPr>
            <p:cNvSpPr/>
            <p:nvPr/>
          </p:nvSpPr>
          <p:spPr bwMode="auto">
            <a:xfrm>
              <a:off x="8054746" y="1359971"/>
              <a:ext cx="246622" cy="246623"/>
            </a:xfrm>
            <a:custGeom>
              <a:avLst/>
              <a:gdLst>
                <a:gd name="T0" fmla="*/ 64 w 77"/>
                <a:gd name="T1" fmla="*/ 0 h 77"/>
                <a:gd name="T2" fmla="*/ 13 w 77"/>
                <a:gd name="T3" fmla="*/ 0 h 77"/>
                <a:gd name="T4" fmla="*/ 0 w 77"/>
                <a:gd name="T5" fmla="*/ 13 h 77"/>
                <a:gd name="T6" fmla="*/ 0 w 77"/>
                <a:gd name="T7" fmla="*/ 64 h 77"/>
                <a:gd name="T8" fmla="*/ 13 w 77"/>
                <a:gd name="T9" fmla="*/ 77 h 77"/>
                <a:gd name="T10" fmla="*/ 64 w 77"/>
                <a:gd name="T11" fmla="*/ 77 h 77"/>
                <a:gd name="T12" fmla="*/ 77 w 77"/>
                <a:gd name="T13" fmla="*/ 64 h 77"/>
                <a:gd name="T14" fmla="*/ 77 w 77"/>
                <a:gd name="T15" fmla="*/ 13 h 77"/>
                <a:gd name="T16" fmla="*/ 64 w 77"/>
                <a:gd name="T17" fmla="*/ 0 h 77"/>
                <a:gd name="T18" fmla="*/ 25 w 77"/>
                <a:gd name="T19" fmla="*/ 34 h 77"/>
                <a:gd name="T20" fmla="*/ 52 w 77"/>
                <a:gd name="T21" fmla="*/ 34 h 77"/>
                <a:gd name="T22" fmla="*/ 53 w 77"/>
                <a:gd name="T23" fmla="*/ 38 h 77"/>
                <a:gd name="T24" fmla="*/ 39 w 77"/>
                <a:gd name="T25" fmla="*/ 53 h 77"/>
                <a:gd name="T26" fmla="*/ 24 w 77"/>
                <a:gd name="T27" fmla="*/ 38 h 77"/>
                <a:gd name="T28" fmla="*/ 25 w 77"/>
                <a:gd name="T29" fmla="*/ 34 h 77"/>
                <a:gd name="T30" fmla="*/ 67 w 77"/>
                <a:gd name="T31" fmla="*/ 33 h 77"/>
                <a:gd name="T32" fmla="*/ 67 w 77"/>
                <a:gd name="T33" fmla="*/ 53 h 77"/>
                <a:gd name="T34" fmla="*/ 67 w 77"/>
                <a:gd name="T35" fmla="*/ 62 h 77"/>
                <a:gd name="T36" fmla="*/ 63 w 77"/>
                <a:gd name="T37" fmla="*/ 67 h 77"/>
                <a:gd name="T38" fmla="*/ 15 w 77"/>
                <a:gd name="T39" fmla="*/ 67 h 77"/>
                <a:gd name="T40" fmla="*/ 10 w 77"/>
                <a:gd name="T41" fmla="*/ 63 h 77"/>
                <a:gd name="T42" fmla="*/ 10 w 77"/>
                <a:gd name="T43" fmla="*/ 53 h 77"/>
                <a:gd name="T44" fmla="*/ 10 w 77"/>
                <a:gd name="T45" fmla="*/ 34 h 77"/>
                <a:gd name="T46" fmla="*/ 10 w 77"/>
                <a:gd name="T47" fmla="*/ 34 h 77"/>
                <a:gd name="T48" fmla="*/ 17 w 77"/>
                <a:gd name="T49" fmla="*/ 34 h 77"/>
                <a:gd name="T50" fmla="*/ 17 w 77"/>
                <a:gd name="T51" fmla="*/ 39 h 77"/>
                <a:gd name="T52" fmla="*/ 39 w 77"/>
                <a:gd name="T53" fmla="*/ 60 h 77"/>
                <a:gd name="T54" fmla="*/ 60 w 77"/>
                <a:gd name="T55" fmla="*/ 38 h 77"/>
                <a:gd name="T56" fmla="*/ 60 w 77"/>
                <a:gd name="T57" fmla="*/ 33 h 77"/>
                <a:gd name="T58" fmla="*/ 67 w 77"/>
                <a:gd name="T59" fmla="*/ 33 h 77"/>
                <a:gd name="T60" fmla="*/ 67 w 77"/>
                <a:gd name="T61" fmla="*/ 17 h 77"/>
                <a:gd name="T62" fmla="*/ 65 w 77"/>
                <a:gd name="T63" fmla="*/ 19 h 77"/>
                <a:gd name="T64" fmla="*/ 60 w 77"/>
                <a:gd name="T65" fmla="*/ 19 h 77"/>
                <a:gd name="T66" fmla="*/ 58 w 77"/>
                <a:gd name="T67" fmla="*/ 17 h 77"/>
                <a:gd name="T68" fmla="*/ 58 w 77"/>
                <a:gd name="T69" fmla="*/ 12 h 77"/>
                <a:gd name="T70" fmla="*/ 60 w 77"/>
                <a:gd name="T71" fmla="*/ 10 h 77"/>
                <a:gd name="T72" fmla="*/ 65 w 77"/>
                <a:gd name="T73" fmla="*/ 10 h 77"/>
                <a:gd name="T74" fmla="*/ 67 w 77"/>
                <a:gd name="T75" fmla="*/ 12 h 77"/>
                <a:gd name="T76" fmla="*/ 67 w 77"/>
                <a:gd name="T77" fmla="*/ 1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7" h="77">
                  <a:moveTo>
                    <a:pt x="64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3"/>
                  </a:cubicBezTo>
                  <a:cubicBezTo>
                    <a:pt x="0" y="64"/>
                    <a:pt x="0" y="64"/>
                    <a:pt x="0" y="64"/>
                  </a:cubicBezTo>
                  <a:cubicBezTo>
                    <a:pt x="1" y="71"/>
                    <a:pt x="6" y="77"/>
                    <a:pt x="13" y="77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71" y="76"/>
                    <a:pt x="77" y="71"/>
                    <a:pt x="77" y="64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7" y="6"/>
                    <a:pt x="71" y="0"/>
                    <a:pt x="64" y="0"/>
                  </a:cubicBezTo>
                  <a:close/>
                  <a:moveTo>
                    <a:pt x="25" y="34"/>
                  </a:moveTo>
                  <a:cubicBezTo>
                    <a:pt x="52" y="34"/>
                    <a:pt x="52" y="34"/>
                    <a:pt x="52" y="34"/>
                  </a:cubicBezTo>
                  <a:cubicBezTo>
                    <a:pt x="53" y="35"/>
                    <a:pt x="53" y="37"/>
                    <a:pt x="53" y="38"/>
                  </a:cubicBezTo>
                  <a:cubicBezTo>
                    <a:pt x="53" y="46"/>
                    <a:pt x="47" y="53"/>
                    <a:pt x="39" y="53"/>
                  </a:cubicBezTo>
                  <a:cubicBezTo>
                    <a:pt x="31" y="53"/>
                    <a:pt x="24" y="47"/>
                    <a:pt x="24" y="38"/>
                  </a:cubicBezTo>
                  <a:cubicBezTo>
                    <a:pt x="24" y="37"/>
                    <a:pt x="24" y="35"/>
                    <a:pt x="25" y="34"/>
                  </a:cubicBezTo>
                  <a:close/>
                  <a:moveTo>
                    <a:pt x="67" y="33"/>
                  </a:moveTo>
                  <a:cubicBezTo>
                    <a:pt x="67" y="53"/>
                    <a:pt x="67" y="53"/>
                    <a:pt x="67" y="53"/>
                  </a:cubicBezTo>
                  <a:cubicBezTo>
                    <a:pt x="67" y="62"/>
                    <a:pt x="67" y="62"/>
                    <a:pt x="67" y="62"/>
                  </a:cubicBezTo>
                  <a:cubicBezTo>
                    <a:pt x="67" y="65"/>
                    <a:pt x="65" y="67"/>
                    <a:pt x="63" y="67"/>
                  </a:cubicBezTo>
                  <a:cubicBezTo>
                    <a:pt x="15" y="67"/>
                    <a:pt x="15" y="67"/>
                    <a:pt x="15" y="67"/>
                  </a:cubicBezTo>
                  <a:cubicBezTo>
                    <a:pt x="12" y="67"/>
                    <a:pt x="10" y="65"/>
                    <a:pt x="10" y="63"/>
                  </a:cubicBezTo>
                  <a:cubicBezTo>
                    <a:pt x="10" y="53"/>
                    <a:pt x="10" y="53"/>
                    <a:pt x="10" y="53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7" y="35"/>
                    <a:pt x="17" y="37"/>
                    <a:pt x="17" y="39"/>
                  </a:cubicBezTo>
                  <a:cubicBezTo>
                    <a:pt x="17" y="51"/>
                    <a:pt x="27" y="60"/>
                    <a:pt x="39" y="60"/>
                  </a:cubicBezTo>
                  <a:cubicBezTo>
                    <a:pt x="51" y="60"/>
                    <a:pt x="60" y="50"/>
                    <a:pt x="60" y="38"/>
                  </a:cubicBezTo>
                  <a:cubicBezTo>
                    <a:pt x="60" y="37"/>
                    <a:pt x="60" y="35"/>
                    <a:pt x="60" y="33"/>
                  </a:cubicBezTo>
                  <a:cubicBezTo>
                    <a:pt x="67" y="33"/>
                    <a:pt x="67" y="33"/>
                    <a:pt x="67" y="33"/>
                  </a:cubicBezTo>
                  <a:close/>
                  <a:moveTo>
                    <a:pt x="67" y="17"/>
                  </a:moveTo>
                  <a:cubicBezTo>
                    <a:pt x="67" y="18"/>
                    <a:pt x="66" y="19"/>
                    <a:pt x="65" y="19"/>
                  </a:cubicBezTo>
                  <a:cubicBezTo>
                    <a:pt x="60" y="19"/>
                    <a:pt x="60" y="19"/>
                    <a:pt x="60" y="19"/>
                  </a:cubicBezTo>
                  <a:cubicBezTo>
                    <a:pt x="59" y="19"/>
                    <a:pt x="58" y="18"/>
                    <a:pt x="58" y="17"/>
                  </a:cubicBezTo>
                  <a:cubicBezTo>
                    <a:pt x="58" y="12"/>
                    <a:pt x="58" y="12"/>
                    <a:pt x="58" y="12"/>
                  </a:cubicBezTo>
                  <a:cubicBezTo>
                    <a:pt x="58" y="11"/>
                    <a:pt x="59" y="10"/>
                    <a:pt x="60" y="10"/>
                  </a:cubicBezTo>
                  <a:cubicBezTo>
                    <a:pt x="65" y="10"/>
                    <a:pt x="65" y="10"/>
                    <a:pt x="65" y="10"/>
                  </a:cubicBezTo>
                  <a:cubicBezTo>
                    <a:pt x="66" y="9"/>
                    <a:pt x="67" y="11"/>
                    <a:pt x="67" y="12"/>
                  </a:cubicBezTo>
                  <a:lnTo>
                    <a:pt x="6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5" name="任意多边形: 形状 184">
              <a:extLst>
                <a:ext uri="{FF2B5EF4-FFF2-40B4-BE49-F238E27FC236}">
                  <a16:creationId xmlns:a16="http://schemas.microsoft.com/office/drawing/2014/main" id="{8B9BF3A6-5F0C-47D5-82B9-3E4FCEA0EBA6}"/>
                </a:ext>
              </a:extLst>
            </p:cNvPr>
            <p:cNvSpPr/>
            <p:nvPr/>
          </p:nvSpPr>
          <p:spPr bwMode="auto">
            <a:xfrm>
              <a:off x="7590860" y="1725993"/>
              <a:ext cx="252496" cy="191818"/>
            </a:xfrm>
            <a:custGeom>
              <a:avLst/>
              <a:gdLst>
                <a:gd name="T0" fmla="*/ 76 w 79"/>
                <a:gd name="T1" fmla="*/ 3 h 60"/>
                <a:gd name="T2" fmla="*/ 40 w 79"/>
                <a:gd name="T3" fmla="*/ 0 h 60"/>
                <a:gd name="T4" fmla="*/ 4 w 79"/>
                <a:gd name="T5" fmla="*/ 3 h 60"/>
                <a:gd name="T6" fmla="*/ 0 w 79"/>
                <a:gd name="T7" fmla="*/ 30 h 60"/>
                <a:gd name="T8" fmla="*/ 4 w 79"/>
                <a:gd name="T9" fmla="*/ 57 h 60"/>
                <a:gd name="T10" fmla="*/ 40 w 79"/>
                <a:gd name="T11" fmla="*/ 60 h 60"/>
                <a:gd name="T12" fmla="*/ 76 w 79"/>
                <a:gd name="T13" fmla="*/ 57 h 60"/>
                <a:gd name="T14" fmla="*/ 79 w 79"/>
                <a:gd name="T15" fmla="*/ 30 h 60"/>
                <a:gd name="T16" fmla="*/ 76 w 79"/>
                <a:gd name="T17" fmla="*/ 3 h 60"/>
                <a:gd name="T18" fmla="*/ 30 w 79"/>
                <a:gd name="T19" fmla="*/ 45 h 60"/>
                <a:gd name="T20" fmla="*/ 30 w 79"/>
                <a:gd name="T21" fmla="*/ 15 h 60"/>
                <a:gd name="T22" fmla="*/ 55 w 79"/>
                <a:gd name="T23" fmla="*/ 30 h 60"/>
                <a:gd name="T24" fmla="*/ 30 w 79"/>
                <a:gd name="T25" fmla="*/ 4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9" h="60">
                  <a:moveTo>
                    <a:pt x="76" y="3"/>
                  </a:moveTo>
                  <a:cubicBezTo>
                    <a:pt x="65" y="1"/>
                    <a:pt x="53" y="0"/>
                    <a:pt x="40" y="0"/>
                  </a:cubicBezTo>
                  <a:cubicBezTo>
                    <a:pt x="27" y="0"/>
                    <a:pt x="15" y="1"/>
                    <a:pt x="4" y="3"/>
                  </a:cubicBezTo>
                  <a:cubicBezTo>
                    <a:pt x="2" y="11"/>
                    <a:pt x="0" y="20"/>
                    <a:pt x="0" y="30"/>
                  </a:cubicBezTo>
                  <a:cubicBezTo>
                    <a:pt x="0" y="40"/>
                    <a:pt x="2" y="49"/>
                    <a:pt x="4" y="57"/>
                  </a:cubicBezTo>
                  <a:cubicBezTo>
                    <a:pt x="15" y="59"/>
                    <a:pt x="27" y="60"/>
                    <a:pt x="40" y="60"/>
                  </a:cubicBezTo>
                  <a:cubicBezTo>
                    <a:pt x="53" y="60"/>
                    <a:pt x="65" y="59"/>
                    <a:pt x="76" y="57"/>
                  </a:cubicBezTo>
                  <a:cubicBezTo>
                    <a:pt x="78" y="49"/>
                    <a:pt x="79" y="40"/>
                    <a:pt x="79" y="30"/>
                  </a:cubicBezTo>
                  <a:cubicBezTo>
                    <a:pt x="79" y="20"/>
                    <a:pt x="78" y="11"/>
                    <a:pt x="76" y="3"/>
                  </a:cubicBezTo>
                  <a:close/>
                  <a:moveTo>
                    <a:pt x="30" y="45"/>
                  </a:moveTo>
                  <a:cubicBezTo>
                    <a:pt x="30" y="15"/>
                    <a:pt x="30" y="15"/>
                    <a:pt x="30" y="15"/>
                  </a:cubicBezTo>
                  <a:cubicBezTo>
                    <a:pt x="55" y="30"/>
                    <a:pt x="55" y="30"/>
                    <a:pt x="55" y="30"/>
                  </a:cubicBezTo>
                  <a:lnTo>
                    <a:pt x="30" y="4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6" name="任意多边形: 形状 185">
              <a:extLst>
                <a:ext uri="{FF2B5EF4-FFF2-40B4-BE49-F238E27FC236}">
                  <a16:creationId xmlns:a16="http://schemas.microsoft.com/office/drawing/2014/main" id="{3D183CEF-88A6-4FDE-9A94-25DF26D4D610}"/>
                </a:ext>
              </a:extLst>
            </p:cNvPr>
            <p:cNvSpPr/>
            <p:nvPr/>
          </p:nvSpPr>
          <p:spPr bwMode="auto">
            <a:xfrm>
              <a:off x="7334450" y="2704657"/>
              <a:ext cx="219221" cy="217263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61 h 68"/>
                <a:gd name="T12" fmla="*/ 7 w 68"/>
                <a:gd name="T13" fmla="*/ 34 h 68"/>
                <a:gd name="T14" fmla="*/ 34 w 68"/>
                <a:gd name="T15" fmla="*/ 6 h 68"/>
                <a:gd name="T16" fmla="*/ 62 w 68"/>
                <a:gd name="T17" fmla="*/ 34 h 68"/>
                <a:gd name="T18" fmla="*/ 34 w 68"/>
                <a:gd name="T19" fmla="*/ 61 h 68"/>
                <a:gd name="T20" fmla="*/ 21 w 68"/>
                <a:gd name="T21" fmla="*/ 21 h 68"/>
                <a:gd name="T22" fmla="*/ 47 w 68"/>
                <a:gd name="T23" fmla="*/ 21 h 68"/>
                <a:gd name="T24" fmla="*/ 47 w 68"/>
                <a:gd name="T25" fmla="*/ 46 h 68"/>
                <a:gd name="T26" fmla="*/ 21 w 68"/>
                <a:gd name="T27" fmla="*/ 46 h 68"/>
                <a:gd name="T28" fmla="*/ 21 w 68"/>
                <a:gd name="T29" fmla="*/ 2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5" y="0"/>
                    <a:pt x="0" y="15"/>
                    <a:pt x="0" y="34"/>
                  </a:cubicBezTo>
                  <a:cubicBezTo>
                    <a:pt x="0" y="52"/>
                    <a:pt x="15" y="68"/>
                    <a:pt x="34" y="68"/>
                  </a:cubicBezTo>
                  <a:cubicBezTo>
                    <a:pt x="53" y="68"/>
                    <a:pt x="68" y="52"/>
                    <a:pt x="68" y="34"/>
                  </a:cubicBezTo>
                  <a:cubicBezTo>
                    <a:pt x="68" y="15"/>
                    <a:pt x="53" y="0"/>
                    <a:pt x="34" y="0"/>
                  </a:cubicBezTo>
                  <a:close/>
                  <a:moveTo>
                    <a:pt x="34" y="61"/>
                  </a:moveTo>
                  <a:cubicBezTo>
                    <a:pt x="19" y="61"/>
                    <a:pt x="7" y="49"/>
                    <a:pt x="7" y="34"/>
                  </a:cubicBezTo>
                  <a:cubicBezTo>
                    <a:pt x="7" y="18"/>
                    <a:pt x="19" y="6"/>
                    <a:pt x="34" y="6"/>
                  </a:cubicBezTo>
                  <a:cubicBezTo>
                    <a:pt x="49" y="6"/>
                    <a:pt x="62" y="18"/>
                    <a:pt x="62" y="34"/>
                  </a:cubicBezTo>
                  <a:cubicBezTo>
                    <a:pt x="62" y="49"/>
                    <a:pt x="49" y="61"/>
                    <a:pt x="34" y="61"/>
                  </a:cubicBezTo>
                  <a:close/>
                  <a:moveTo>
                    <a:pt x="21" y="21"/>
                  </a:moveTo>
                  <a:cubicBezTo>
                    <a:pt x="47" y="21"/>
                    <a:pt x="47" y="21"/>
                    <a:pt x="47" y="21"/>
                  </a:cubicBezTo>
                  <a:cubicBezTo>
                    <a:pt x="47" y="46"/>
                    <a:pt x="47" y="46"/>
                    <a:pt x="47" y="46"/>
                  </a:cubicBezTo>
                  <a:cubicBezTo>
                    <a:pt x="21" y="46"/>
                    <a:pt x="21" y="46"/>
                    <a:pt x="21" y="46"/>
                  </a:cubicBezTo>
                  <a:lnTo>
                    <a:pt x="21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7" name="任意多边形: 形状 186">
              <a:extLst>
                <a:ext uri="{FF2B5EF4-FFF2-40B4-BE49-F238E27FC236}">
                  <a16:creationId xmlns:a16="http://schemas.microsoft.com/office/drawing/2014/main" id="{FEC6DFD0-E68B-4EA9-B832-CDF3796D97A3}"/>
                </a:ext>
              </a:extLst>
            </p:cNvPr>
            <p:cNvSpPr/>
            <p:nvPr/>
          </p:nvSpPr>
          <p:spPr bwMode="auto">
            <a:xfrm>
              <a:off x="6575008" y="3595241"/>
              <a:ext cx="229007" cy="230965"/>
            </a:xfrm>
            <a:custGeom>
              <a:avLst/>
              <a:gdLst>
                <a:gd name="T0" fmla="*/ 36 w 72"/>
                <a:gd name="T1" fmla="*/ 0 h 72"/>
                <a:gd name="T2" fmla="*/ 0 w 72"/>
                <a:gd name="T3" fmla="*/ 36 h 72"/>
                <a:gd name="T4" fmla="*/ 36 w 72"/>
                <a:gd name="T5" fmla="*/ 72 h 72"/>
                <a:gd name="T6" fmla="*/ 72 w 72"/>
                <a:gd name="T7" fmla="*/ 36 h 72"/>
                <a:gd name="T8" fmla="*/ 36 w 72"/>
                <a:gd name="T9" fmla="*/ 0 h 72"/>
                <a:gd name="T10" fmla="*/ 57 w 72"/>
                <a:gd name="T11" fmla="*/ 31 h 72"/>
                <a:gd name="T12" fmla="*/ 38 w 72"/>
                <a:gd name="T13" fmla="*/ 59 h 72"/>
                <a:gd name="T14" fmla="*/ 29 w 72"/>
                <a:gd name="T15" fmla="*/ 55 h 72"/>
                <a:gd name="T16" fmla="*/ 21 w 72"/>
                <a:gd name="T17" fmla="*/ 33 h 72"/>
                <a:gd name="T18" fmla="*/ 16 w 72"/>
                <a:gd name="T19" fmla="*/ 35 h 72"/>
                <a:gd name="T20" fmla="*/ 15 w 72"/>
                <a:gd name="T21" fmla="*/ 32 h 72"/>
                <a:gd name="T22" fmla="*/ 28 w 72"/>
                <a:gd name="T23" fmla="*/ 23 h 72"/>
                <a:gd name="T24" fmla="*/ 35 w 72"/>
                <a:gd name="T25" fmla="*/ 37 h 72"/>
                <a:gd name="T26" fmla="*/ 38 w 72"/>
                <a:gd name="T27" fmla="*/ 46 h 72"/>
                <a:gd name="T28" fmla="*/ 44 w 72"/>
                <a:gd name="T29" fmla="*/ 38 h 72"/>
                <a:gd name="T30" fmla="*/ 39 w 72"/>
                <a:gd name="T31" fmla="*/ 32 h 72"/>
                <a:gd name="T32" fmla="*/ 57 w 72"/>
                <a:gd name="T33" fmla="*/ 31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72">
                  <a:moveTo>
                    <a:pt x="36" y="0"/>
                  </a:moveTo>
                  <a:cubicBezTo>
                    <a:pt x="16" y="0"/>
                    <a:pt x="0" y="17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ubicBezTo>
                    <a:pt x="56" y="72"/>
                    <a:pt x="72" y="56"/>
                    <a:pt x="72" y="36"/>
                  </a:cubicBezTo>
                  <a:cubicBezTo>
                    <a:pt x="72" y="17"/>
                    <a:pt x="56" y="0"/>
                    <a:pt x="36" y="0"/>
                  </a:cubicBezTo>
                  <a:close/>
                  <a:moveTo>
                    <a:pt x="57" y="31"/>
                  </a:moveTo>
                  <a:cubicBezTo>
                    <a:pt x="55" y="45"/>
                    <a:pt x="42" y="56"/>
                    <a:pt x="38" y="59"/>
                  </a:cubicBezTo>
                  <a:cubicBezTo>
                    <a:pt x="34" y="61"/>
                    <a:pt x="30" y="58"/>
                    <a:pt x="29" y="55"/>
                  </a:cubicBezTo>
                  <a:cubicBezTo>
                    <a:pt x="27" y="52"/>
                    <a:pt x="22" y="35"/>
                    <a:pt x="21" y="33"/>
                  </a:cubicBezTo>
                  <a:cubicBezTo>
                    <a:pt x="20" y="32"/>
                    <a:pt x="16" y="35"/>
                    <a:pt x="16" y="35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32"/>
                    <a:pt x="22" y="24"/>
                    <a:pt x="28" y="23"/>
                  </a:cubicBezTo>
                  <a:cubicBezTo>
                    <a:pt x="33" y="22"/>
                    <a:pt x="33" y="32"/>
                    <a:pt x="35" y="37"/>
                  </a:cubicBezTo>
                  <a:cubicBezTo>
                    <a:pt x="36" y="43"/>
                    <a:pt x="37" y="46"/>
                    <a:pt x="38" y="46"/>
                  </a:cubicBezTo>
                  <a:cubicBezTo>
                    <a:pt x="39" y="46"/>
                    <a:pt x="42" y="43"/>
                    <a:pt x="44" y="38"/>
                  </a:cubicBezTo>
                  <a:cubicBezTo>
                    <a:pt x="47" y="34"/>
                    <a:pt x="44" y="29"/>
                    <a:pt x="39" y="32"/>
                  </a:cubicBezTo>
                  <a:cubicBezTo>
                    <a:pt x="41" y="21"/>
                    <a:pt x="60" y="18"/>
                    <a:pt x="57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8" name="任意多边形: 形状 187">
              <a:extLst>
                <a:ext uri="{FF2B5EF4-FFF2-40B4-BE49-F238E27FC236}">
                  <a16:creationId xmlns:a16="http://schemas.microsoft.com/office/drawing/2014/main" id="{65E54077-8DBE-4546-936C-0602CFC26C10}"/>
                </a:ext>
              </a:extLst>
            </p:cNvPr>
            <p:cNvSpPr/>
            <p:nvPr/>
          </p:nvSpPr>
          <p:spPr bwMode="auto">
            <a:xfrm>
              <a:off x="5843650" y="2888238"/>
              <a:ext cx="150716" cy="150714"/>
            </a:xfrm>
            <a:custGeom>
              <a:avLst/>
              <a:gdLst>
                <a:gd name="T0" fmla="*/ 23 w 47"/>
                <a:gd name="T1" fmla="*/ 0 h 47"/>
                <a:gd name="T2" fmla="*/ 0 w 47"/>
                <a:gd name="T3" fmla="*/ 24 h 47"/>
                <a:gd name="T4" fmla="*/ 23 w 47"/>
                <a:gd name="T5" fmla="*/ 47 h 47"/>
                <a:gd name="T6" fmla="*/ 47 w 47"/>
                <a:gd name="T7" fmla="*/ 24 h 47"/>
                <a:gd name="T8" fmla="*/ 23 w 47"/>
                <a:gd name="T9" fmla="*/ 0 h 47"/>
                <a:gd name="T10" fmla="*/ 5 w 47"/>
                <a:gd name="T11" fmla="*/ 24 h 47"/>
                <a:gd name="T12" fmla="*/ 23 w 47"/>
                <a:gd name="T13" fmla="*/ 6 h 47"/>
                <a:gd name="T14" fmla="*/ 23 w 47"/>
                <a:gd name="T15" fmla="*/ 42 h 47"/>
                <a:gd name="T16" fmla="*/ 5 w 47"/>
                <a:gd name="T17" fmla="*/ 24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7">
                  <a:moveTo>
                    <a:pt x="23" y="0"/>
                  </a:moveTo>
                  <a:cubicBezTo>
                    <a:pt x="10" y="0"/>
                    <a:pt x="0" y="11"/>
                    <a:pt x="0" y="24"/>
                  </a:cubicBezTo>
                  <a:cubicBezTo>
                    <a:pt x="0" y="37"/>
                    <a:pt x="10" y="47"/>
                    <a:pt x="23" y="47"/>
                  </a:cubicBezTo>
                  <a:cubicBezTo>
                    <a:pt x="36" y="47"/>
                    <a:pt x="47" y="37"/>
                    <a:pt x="47" y="24"/>
                  </a:cubicBezTo>
                  <a:cubicBezTo>
                    <a:pt x="47" y="11"/>
                    <a:pt x="36" y="0"/>
                    <a:pt x="23" y="0"/>
                  </a:cubicBezTo>
                  <a:close/>
                  <a:moveTo>
                    <a:pt x="5" y="24"/>
                  </a:moveTo>
                  <a:cubicBezTo>
                    <a:pt x="5" y="14"/>
                    <a:pt x="13" y="6"/>
                    <a:pt x="23" y="6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13" y="42"/>
                    <a:pt x="5" y="34"/>
                    <a:pt x="5" y="2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9" name="任意多边形: 形状 188">
              <a:extLst>
                <a:ext uri="{FF2B5EF4-FFF2-40B4-BE49-F238E27FC236}">
                  <a16:creationId xmlns:a16="http://schemas.microsoft.com/office/drawing/2014/main" id="{EB5D5DDB-3FA0-4892-A04E-160449934A3E}"/>
                </a:ext>
              </a:extLst>
            </p:cNvPr>
            <p:cNvSpPr/>
            <p:nvPr/>
          </p:nvSpPr>
          <p:spPr bwMode="auto">
            <a:xfrm>
              <a:off x="5900413" y="2101392"/>
              <a:ext cx="215306" cy="199648"/>
            </a:xfrm>
            <a:custGeom>
              <a:avLst/>
              <a:gdLst>
                <a:gd name="T0" fmla="*/ 34 w 67"/>
                <a:gd name="T1" fmla="*/ 8 h 62"/>
                <a:gd name="T2" fmla="*/ 23 w 67"/>
                <a:gd name="T3" fmla="*/ 10 h 62"/>
                <a:gd name="T4" fmla="*/ 15 w 67"/>
                <a:gd name="T5" fmla="*/ 14 h 62"/>
                <a:gd name="T6" fmla="*/ 8 w 67"/>
                <a:gd name="T7" fmla="*/ 27 h 62"/>
                <a:gd name="T8" fmla="*/ 11 w 67"/>
                <a:gd name="T9" fmla="*/ 35 h 62"/>
                <a:gd name="T10" fmla="*/ 17 w 67"/>
                <a:gd name="T11" fmla="*/ 41 h 62"/>
                <a:gd name="T12" fmla="*/ 21 w 67"/>
                <a:gd name="T13" fmla="*/ 47 h 62"/>
                <a:gd name="T14" fmla="*/ 21 w 67"/>
                <a:gd name="T15" fmla="*/ 49 h 62"/>
                <a:gd name="T16" fmla="*/ 22 w 67"/>
                <a:gd name="T17" fmla="*/ 48 h 62"/>
                <a:gd name="T18" fmla="*/ 28 w 67"/>
                <a:gd name="T19" fmla="*/ 45 h 62"/>
                <a:gd name="T20" fmla="*/ 29 w 67"/>
                <a:gd name="T21" fmla="*/ 46 h 62"/>
                <a:gd name="T22" fmla="*/ 34 w 67"/>
                <a:gd name="T23" fmla="*/ 46 h 62"/>
                <a:gd name="T24" fmla="*/ 44 w 67"/>
                <a:gd name="T25" fmla="*/ 44 h 62"/>
                <a:gd name="T26" fmla="*/ 52 w 67"/>
                <a:gd name="T27" fmla="*/ 40 h 62"/>
                <a:gd name="T28" fmla="*/ 59 w 67"/>
                <a:gd name="T29" fmla="*/ 27 h 62"/>
                <a:gd name="T30" fmla="*/ 52 w 67"/>
                <a:gd name="T31" fmla="*/ 14 h 62"/>
                <a:gd name="T32" fmla="*/ 44 w 67"/>
                <a:gd name="T33" fmla="*/ 10 h 62"/>
                <a:gd name="T34" fmla="*/ 34 w 67"/>
                <a:gd name="T35" fmla="*/ 8 h 62"/>
                <a:gd name="T36" fmla="*/ 34 w 67"/>
                <a:gd name="T37" fmla="*/ 0 h 62"/>
                <a:gd name="T38" fmla="*/ 34 w 67"/>
                <a:gd name="T39" fmla="*/ 0 h 62"/>
                <a:gd name="T40" fmla="*/ 67 w 67"/>
                <a:gd name="T41" fmla="*/ 27 h 62"/>
                <a:gd name="T42" fmla="*/ 34 w 67"/>
                <a:gd name="T43" fmla="*/ 54 h 62"/>
                <a:gd name="T44" fmla="*/ 28 w 67"/>
                <a:gd name="T45" fmla="*/ 54 h 62"/>
                <a:gd name="T46" fmla="*/ 4 w 67"/>
                <a:gd name="T47" fmla="*/ 62 h 62"/>
                <a:gd name="T48" fmla="*/ 4 w 67"/>
                <a:gd name="T49" fmla="*/ 61 h 62"/>
                <a:gd name="T50" fmla="*/ 13 w 67"/>
                <a:gd name="T51" fmla="*/ 50 h 62"/>
                <a:gd name="T52" fmla="*/ 12 w 67"/>
                <a:gd name="T53" fmla="*/ 48 h 62"/>
                <a:gd name="T54" fmla="*/ 0 w 67"/>
                <a:gd name="T55" fmla="*/ 27 h 62"/>
                <a:gd name="T56" fmla="*/ 34 w 67"/>
                <a:gd name="T57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62">
                  <a:moveTo>
                    <a:pt x="34" y="8"/>
                  </a:moveTo>
                  <a:cubicBezTo>
                    <a:pt x="30" y="8"/>
                    <a:pt x="26" y="9"/>
                    <a:pt x="23" y="10"/>
                  </a:cubicBezTo>
                  <a:cubicBezTo>
                    <a:pt x="20" y="11"/>
                    <a:pt x="17" y="12"/>
                    <a:pt x="15" y="14"/>
                  </a:cubicBezTo>
                  <a:cubicBezTo>
                    <a:pt x="11" y="18"/>
                    <a:pt x="8" y="22"/>
                    <a:pt x="8" y="27"/>
                  </a:cubicBezTo>
                  <a:cubicBezTo>
                    <a:pt x="8" y="30"/>
                    <a:pt x="9" y="32"/>
                    <a:pt x="11" y="35"/>
                  </a:cubicBezTo>
                  <a:cubicBezTo>
                    <a:pt x="12" y="37"/>
                    <a:pt x="14" y="39"/>
                    <a:pt x="17" y="41"/>
                  </a:cubicBezTo>
                  <a:cubicBezTo>
                    <a:pt x="19" y="42"/>
                    <a:pt x="20" y="45"/>
                    <a:pt x="21" y="47"/>
                  </a:cubicBezTo>
                  <a:cubicBezTo>
                    <a:pt x="21" y="48"/>
                    <a:pt x="21" y="48"/>
                    <a:pt x="21" y="49"/>
                  </a:cubicBezTo>
                  <a:cubicBezTo>
                    <a:pt x="21" y="49"/>
                    <a:pt x="22" y="48"/>
                    <a:pt x="22" y="48"/>
                  </a:cubicBezTo>
                  <a:cubicBezTo>
                    <a:pt x="24" y="46"/>
                    <a:pt x="26" y="45"/>
                    <a:pt x="28" y="45"/>
                  </a:cubicBezTo>
                  <a:cubicBezTo>
                    <a:pt x="29" y="45"/>
                    <a:pt x="29" y="45"/>
                    <a:pt x="29" y="46"/>
                  </a:cubicBezTo>
                  <a:cubicBezTo>
                    <a:pt x="31" y="46"/>
                    <a:pt x="32" y="46"/>
                    <a:pt x="34" y="46"/>
                  </a:cubicBezTo>
                  <a:cubicBezTo>
                    <a:pt x="37" y="46"/>
                    <a:pt x="41" y="45"/>
                    <a:pt x="44" y="44"/>
                  </a:cubicBezTo>
                  <a:cubicBezTo>
                    <a:pt x="47" y="43"/>
                    <a:pt x="50" y="42"/>
                    <a:pt x="52" y="40"/>
                  </a:cubicBezTo>
                  <a:cubicBezTo>
                    <a:pt x="56" y="36"/>
                    <a:pt x="59" y="32"/>
                    <a:pt x="59" y="27"/>
                  </a:cubicBezTo>
                  <a:cubicBezTo>
                    <a:pt x="59" y="22"/>
                    <a:pt x="56" y="18"/>
                    <a:pt x="52" y="14"/>
                  </a:cubicBezTo>
                  <a:cubicBezTo>
                    <a:pt x="50" y="12"/>
                    <a:pt x="47" y="11"/>
                    <a:pt x="44" y="10"/>
                  </a:cubicBezTo>
                  <a:cubicBezTo>
                    <a:pt x="41" y="9"/>
                    <a:pt x="37" y="8"/>
                    <a:pt x="34" y="8"/>
                  </a:cubicBezTo>
                  <a:close/>
                  <a:moveTo>
                    <a:pt x="34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52" y="0"/>
                    <a:pt x="67" y="12"/>
                    <a:pt x="67" y="27"/>
                  </a:cubicBezTo>
                  <a:cubicBezTo>
                    <a:pt x="67" y="42"/>
                    <a:pt x="52" y="54"/>
                    <a:pt x="34" y="54"/>
                  </a:cubicBezTo>
                  <a:cubicBezTo>
                    <a:pt x="32" y="54"/>
                    <a:pt x="30" y="54"/>
                    <a:pt x="28" y="54"/>
                  </a:cubicBezTo>
                  <a:cubicBezTo>
                    <a:pt x="21" y="61"/>
                    <a:pt x="13" y="62"/>
                    <a:pt x="4" y="62"/>
                  </a:cubicBezTo>
                  <a:cubicBezTo>
                    <a:pt x="4" y="61"/>
                    <a:pt x="4" y="61"/>
                    <a:pt x="4" y="61"/>
                  </a:cubicBezTo>
                  <a:cubicBezTo>
                    <a:pt x="9" y="59"/>
                    <a:pt x="13" y="55"/>
                    <a:pt x="13" y="50"/>
                  </a:cubicBezTo>
                  <a:cubicBezTo>
                    <a:pt x="13" y="49"/>
                    <a:pt x="13" y="49"/>
                    <a:pt x="12" y="48"/>
                  </a:cubicBezTo>
                  <a:cubicBezTo>
                    <a:pt x="5" y="43"/>
                    <a:pt x="0" y="36"/>
                    <a:pt x="0" y="27"/>
                  </a:cubicBezTo>
                  <a:cubicBezTo>
                    <a:pt x="0" y="12"/>
                    <a:pt x="15" y="0"/>
                    <a:pt x="34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0" name="任意多边形: 形状 189">
              <a:extLst>
                <a:ext uri="{FF2B5EF4-FFF2-40B4-BE49-F238E27FC236}">
                  <a16:creationId xmlns:a16="http://schemas.microsoft.com/office/drawing/2014/main" id="{4241ED60-4FA9-4758-8F78-672AF0B3C968}"/>
                </a:ext>
              </a:extLst>
            </p:cNvPr>
            <p:cNvSpPr/>
            <p:nvPr/>
          </p:nvSpPr>
          <p:spPr bwMode="auto">
            <a:xfrm>
              <a:off x="6312728" y="2886689"/>
              <a:ext cx="207477" cy="203563"/>
            </a:xfrm>
            <a:custGeom>
              <a:avLst/>
              <a:gdLst>
                <a:gd name="T0" fmla="*/ 62 w 65"/>
                <a:gd name="T1" fmla="*/ 36 h 64"/>
                <a:gd name="T2" fmla="*/ 62 w 65"/>
                <a:gd name="T3" fmla="*/ 32 h 64"/>
                <a:gd name="T4" fmla="*/ 33 w 65"/>
                <a:gd name="T5" fmla="*/ 3 h 64"/>
                <a:gd name="T6" fmla="*/ 28 w 65"/>
                <a:gd name="T7" fmla="*/ 3 h 64"/>
                <a:gd name="T8" fmla="*/ 18 w 65"/>
                <a:gd name="T9" fmla="*/ 0 h 64"/>
                <a:gd name="T10" fmla="*/ 0 w 65"/>
                <a:gd name="T11" fmla="*/ 18 h 64"/>
                <a:gd name="T12" fmla="*/ 3 w 65"/>
                <a:gd name="T13" fmla="*/ 28 h 64"/>
                <a:gd name="T14" fmla="*/ 3 w 65"/>
                <a:gd name="T15" fmla="*/ 32 h 64"/>
                <a:gd name="T16" fmla="*/ 33 w 65"/>
                <a:gd name="T17" fmla="*/ 62 h 64"/>
                <a:gd name="T18" fmla="*/ 38 w 65"/>
                <a:gd name="T19" fmla="*/ 62 h 64"/>
                <a:gd name="T20" fmla="*/ 47 w 65"/>
                <a:gd name="T21" fmla="*/ 64 h 64"/>
                <a:gd name="T22" fmla="*/ 65 w 65"/>
                <a:gd name="T23" fmla="*/ 46 h 64"/>
                <a:gd name="T24" fmla="*/ 62 w 65"/>
                <a:gd name="T25" fmla="*/ 36 h 64"/>
                <a:gd name="T26" fmla="*/ 35 w 65"/>
                <a:gd name="T27" fmla="*/ 54 h 64"/>
                <a:gd name="T28" fmla="*/ 17 w 65"/>
                <a:gd name="T29" fmla="*/ 49 h 64"/>
                <a:gd name="T30" fmla="*/ 18 w 65"/>
                <a:gd name="T31" fmla="*/ 39 h 64"/>
                <a:gd name="T32" fmla="*/ 26 w 65"/>
                <a:gd name="T33" fmla="*/ 45 h 64"/>
                <a:gd name="T34" fmla="*/ 40 w 65"/>
                <a:gd name="T35" fmla="*/ 44 h 64"/>
                <a:gd name="T36" fmla="*/ 32 w 65"/>
                <a:gd name="T37" fmla="*/ 36 h 64"/>
                <a:gd name="T38" fmla="*/ 15 w 65"/>
                <a:gd name="T39" fmla="*/ 23 h 64"/>
                <a:gd name="T40" fmla="*/ 28 w 65"/>
                <a:gd name="T41" fmla="*/ 10 h 64"/>
                <a:gd name="T42" fmla="*/ 46 w 65"/>
                <a:gd name="T43" fmla="*/ 15 h 64"/>
                <a:gd name="T44" fmla="*/ 45 w 65"/>
                <a:gd name="T45" fmla="*/ 24 h 64"/>
                <a:gd name="T46" fmla="*/ 32 w 65"/>
                <a:gd name="T47" fmla="*/ 17 h 64"/>
                <a:gd name="T48" fmla="*/ 29 w 65"/>
                <a:gd name="T49" fmla="*/ 27 h 64"/>
                <a:gd name="T50" fmla="*/ 50 w 65"/>
                <a:gd name="T51" fmla="*/ 37 h 64"/>
                <a:gd name="T52" fmla="*/ 35 w 65"/>
                <a:gd name="T53" fmla="*/ 5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65" h="64">
                  <a:moveTo>
                    <a:pt x="62" y="36"/>
                  </a:moveTo>
                  <a:cubicBezTo>
                    <a:pt x="62" y="35"/>
                    <a:pt x="62" y="34"/>
                    <a:pt x="62" y="32"/>
                  </a:cubicBezTo>
                  <a:cubicBezTo>
                    <a:pt x="62" y="16"/>
                    <a:pt x="49" y="3"/>
                    <a:pt x="33" y="3"/>
                  </a:cubicBezTo>
                  <a:cubicBezTo>
                    <a:pt x="31" y="3"/>
                    <a:pt x="29" y="3"/>
                    <a:pt x="28" y="3"/>
                  </a:cubicBezTo>
                  <a:cubicBezTo>
                    <a:pt x="25" y="1"/>
                    <a:pt x="22" y="0"/>
                    <a:pt x="18" y="0"/>
                  </a:cubicBezTo>
                  <a:cubicBezTo>
                    <a:pt x="8" y="0"/>
                    <a:pt x="0" y="8"/>
                    <a:pt x="0" y="18"/>
                  </a:cubicBezTo>
                  <a:cubicBezTo>
                    <a:pt x="0" y="21"/>
                    <a:pt x="1" y="25"/>
                    <a:pt x="3" y="28"/>
                  </a:cubicBezTo>
                  <a:cubicBezTo>
                    <a:pt x="3" y="29"/>
                    <a:pt x="3" y="31"/>
                    <a:pt x="3" y="32"/>
                  </a:cubicBezTo>
                  <a:cubicBezTo>
                    <a:pt x="3" y="49"/>
                    <a:pt x="16" y="62"/>
                    <a:pt x="33" y="62"/>
                  </a:cubicBezTo>
                  <a:cubicBezTo>
                    <a:pt x="34" y="62"/>
                    <a:pt x="36" y="62"/>
                    <a:pt x="38" y="62"/>
                  </a:cubicBezTo>
                  <a:cubicBezTo>
                    <a:pt x="41" y="63"/>
                    <a:pt x="44" y="64"/>
                    <a:pt x="47" y="64"/>
                  </a:cubicBezTo>
                  <a:cubicBezTo>
                    <a:pt x="57" y="64"/>
                    <a:pt x="65" y="56"/>
                    <a:pt x="65" y="46"/>
                  </a:cubicBezTo>
                  <a:cubicBezTo>
                    <a:pt x="65" y="43"/>
                    <a:pt x="64" y="39"/>
                    <a:pt x="62" y="36"/>
                  </a:cubicBezTo>
                  <a:close/>
                  <a:moveTo>
                    <a:pt x="35" y="54"/>
                  </a:moveTo>
                  <a:cubicBezTo>
                    <a:pt x="26" y="55"/>
                    <a:pt x="21" y="53"/>
                    <a:pt x="17" y="49"/>
                  </a:cubicBezTo>
                  <a:cubicBezTo>
                    <a:pt x="13" y="45"/>
                    <a:pt x="15" y="40"/>
                    <a:pt x="18" y="39"/>
                  </a:cubicBezTo>
                  <a:cubicBezTo>
                    <a:pt x="22" y="39"/>
                    <a:pt x="24" y="44"/>
                    <a:pt x="26" y="45"/>
                  </a:cubicBezTo>
                  <a:cubicBezTo>
                    <a:pt x="28" y="46"/>
                    <a:pt x="36" y="49"/>
                    <a:pt x="40" y="44"/>
                  </a:cubicBezTo>
                  <a:cubicBezTo>
                    <a:pt x="44" y="39"/>
                    <a:pt x="37" y="37"/>
                    <a:pt x="32" y="36"/>
                  </a:cubicBezTo>
                  <a:cubicBezTo>
                    <a:pt x="24" y="35"/>
                    <a:pt x="14" y="31"/>
                    <a:pt x="15" y="23"/>
                  </a:cubicBezTo>
                  <a:cubicBezTo>
                    <a:pt x="16" y="15"/>
                    <a:pt x="22" y="11"/>
                    <a:pt x="28" y="10"/>
                  </a:cubicBezTo>
                  <a:cubicBezTo>
                    <a:pt x="37" y="9"/>
                    <a:pt x="42" y="11"/>
                    <a:pt x="46" y="15"/>
                  </a:cubicBezTo>
                  <a:cubicBezTo>
                    <a:pt x="51" y="19"/>
                    <a:pt x="48" y="24"/>
                    <a:pt x="45" y="24"/>
                  </a:cubicBezTo>
                  <a:cubicBezTo>
                    <a:pt x="42" y="24"/>
                    <a:pt x="39" y="17"/>
                    <a:pt x="32" y="17"/>
                  </a:cubicBezTo>
                  <a:cubicBezTo>
                    <a:pt x="25" y="17"/>
                    <a:pt x="20" y="24"/>
                    <a:pt x="29" y="27"/>
                  </a:cubicBezTo>
                  <a:cubicBezTo>
                    <a:pt x="37" y="29"/>
                    <a:pt x="47" y="30"/>
                    <a:pt x="50" y="37"/>
                  </a:cubicBezTo>
                  <a:cubicBezTo>
                    <a:pt x="53" y="45"/>
                    <a:pt x="45" y="54"/>
                    <a:pt x="35" y="5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1" name="任意多边形: 形状 190">
              <a:extLst>
                <a:ext uri="{FF2B5EF4-FFF2-40B4-BE49-F238E27FC236}">
                  <a16:creationId xmlns:a16="http://schemas.microsoft.com/office/drawing/2014/main" id="{FD125885-6B09-430A-B334-598614C4E4F8}"/>
                </a:ext>
              </a:extLst>
            </p:cNvPr>
            <p:cNvSpPr/>
            <p:nvPr/>
          </p:nvSpPr>
          <p:spPr bwMode="auto">
            <a:xfrm>
              <a:off x="5156630" y="2140538"/>
              <a:ext cx="262282" cy="281855"/>
            </a:xfrm>
            <a:custGeom>
              <a:avLst/>
              <a:gdLst>
                <a:gd name="T0" fmla="*/ 78 w 82"/>
                <a:gd name="T1" fmla="*/ 22 h 88"/>
                <a:gd name="T2" fmla="*/ 50 w 82"/>
                <a:gd name="T3" fmla="*/ 2 h 88"/>
                <a:gd name="T4" fmla="*/ 40 w 82"/>
                <a:gd name="T5" fmla="*/ 4 h 88"/>
                <a:gd name="T6" fmla="*/ 3 w 82"/>
                <a:gd name="T7" fmla="*/ 55 h 88"/>
                <a:gd name="T8" fmla="*/ 4 w 82"/>
                <a:gd name="T9" fmla="*/ 65 h 88"/>
                <a:gd name="T10" fmla="*/ 32 w 82"/>
                <a:gd name="T11" fmla="*/ 85 h 88"/>
                <a:gd name="T12" fmla="*/ 42 w 82"/>
                <a:gd name="T13" fmla="*/ 84 h 88"/>
                <a:gd name="T14" fmla="*/ 80 w 82"/>
                <a:gd name="T15" fmla="*/ 33 h 88"/>
                <a:gd name="T16" fmla="*/ 78 w 82"/>
                <a:gd name="T17" fmla="*/ 22 h 88"/>
                <a:gd name="T18" fmla="*/ 54 w 82"/>
                <a:gd name="T19" fmla="*/ 9 h 88"/>
                <a:gd name="T20" fmla="*/ 70 w 82"/>
                <a:gd name="T21" fmla="*/ 21 h 88"/>
                <a:gd name="T22" fmla="*/ 68 w 82"/>
                <a:gd name="T23" fmla="*/ 23 h 88"/>
                <a:gd name="T24" fmla="*/ 53 w 82"/>
                <a:gd name="T25" fmla="*/ 11 h 88"/>
                <a:gd name="T26" fmla="*/ 54 w 82"/>
                <a:gd name="T27" fmla="*/ 9 h 88"/>
                <a:gd name="T28" fmla="*/ 21 w 82"/>
                <a:gd name="T29" fmla="*/ 71 h 88"/>
                <a:gd name="T30" fmla="*/ 20 w 82"/>
                <a:gd name="T31" fmla="*/ 64 h 88"/>
                <a:gd name="T32" fmla="*/ 27 w 82"/>
                <a:gd name="T33" fmla="*/ 63 h 88"/>
                <a:gd name="T34" fmla="*/ 28 w 82"/>
                <a:gd name="T35" fmla="*/ 70 h 88"/>
                <a:gd name="T36" fmla="*/ 21 w 82"/>
                <a:gd name="T37" fmla="*/ 71 h 88"/>
                <a:gd name="T38" fmla="*/ 45 w 82"/>
                <a:gd name="T39" fmla="*/ 71 h 88"/>
                <a:gd name="T40" fmla="*/ 14 w 82"/>
                <a:gd name="T41" fmla="*/ 48 h 88"/>
                <a:gd name="T42" fmla="*/ 43 w 82"/>
                <a:gd name="T43" fmla="*/ 9 h 88"/>
                <a:gd name="T44" fmla="*/ 74 w 82"/>
                <a:gd name="T45" fmla="*/ 32 h 88"/>
                <a:gd name="T46" fmla="*/ 45 w 82"/>
                <a:gd name="T47" fmla="*/ 7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2" h="88">
                  <a:moveTo>
                    <a:pt x="78" y="22"/>
                  </a:moveTo>
                  <a:cubicBezTo>
                    <a:pt x="50" y="2"/>
                    <a:pt x="50" y="2"/>
                    <a:pt x="50" y="2"/>
                  </a:cubicBezTo>
                  <a:cubicBezTo>
                    <a:pt x="47" y="0"/>
                    <a:pt x="43" y="1"/>
                    <a:pt x="40" y="4"/>
                  </a:cubicBezTo>
                  <a:cubicBezTo>
                    <a:pt x="3" y="55"/>
                    <a:pt x="3" y="55"/>
                    <a:pt x="3" y="55"/>
                  </a:cubicBezTo>
                  <a:cubicBezTo>
                    <a:pt x="0" y="58"/>
                    <a:pt x="1" y="63"/>
                    <a:pt x="4" y="65"/>
                  </a:cubicBezTo>
                  <a:cubicBezTo>
                    <a:pt x="32" y="85"/>
                    <a:pt x="32" y="85"/>
                    <a:pt x="32" y="85"/>
                  </a:cubicBezTo>
                  <a:cubicBezTo>
                    <a:pt x="35" y="88"/>
                    <a:pt x="40" y="87"/>
                    <a:pt x="42" y="84"/>
                  </a:cubicBezTo>
                  <a:cubicBezTo>
                    <a:pt x="80" y="33"/>
                    <a:pt x="80" y="33"/>
                    <a:pt x="80" y="33"/>
                  </a:cubicBezTo>
                  <a:cubicBezTo>
                    <a:pt x="82" y="29"/>
                    <a:pt x="81" y="25"/>
                    <a:pt x="78" y="22"/>
                  </a:cubicBezTo>
                  <a:close/>
                  <a:moveTo>
                    <a:pt x="54" y="9"/>
                  </a:moveTo>
                  <a:cubicBezTo>
                    <a:pt x="70" y="21"/>
                    <a:pt x="70" y="21"/>
                    <a:pt x="70" y="21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53" y="11"/>
                    <a:pt x="53" y="11"/>
                    <a:pt x="53" y="11"/>
                  </a:cubicBezTo>
                  <a:lnTo>
                    <a:pt x="54" y="9"/>
                  </a:lnTo>
                  <a:close/>
                  <a:moveTo>
                    <a:pt x="21" y="71"/>
                  </a:moveTo>
                  <a:cubicBezTo>
                    <a:pt x="19" y="70"/>
                    <a:pt x="18" y="67"/>
                    <a:pt x="20" y="64"/>
                  </a:cubicBezTo>
                  <a:cubicBezTo>
                    <a:pt x="22" y="62"/>
                    <a:pt x="25" y="62"/>
                    <a:pt x="27" y="63"/>
                  </a:cubicBezTo>
                  <a:cubicBezTo>
                    <a:pt x="29" y="65"/>
                    <a:pt x="29" y="68"/>
                    <a:pt x="28" y="70"/>
                  </a:cubicBezTo>
                  <a:cubicBezTo>
                    <a:pt x="26" y="72"/>
                    <a:pt x="23" y="73"/>
                    <a:pt x="21" y="71"/>
                  </a:cubicBezTo>
                  <a:close/>
                  <a:moveTo>
                    <a:pt x="45" y="71"/>
                  </a:moveTo>
                  <a:cubicBezTo>
                    <a:pt x="14" y="48"/>
                    <a:pt x="14" y="48"/>
                    <a:pt x="14" y="48"/>
                  </a:cubicBezTo>
                  <a:cubicBezTo>
                    <a:pt x="43" y="9"/>
                    <a:pt x="43" y="9"/>
                    <a:pt x="43" y="9"/>
                  </a:cubicBezTo>
                  <a:cubicBezTo>
                    <a:pt x="74" y="32"/>
                    <a:pt x="74" y="32"/>
                    <a:pt x="74" y="32"/>
                  </a:cubicBezTo>
                  <a:lnTo>
                    <a:pt x="45" y="7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2" name="任意多边形: 形状 191">
              <a:extLst>
                <a:ext uri="{FF2B5EF4-FFF2-40B4-BE49-F238E27FC236}">
                  <a16:creationId xmlns:a16="http://schemas.microsoft.com/office/drawing/2014/main" id="{39DABF75-3C98-4469-A389-5D0E25DA4050}"/>
                </a:ext>
              </a:extLst>
            </p:cNvPr>
            <p:cNvSpPr/>
            <p:nvPr/>
          </p:nvSpPr>
          <p:spPr bwMode="auto">
            <a:xfrm>
              <a:off x="4814099" y="2956744"/>
              <a:ext cx="137013" cy="152673"/>
            </a:xfrm>
            <a:custGeom>
              <a:avLst/>
              <a:gdLst>
                <a:gd name="T0" fmla="*/ 34 w 43"/>
                <a:gd name="T1" fmla="*/ 15 h 48"/>
                <a:gd name="T2" fmla="*/ 36 w 43"/>
                <a:gd name="T3" fmla="*/ 12 h 48"/>
                <a:gd name="T4" fmla="*/ 39 w 43"/>
                <a:gd name="T5" fmla="*/ 7 h 48"/>
                <a:gd name="T6" fmla="*/ 38 w 43"/>
                <a:gd name="T7" fmla="*/ 1 h 48"/>
                <a:gd name="T8" fmla="*/ 34 w 43"/>
                <a:gd name="T9" fmla="*/ 0 h 48"/>
                <a:gd name="T10" fmla="*/ 27 w 43"/>
                <a:gd name="T11" fmla="*/ 3 h 48"/>
                <a:gd name="T12" fmla="*/ 21 w 43"/>
                <a:gd name="T13" fmla="*/ 14 h 48"/>
                <a:gd name="T14" fmla="*/ 16 w 43"/>
                <a:gd name="T15" fmla="*/ 3 h 48"/>
                <a:gd name="T16" fmla="*/ 10 w 43"/>
                <a:gd name="T17" fmla="*/ 1 h 48"/>
                <a:gd name="T18" fmla="*/ 6 w 43"/>
                <a:gd name="T19" fmla="*/ 3 h 48"/>
                <a:gd name="T20" fmla="*/ 7 w 43"/>
                <a:gd name="T21" fmla="*/ 12 h 48"/>
                <a:gd name="T22" fmla="*/ 10 w 43"/>
                <a:gd name="T23" fmla="*/ 15 h 48"/>
                <a:gd name="T24" fmla="*/ 0 w 43"/>
                <a:gd name="T25" fmla="*/ 15 h 48"/>
                <a:gd name="T26" fmla="*/ 0 w 43"/>
                <a:gd name="T27" fmla="*/ 27 h 48"/>
                <a:gd name="T28" fmla="*/ 3 w 43"/>
                <a:gd name="T29" fmla="*/ 27 h 48"/>
                <a:gd name="T30" fmla="*/ 3 w 43"/>
                <a:gd name="T31" fmla="*/ 48 h 48"/>
                <a:gd name="T32" fmla="*/ 40 w 43"/>
                <a:gd name="T33" fmla="*/ 48 h 48"/>
                <a:gd name="T34" fmla="*/ 40 w 43"/>
                <a:gd name="T35" fmla="*/ 27 h 48"/>
                <a:gd name="T36" fmla="*/ 43 w 43"/>
                <a:gd name="T37" fmla="*/ 27 h 48"/>
                <a:gd name="T38" fmla="*/ 43 w 43"/>
                <a:gd name="T39" fmla="*/ 15 h 48"/>
                <a:gd name="T40" fmla="*/ 34 w 43"/>
                <a:gd name="T41" fmla="*/ 15 h 48"/>
                <a:gd name="T42" fmla="*/ 29 w 43"/>
                <a:gd name="T43" fmla="*/ 5 h 48"/>
                <a:gd name="T44" fmla="*/ 34 w 43"/>
                <a:gd name="T45" fmla="*/ 3 h 48"/>
                <a:gd name="T46" fmla="*/ 35 w 43"/>
                <a:gd name="T47" fmla="*/ 4 h 48"/>
                <a:gd name="T48" fmla="*/ 34 w 43"/>
                <a:gd name="T49" fmla="*/ 10 h 48"/>
                <a:gd name="T50" fmla="*/ 27 w 43"/>
                <a:gd name="T51" fmla="*/ 15 h 48"/>
                <a:gd name="T52" fmla="*/ 24 w 43"/>
                <a:gd name="T53" fmla="*/ 15 h 48"/>
                <a:gd name="T54" fmla="*/ 29 w 43"/>
                <a:gd name="T55" fmla="*/ 5 h 48"/>
                <a:gd name="T56" fmla="*/ 8 w 43"/>
                <a:gd name="T57" fmla="*/ 7 h 48"/>
                <a:gd name="T58" fmla="*/ 9 w 43"/>
                <a:gd name="T59" fmla="*/ 5 h 48"/>
                <a:gd name="T60" fmla="*/ 10 w 43"/>
                <a:gd name="T61" fmla="*/ 4 h 48"/>
                <a:gd name="T62" fmla="*/ 10 w 43"/>
                <a:gd name="T63" fmla="*/ 4 h 48"/>
                <a:gd name="T64" fmla="*/ 13 w 43"/>
                <a:gd name="T65" fmla="*/ 6 h 48"/>
                <a:gd name="T66" fmla="*/ 17 w 43"/>
                <a:gd name="T67" fmla="*/ 13 h 48"/>
                <a:gd name="T68" fmla="*/ 17 w 43"/>
                <a:gd name="T69" fmla="*/ 13 h 48"/>
                <a:gd name="T70" fmla="*/ 17 w 43"/>
                <a:gd name="T71" fmla="*/ 13 h 48"/>
                <a:gd name="T72" fmla="*/ 9 w 43"/>
                <a:gd name="T73" fmla="*/ 10 h 48"/>
                <a:gd name="T74" fmla="*/ 8 w 43"/>
                <a:gd name="T75" fmla="*/ 7 h 48"/>
                <a:gd name="T76" fmla="*/ 18 w 43"/>
                <a:gd name="T77" fmla="*/ 45 h 48"/>
                <a:gd name="T78" fmla="*/ 6 w 43"/>
                <a:gd name="T79" fmla="*/ 45 h 48"/>
                <a:gd name="T80" fmla="*/ 6 w 43"/>
                <a:gd name="T81" fmla="*/ 25 h 48"/>
                <a:gd name="T82" fmla="*/ 18 w 43"/>
                <a:gd name="T83" fmla="*/ 25 h 48"/>
                <a:gd name="T84" fmla="*/ 18 w 43"/>
                <a:gd name="T85" fmla="*/ 45 h 48"/>
                <a:gd name="T86" fmla="*/ 18 w 43"/>
                <a:gd name="T87" fmla="*/ 24 h 48"/>
                <a:gd name="T88" fmla="*/ 3 w 43"/>
                <a:gd name="T89" fmla="*/ 24 h 48"/>
                <a:gd name="T90" fmla="*/ 3 w 43"/>
                <a:gd name="T91" fmla="*/ 18 h 48"/>
                <a:gd name="T92" fmla="*/ 18 w 43"/>
                <a:gd name="T93" fmla="*/ 18 h 48"/>
                <a:gd name="T94" fmla="*/ 18 w 43"/>
                <a:gd name="T95" fmla="*/ 24 h 48"/>
                <a:gd name="T96" fmla="*/ 37 w 43"/>
                <a:gd name="T97" fmla="*/ 45 h 48"/>
                <a:gd name="T98" fmla="*/ 25 w 43"/>
                <a:gd name="T99" fmla="*/ 45 h 48"/>
                <a:gd name="T100" fmla="*/ 25 w 43"/>
                <a:gd name="T101" fmla="*/ 25 h 48"/>
                <a:gd name="T102" fmla="*/ 37 w 43"/>
                <a:gd name="T103" fmla="*/ 25 h 48"/>
                <a:gd name="T104" fmla="*/ 37 w 43"/>
                <a:gd name="T105" fmla="*/ 45 h 48"/>
                <a:gd name="T106" fmla="*/ 40 w 43"/>
                <a:gd name="T107" fmla="*/ 24 h 48"/>
                <a:gd name="T108" fmla="*/ 25 w 43"/>
                <a:gd name="T109" fmla="*/ 24 h 48"/>
                <a:gd name="T110" fmla="*/ 25 w 43"/>
                <a:gd name="T111" fmla="*/ 18 h 48"/>
                <a:gd name="T112" fmla="*/ 40 w 43"/>
                <a:gd name="T113" fmla="*/ 18 h 48"/>
                <a:gd name="T114" fmla="*/ 40 w 43"/>
                <a:gd name="T115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" h="48">
                  <a:moveTo>
                    <a:pt x="34" y="15"/>
                  </a:moveTo>
                  <a:cubicBezTo>
                    <a:pt x="35" y="14"/>
                    <a:pt x="36" y="13"/>
                    <a:pt x="36" y="12"/>
                  </a:cubicBezTo>
                  <a:cubicBezTo>
                    <a:pt x="38" y="11"/>
                    <a:pt x="39" y="9"/>
                    <a:pt x="39" y="7"/>
                  </a:cubicBezTo>
                  <a:cubicBezTo>
                    <a:pt x="40" y="5"/>
                    <a:pt x="39" y="3"/>
                    <a:pt x="38" y="1"/>
                  </a:cubicBezTo>
                  <a:cubicBezTo>
                    <a:pt x="37" y="0"/>
                    <a:pt x="35" y="0"/>
                    <a:pt x="34" y="0"/>
                  </a:cubicBezTo>
                  <a:cubicBezTo>
                    <a:pt x="31" y="0"/>
                    <a:pt x="29" y="1"/>
                    <a:pt x="27" y="3"/>
                  </a:cubicBezTo>
                  <a:cubicBezTo>
                    <a:pt x="24" y="6"/>
                    <a:pt x="22" y="10"/>
                    <a:pt x="21" y="14"/>
                  </a:cubicBezTo>
                  <a:cubicBezTo>
                    <a:pt x="20" y="10"/>
                    <a:pt x="19" y="6"/>
                    <a:pt x="16" y="3"/>
                  </a:cubicBezTo>
                  <a:cubicBezTo>
                    <a:pt x="14" y="2"/>
                    <a:pt x="12" y="1"/>
                    <a:pt x="10" y="1"/>
                  </a:cubicBezTo>
                  <a:cubicBezTo>
                    <a:pt x="9" y="1"/>
                    <a:pt x="7" y="1"/>
                    <a:pt x="6" y="3"/>
                  </a:cubicBezTo>
                  <a:cubicBezTo>
                    <a:pt x="4" y="5"/>
                    <a:pt x="4" y="9"/>
                    <a:pt x="7" y="12"/>
                  </a:cubicBezTo>
                  <a:cubicBezTo>
                    <a:pt x="8" y="13"/>
                    <a:pt x="9" y="14"/>
                    <a:pt x="1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3" y="27"/>
                    <a:pt x="3" y="27"/>
                    <a:pt x="3" y="27"/>
                  </a:cubicBezTo>
                  <a:cubicBezTo>
                    <a:pt x="3" y="48"/>
                    <a:pt x="3" y="48"/>
                    <a:pt x="3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27"/>
                    <a:pt x="40" y="27"/>
                    <a:pt x="40" y="27"/>
                  </a:cubicBezTo>
                  <a:cubicBezTo>
                    <a:pt x="43" y="27"/>
                    <a:pt x="43" y="27"/>
                    <a:pt x="43" y="27"/>
                  </a:cubicBezTo>
                  <a:cubicBezTo>
                    <a:pt x="43" y="15"/>
                    <a:pt x="43" y="15"/>
                    <a:pt x="43" y="15"/>
                  </a:cubicBezTo>
                  <a:lnTo>
                    <a:pt x="34" y="15"/>
                  </a:lnTo>
                  <a:close/>
                  <a:moveTo>
                    <a:pt x="29" y="5"/>
                  </a:moveTo>
                  <a:cubicBezTo>
                    <a:pt x="31" y="4"/>
                    <a:pt x="32" y="3"/>
                    <a:pt x="34" y="3"/>
                  </a:cubicBezTo>
                  <a:cubicBezTo>
                    <a:pt x="34" y="3"/>
                    <a:pt x="35" y="3"/>
                    <a:pt x="35" y="4"/>
                  </a:cubicBezTo>
                  <a:cubicBezTo>
                    <a:pt x="37" y="5"/>
                    <a:pt x="36" y="8"/>
                    <a:pt x="34" y="10"/>
                  </a:cubicBezTo>
                  <a:cubicBezTo>
                    <a:pt x="32" y="12"/>
                    <a:pt x="29" y="14"/>
                    <a:pt x="27" y="15"/>
                  </a:cubicBezTo>
                  <a:cubicBezTo>
                    <a:pt x="24" y="15"/>
                    <a:pt x="24" y="15"/>
                    <a:pt x="24" y="15"/>
                  </a:cubicBezTo>
                  <a:cubicBezTo>
                    <a:pt x="25" y="12"/>
                    <a:pt x="27" y="8"/>
                    <a:pt x="29" y="5"/>
                  </a:cubicBezTo>
                  <a:close/>
                  <a:moveTo>
                    <a:pt x="8" y="7"/>
                  </a:moveTo>
                  <a:cubicBezTo>
                    <a:pt x="8" y="6"/>
                    <a:pt x="8" y="6"/>
                    <a:pt x="9" y="5"/>
                  </a:cubicBezTo>
                  <a:cubicBezTo>
                    <a:pt x="9" y="5"/>
                    <a:pt x="10" y="4"/>
                    <a:pt x="10" y="4"/>
                  </a:cubicBezTo>
                  <a:cubicBezTo>
                    <a:pt x="10" y="4"/>
                    <a:pt x="10" y="4"/>
                    <a:pt x="10" y="4"/>
                  </a:cubicBezTo>
                  <a:cubicBezTo>
                    <a:pt x="11" y="4"/>
                    <a:pt x="12" y="5"/>
                    <a:pt x="13" y="6"/>
                  </a:cubicBezTo>
                  <a:cubicBezTo>
                    <a:pt x="15" y="7"/>
                    <a:pt x="16" y="10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7" y="13"/>
                    <a:pt x="17" y="13"/>
                    <a:pt x="17" y="13"/>
                  </a:cubicBezTo>
                  <a:cubicBezTo>
                    <a:pt x="14" y="13"/>
                    <a:pt x="11" y="11"/>
                    <a:pt x="9" y="10"/>
                  </a:cubicBezTo>
                  <a:cubicBezTo>
                    <a:pt x="9" y="9"/>
                    <a:pt x="8" y="8"/>
                    <a:pt x="8" y="7"/>
                  </a:cubicBezTo>
                  <a:close/>
                  <a:moveTo>
                    <a:pt x="18" y="45"/>
                  </a:moveTo>
                  <a:cubicBezTo>
                    <a:pt x="6" y="45"/>
                    <a:pt x="6" y="45"/>
                    <a:pt x="6" y="45"/>
                  </a:cubicBezTo>
                  <a:cubicBezTo>
                    <a:pt x="6" y="25"/>
                    <a:pt x="6" y="25"/>
                    <a:pt x="6" y="25"/>
                  </a:cubicBezTo>
                  <a:cubicBezTo>
                    <a:pt x="18" y="25"/>
                    <a:pt x="18" y="25"/>
                    <a:pt x="18" y="25"/>
                  </a:cubicBezTo>
                  <a:lnTo>
                    <a:pt x="18" y="45"/>
                  </a:lnTo>
                  <a:close/>
                  <a:moveTo>
                    <a:pt x="18" y="24"/>
                  </a:moveTo>
                  <a:cubicBezTo>
                    <a:pt x="3" y="24"/>
                    <a:pt x="3" y="24"/>
                    <a:pt x="3" y="24"/>
                  </a:cubicBezTo>
                  <a:cubicBezTo>
                    <a:pt x="3" y="18"/>
                    <a:pt x="3" y="18"/>
                    <a:pt x="3" y="18"/>
                  </a:cubicBezTo>
                  <a:cubicBezTo>
                    <a:pt x="18" y="18"/>
                    <a:pt x="18" y="18"/>
                    <a:pt x="18" y="18"/>
                  </a:cubicBezTo>
                  <a:lnTo>
                    <a:pt x="18" y="24"/>
                  </a:lnTo>
                  <a:close/>
                  <a:moveTo>
                    <a:pt x="37" y="45"/>
                  </a:moveTo>
                  <a:cubicBezTo>
                    <a:pt x="25" y="45"/>
                    <a:pt x="25" y="45"/>
                    <a:pt x="25" y="45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37" y="25"/>
                    <a:pt x="37" y="25"/>
                    <a:pt x="37" y="25"/>
                  </a:cubicBezTo>
                  <a:lnTo>
                    <a:pt x="37" y="45"/>
                  </a:lnTo>
                  <a:close/>
                  <a:moveTo>
                    <a:pt x="40" y="24"/>
                  </a:moveTo>
                  <a:cubicBezTo>
                    <a:pt x="25" y="24"/>
                    <a:pt x="25" y="24"/>
                    <a:pt x="25" y="24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40" y="18"/>
                    <a:pt x="40" y="18"/>
                    <a:pt x="40" y="18"/>
                  </a:cubicBezTo>
                  <a:lnTo>
                    <a:pt x="40" y="2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3" name="任意多边形: 形状 192">
              <a:extLst>
                <a:ext uri="{FF2B5EF4-FFF2-40B4-BE49-F238E27FC236}">
                  <a16:creationId xmlns:a16="http://schemas.microsoft.com/office/drawing/2014/main" id="{8C6B93A7-4FBE-4E75-BF1C-D4263BB1D504}"/>
                </a:ext>
              </a:extLst>
            </p:cNvPr>
            <p:cNvSpPr/>
            <p:nvPr/>
          </p:nvSpPr>
          <p:spPr bwMode="auto">
            <a:xfrm>
              <a:off x="5646087" y="3307798"/>
              <a:ext cx="227050" cy="199648"/>
            </a:xfrm>
            <a:custGeom>
              <a:avLst/>
              <a:gdLst>
                <a:gd name="T0" fmla="*/ 76 w 116"/>
                <a:gd name="T1" fmla="*/ 15 h 102"/>
                <a:gd name="T2" fmla="*/ 40 w 116"/>
                <a:gd name="T3" fmla="*/ 0 h 102"/>
                <a:gd name="T4" fmla="*/ 0 w 116"/>
                <a:gd name="T5" fmla="*/ 15 h 102"/>
                <a:gd name="T6" fmla="*/ 0 w 116"/>
                <a:gd name="T7" fmla="*/ 102 h 102"/>
                <a:gd name="T8" fmla="*/ 40 w 116"/>
                <a:gd name="T9" fmla="*/ 87 h 102"/>
                <a:gd name="T10" fmla="*/ 76 w 116"/>
                <a:gd name="T11" fmla="*/ 102 h 102"/>
                <a:gd name="T12" fmla="*/ 116 w 116"/>
                <a:gd name="T13" fmla="*/ 87 h 102"/>
                <a:gd name="T14" fmla="*/ 116 w 116"/>
                <a:gd name="T15" fmla="*/ 0 h 102"/>
                <a:gd name="T16" fmla="*/ 76 w 116"/>
                <a:gd name="T17" fmla="*/ 15 h 102"/>
                <a:gd name="T18" fmla="*/ 44 w 116"/>
                <a:gd name="T19" fmla="*/ 9 h 102"/>
                <a:gd name="T20" fmla="*/ 73 w 116"/>
                <a:gd name="T21" fmla="*/ 22 h 102"/>
                <a:gd name="T22" fmla="*/ 73 w 116"/>
                <a:gd name="T23" fmla="*/ 92 h 102"/>
                <a:gd name="T24" fmla="*/ 44 w 116"/>
                <a:gd name="T25" fmla="*/ 80 h 102"/>
                <a:gd name="T26" fmla="*/ 44 w 116"/>
                <a:gd name="T27" fmla="*/ 9 h 102"/>
                <a:gd name="T28" fmla="*/ 8 w 116"/>
                <a:gd name="T29" fmla="*/ 20 h 102"/>
                <a:gd name="T30" fmla="*/ 37 w 116"/>
                <a:gd name="T31" fmla="*/ 9 h 102"/>
                <a:gd name="T32" fmla="*/ 37 w 116"/>
                <a:gd name="T33" fmla="*/ 80 h 102"/>
                <a:gd name="T34" fmla="*/ 8 w 116"/>
                <a:gd name="T35" fmla="*/ 92 h 102"/>
                <a:gd name="T36" fmla="*/ 8 w 116"/>
                <a:gd name="T37" fmla="*/ 20 h 102"/>
                <a:gd name="T38" fmla="*/ 109 w 116"/>
                <a:gd name="T39" fmla="*/ 82 h 102"/>
                <a:gd name="T40" fmla="*/ 80 w 116"/>
                <a:gd name="T41" fmla="*/ 92 h 102"/>
                <a:gd name="T42" fmla="*/ 80 w 116"/>
                <a:gd name="T43" fmla="*/ 22 h 102"/>
                <a:gd name="T44" fmla="*/ 109 w 116"/>
                <a:gd name="T45" fmla="*/ 10 h 102"/>
                <a:gd name="T46" fmla="*/ 109 w 116"/>
                <a:gd name="T47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6" h="102">
                  <a:moveTo>
                    <a:pt x="76" y="15"/>
                  </a:moveTo>
                  <a:lnTo>
                    <a:pt x="40" y="0"/>
                  </a:lnTo>
                  <a:lnTo>
                    <a:pt x="0" y="15"/>
                  </a:lnTo>
                  <a:lnTo>
                    <a:pt x="0" y="102"/>
                  </a:lnTo>
                  <a:lnTo>
                    <a:pt x="40" y="87"/>
                  </a:lnTo>
                  <a:lnTo>
                    <a:pt x="76" y="102"/>
                  </a:lnTo>
                  <a:lnTo>
                    <a:pt x="116" y="87"/>
                  </a:lnTo>
                  <a:lnTo>
                    <a:pt x="116" y="0"/>
                  </a:lnTo>
                  <a:lnTo>
                    <a:pt x="76" y="15"/>
                  </a:lnTo>
                  <a:close/>
                  <a:moveTo>
                    <a:pt x="44" y="9"/>
                  </a:moveTo>
                  <a:lnTo>
                    <a:pt x="73" y="22"/>
                  </a:lnTo>
                  <a:lnTo>
                    <a:pt x="73" y="92"/>
                  </a:lnTo>
                  <a:lnTo>
                    <a:pt x="44" y="80"/>
                  </a:lnTo>
                  <a:lnTo>
                    <a:pt x="44" y="9"/>
                  </a:lnTo>
                  <a:close/>
                  <a:moveTo>
                    <a:pt x="8" y="20"/>
                  </a:moveTo>
                  <a:lnTo>
                    <a:pt x="37" y="9"/>
                  </a:lnTo>
                  <a:lnTo>
                    <a:pt x="37" y="80"/>
                  </a:lnTo>
                  <a:lnTo>
                    <a:pt x="8" y="92"/>
                  </a:lnTo>
                  <a:lnTo>
                    <a:pt x="8" y="20"/>
                  </a:lnTo>
                  <a:close/>
                  <a:moveTo>
                    <a:pt x="109" y="82"/>
                  </a:moveTo>
                  <a:lnTo>
                    <a:pt x="80" y="92"/>
                  </a:lnTo>
                  <a:lnTo>
                    <a:pt x="80" y="22"/>
                  </a:lnTo>
                  <a:lnTo>
                    <a:pt x="109" y="10"/>
                  </a:lnTo>
                  <a:lnTo>
                    <a:pt x="109" y="8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09BB2632-E767-4AC5-A885-8BBCA8240C03}"/>
              </a:ext>
            </a:extLst>
          </p:cNvPr>
          <p:cNvGrpSpPr/>
          <p:nvPr/>
        </p:nvGrpSpPr>
        <p:grpSpPr>
          <a:xfrm>
            <a:off x="2214030" y="1697945"/>
            <a:ext cx="3916758" cy="4537753"/>
            <a:chOff x="6868610" y="762985"/>
            <a:chExt cx="5222153" cy="6050117"/>
          </a:xfrm>
          <a:solidFill>
            <a:schemeClr val="accent1"/>
          </a:solidFill>
        </p:grpSpPr>
        <p:sp>
          <p:nvSpPr>
            <p:cNvPr id="34" name="任意多边形: 形状 33">
              <a:extLst>
                <a:ext uri="{FF2B5EF4-FFF2-40B4-BE49-F238E27FC236}">
                  <a16:creationId xmlns:a16="http://schemas.microsoft.com/office/drawing/2014/main" id="{C519945C-7079-4F76-BEE4-2FC724D28E2E}"/>
                </a:ext>
              </a:extLst>
            </p:cNvPr>
            <p:cNvSpPr/>
            <p:nvPr/>
          </p:nvSpPr>
          <p:spPr bwMode="auto">
            <a:xfrm>
              <a:off x="11738444" y="4076751"/>
              <a:ext cx="342533" cy="319044"/>
            </a:xfrm>
            <a:custGeom>
              <a:avLst/>
              <a:gdLst>
                <a:gd name="T0" fmla="*/ 53 w 107"/>
                <a:gd name="T1" fmla="*/ 13 h 100"/>
                <a:gd name="T2" fmla="*/ 37 w 107"/>
                <a:gd name="T3" fmla="*/ 16 h 100"/>
                <a:gd name="T4" fmla="*/ 24 w 107"/>
                <a:gd name="T5" fmla="*/ 23 h 100"/>
                <a:gd name="T6" fmla="*/ 13 w 107"/>
                <a:gd name="T7" fmla="*/ 43 h 100"/>
                <a:gd name="T8" fmla="*/ 17 w 107"/>
                <a:gd name="T9" fmla="*/ 55 h 100"/>
                <a:gd name="T10" fmla="*/ 27 w 107"/>
                <a:gd name="T11" fmla="*/ 66 h 100"/>
                <a:gd name="T12" fmla="*/ 33 w 107"/>
                <a:gd name="T13" fmla="*/ 75 h 100"/>
                <a:gd name="T14" fmla="*/ 33 w 107"/>
                <a:gd name="T15" fmla="*/ 79 h 100"/>
                <a:gd name="T16" fmla="*/ 36 w 107"/>
                <a:gd name="T17" fmla="*/ 77 h 100"/>
                <a:gd name="T18" fmla="*/ 45 w 107"/>
                <a:gd name="T19" fmla="*/ 73 h 100"/>
                <a:gd name="T20" fmla="*/ 47 w 107"/>
                <a:gd name="T21" fmla="*/ 73 h 100"/>
                <a:gd name="T22" fmla="*/ 53 w 107"/>
                <a:gd name="T23" fmla="*/ 73 h 100"/>
                <a:gd name="T24" fmla="*/ 70 w 107"/>
                <a:gd name="T25" fmla="*/ 71 h 100"/>
                <a:gd name="T26" fmla="*/ 83 w 107"/>
                <a:gd name="T27" fmla="*/ 64 h 100"/>
                <a:gd name="T28" fmla="*/ 93 w 107"/>
                <a:gd name="T29" fmla="*/ 43 h 100"/>
                <a:gd name="T30" fmla="*/ 83 w 107"/>
                <a:gd name="T31" fmla="*/ 23 h 100"/>
                <a:gd name="T32" fmla="*/ 70 w 107"/>
                <a:gd name="T33" fmla="*/ 16 h 100"/>
                <a:gd name="T34" fmla="*/ 53 w 107"/>
                <a:gd name="T35" fmla="*/ 13 h 100"/>
                <a:gd name="T36" fmla="*/ 53 w 107"/>
                <a:gd name="T37" fmla="*/ 0 h 100"/>
                <a:gd name="T38" fmla="*/ 53 w 107"/>
                <a:gd name="T39" fmla="*/ 0 h 100"/>
                <a:gd name="T40" fmla="*/ 107 w 107"/>
                <a:gd name="T41" fmla="*/ 43 h 100"/>
                <a:gd name="T42" fmla="*/ 53 w 107"/>
                <a:gd name="T43" fmla="*/ 87 h 100"/>
                <a:gd name="T44" fmla="*/ 45 w 107"/>
                <a:gd name="T45" fmla="*/ 86 h 100"/>
                <a:gd name="T46" fmla="*/ 7 w 107"/>
                <a:gd name="T47" fmla="*/ 100 h 100"/>
                <a:gd name="T48" fmla="*/ 7 w 107"/>
                <a:gd name="T49" fmla="*/ 97 h 100"/>
                <a:gd name="T50" fmla="*/ 20 w 107"/>
                <a:gd name="T51" fmla="*/ 80 h 100"/>
                <a:gd name="T52" fmla="*/ 20 w 107"/>
                <a:gd name="T53" fmla="*/ 77 h 100"/>
                <a:gd name="T54" fmla="*/ 0 w 107"/>
                <a:gd name="T55" fmla="*/ 43 h 100"/>
                <a:gd name="T56" fmla="*/ 53 w 107"/>
                <a:gd name="T57" fmla="*/ 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07" h="100">
                  <a:moveTo>
                    <a:pt x="53" y="13"/>
                  </a:moveTo>
                  <a:cubicBezTo>
                    <a:pt x="48" y="13"/>
                    <a:pt x="42" y="14"/>
                    <a:pt x="37" y="16"/>
                  </a:cubicBezTo>
                  <a:cubicBezTo>
                    <a:pt x="32" y="18"/>
                    <a:pt x="28" y="20"/>
                    <a:pt x="24" y="23"/>
                  </a:cubicBezTo>
                  <a:cubicBezTo>
                    <a:pt x="17" y="29"/>
                    <a:pt x="13" y="36"/>
                    <a:pt x="13" y="43"/>
                  </a:cubicBezTo>
                  <a:cubicBezTo>
                    <a:pt x="13" y="48"/>
                    <a:pt x="14" y="52"/>
                    <a:pt x="17" y="55"/>
                  </a:cubicBezTo>
                  <a:cubicBezTo>
                    <a:pt x="19" y="59"/>
                    <a:pt x="23" y="63"/>
                    <a:pt x="27" y="66"/>
                  </a:cubicBezTo>
                  <a:cubicBezTo>
                    <a:pt x="30" y="68"/>
                    <a:pt x="32" y="71"/>
                    <a:pt x="33" y="75"/>
                  </a:cubicBezTo>
                  <a:cubicBezTo>
                    <a:pt x="33" y="76"/>
                    <a:pt x="33" y="78"/>
                    <a:pt x="33" y="79"/>
                  </a:cubicBezTo>
                  <a:cubicBezTo>
                    <a:pt x="34" y="78"/>
                    <a:pt x="35" y="78"/>
                    <a:pt x="36" y="77"/>
                  </a:cubicBezTo>
                  <a:cubicBezTo>
                    <a:pt x="38" y="74"/>
                    <a:pt x="42" y="73"/>
                    <a:pt x="45" y="73"/>
                  </a:cubicBezTo>
                  <a:cubicBezTo>
                    <a:pt x="46" y="73"/>
                    <a:pt x="46" y="73"/>
                    <a:pt x="47" y="73"/>
                  </a:cubicBezTo>
                  <a:cubicBezTo>
                    <a:pt x="49" y="73"/>
                    <a:pt x="51" y="73"/>
                    <a:pt x="53" y="73"/>
                  </a:cubicBezTo>
                  <a:cubicBezTo>
                    <a:pt x="59" y="73"/>
                    <a:pt x="65" y="73"/>
                    <a:pt x="70" y="71"/>
                  </a:cubicBezTo>
                  <a:cubicBezTo>
                    <a:pt x="75" y="69"/>
                    <a:pt x="79" y="67"/>
                    <a:pt x="83" y="64"/>
                  </a:cubicBezTo>
                  <a:cubicBezTo>
                    <a:pt x="90" y="58"/>
                    <a:pt x="93" y="51"/>
                    <a:pt x="93" y="43"/>
                  </a:cubicBezTo>
                  <a:cubicBezTo>
                    <a:pt x="93" y="36"/>
                    <a:pt x="90" y="29"/>
                    <a:pt x="83" y="23"/>
                  </a:cubicBezTo>
                  <a:cubicBezTo>
                    <a:pt x="79" y="20"/>
                    <a:pt x="75" y="18"/>
                    <a:pt x="70" y="16"/>
                  </a:cubicBezTo>
                  <a:cubicBezTo>
                    <a:pt x="65" y="14"/>
                    <a:pt x="59" y="13"/>
                    <a:pt x="53" y="13"/>
                  </a:cubicBezTo>
                  <a:close/>
                  <a:moveTo>
                    <a:pt x="53" y="0"/>
                  </a:moveTo>
                  <a:cubicBezTo>
                    <a:pt x="53" y="0"/>
                    <a:pt x="53" y="0"/>
                    <a:pt x="53" y="0"/>
                  </a:cubicBezTo>
                  <a:cubicBezTo>
                    <a:pt x="83" y="0"/>
                    <a:pt x="107" y="19"/>
                    <a:pt x="107" y="43"/>
                  </a:cubicBezTo>
                  <a:cubicBezTo>
                    <a:pt x="107" y="67"/>
                    <a:pt x="83" y="87"/>
                    <a:pt x="53" y="87"/>
                  </a:cubicBezTo>
                  <a:cubicBezTo>
                    <a:pt x="51" y="87"/>
                    <a:pt x="48" y="87"/>
                    <a:pt x="45" y="86"/>
                  </a:cubicBezTo>
                  <a:cubicBezTo>
                    <a:pt x="34" y="98"/>
                    <a:pt x="20" y="100"/>
                    <a:pt x="7" y="100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4" y="94"/>
                    <a:pt x="20" y="87"/>
                    <a:pt x="20" y="80"/>
                  </a:cubicBezTo>
                  <a:cubicBezTo>
                    <a:pt x="20" y="79"/>
                    <a:pt x="20" y="78"/>
                    <a:pt x="20" y="77"/>
                  </a:cubicBezTo>
                  <a:cubicBezTo>
                    <a:pt x="8" y="69"/>
                    <a:pt x="0" y="57"/>
                    <a:pt x="0" y="43"/>
                  </a:cubicBezTo>
                  <a:cubicBezTo>
                    <a:pt x="0" y="19"/>
                    <a:pt x="24" y="0"/>
                    <a:pt x="5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5" name="任意多边形: 形状 34">
              <a:extLst>
                <a:ext uri="{FF2B5EF4-FFF2-40B4-BE49-F238E27FC236}">
                  <a16:creationId xmlns:a16="http://schemas.microsoft.com/office/drawing/2014/main" id="{D94ED1EA-04FA-4136-93EF-CB397FBE456E}"/>
                </a:ext>
              </a:extLst>
            </p:cNvPr>
            <p:cNvSpPr/>
            <p:nvPr/>
          </p:nvSpPr>
          <p:spPr bwMode="auto">
            <a:xfrm>
              <a:off x="11501608" y="4250954"/>
              <a:ext cx="215306" cy="215307"/>
            </a:xfrm>
            <a:custGeom>
              <a:avLst/>
              <a:gdLst>
                <a:gd name="T0" fmla="*/ 62 w 67"/>
                <a:gd name="T1" fmla="*/ 17 h 67"/>
                <a:gd name="T2" fmla="*/ 67 w 67"/>
                <a:gd name="T3" fmla="*/ 13 h 67"/>
                <a:gd name="T4" fmla="*/ 67 w 67"/>
                <a:gd name="T5" fmla="*/ 5 h 67"/>
                <a:gd name="T6" fmla="*/ 58 w 67"/>
                <a:gd name="T7" fmla="*/ 5 h 67"/>
                <a:gd name="T8" fmla="*/ 58 w 67"/>
                <a:gd name="T9" fmla="*/ 0 h 67"/>
                <a:gd name="T10" fmla="*/ 4 w 67"/>
                <a:gd name="T11" fmla="*/ 0 h 67"/>
                <a:gd name="T12" fmla="*/ 0 w 67"/>
                <a:gd name="T13" fmla="*/ 5 h 67"/>
                <a:gd name="T14" fmla="*/ 0 w 67"/>
                <a:gd name="T15" fmla="*/ 63 h 67"/>
                <a:gd name="T16" fmla="*/ 4 w 67"/>
                <a:gd name="T17" fmla="*/ 67 h 67"/>
                <a:gd name="T18" fmla="*/ 58 w 67"/>
                <a:gd name="T19" fmla="*/ 67 h 67"/>
                <a:gd name="T20" fmla="*/ 58 w 67"/>
                <a:gd name="T21" fmla="*/ 50 h 67"/>
                <a:gd name="T22" fmla="*/ 62 w 67"/>
                <a:gd name="T23" fmla="*/ 50 h 67"/>
                <a:gd name="T24" fmla="*/ 67 w 67"/>
                <a:gd name="T25" fmla="*/ 46 h 67"/>
                <a:gd name="T26" fmla="*/ 67 w 67"/>
                <a:gd name="T27" fmla="*/ 38 h 67"/>
                <a:gd name="T28" fmla="*/ 58 w 67"/>
                <a:gd name="T29" fmla="*/ 38 h 67"/>
                <a:gd name="T30" fmla="*/ 58 w 67"/>
                <a:gd name="T31" fmla="*/ 34 h 67"/>
                <a:gd name="T32" fmla="*/ 62 w 67"/>
                <a:gd name="T33" fmla="*/ 34 h 67"/>
                <a:gd name="T34" fmla="*/ 67 w 67"/>
                <a:gd name="T35" fmla="*/ 30 h 67"/>
                <a:gd name="T36" fmla="*/ 67 w 67"/>
                <a:gd name="T37" fmla="*/ 21 h 67"/>
                <a:gd name="T38" fmla="*/ 58 w 67"/>
                <a:gd name="T39" fmla="*/ 21 h 67"/>
                <a:gd name="T40" fmla="*/ 58 w 67"/>
                <a:gd name="T41" fmla="*/ 17 h 67"/>
                <a:gd name="T42" fmla="*/ 62 w 67"/>
                <a:gd name="T43" fmla="*/ 17 h 67"/>
                <a:gd name="T44" fmla="*/ 37 w 67"/>
                <a:gd name="T45" fmla="*/ 17 h 67"/>
                <a:gd name="T46" fmla="*/ 46 w 67"/>
                <a:gd name="T47" fmla="*/ 25 h 67"/>
                <a:gd name="T48" fmla="*/ 37 w 67"/>
                <a:gd name="T49" fmla="*/ 34 h 67"/>
                <a:gd name="T50" fmla="*/ 29 w 67"/>
                <a:gd name="T51" fmla="*/ 25 h 67"/>
                <a:gd name="T52" fmla="*/ 37 w 67"/>
                <a:gd name="T53" fmla="*/ 17 h 67"/>
                <a:gd name="T54" fmla="*/ 16 w 67"/>
                <a:gd name="T55" fmla="*/ 63 h 67"/>
                <a:gd name="T56" fmla="*/ 12 w 67"/>
                <a:gd name="T57" fmla="*/ 63 h 67"/>
                <a:gd name="T58" fmla="*/ 12 w 67"/>
                <a:gd name="T59" fmla="*/ 5 h 67"/>
                <a:gd name="T60" fmla="*/ 16 w 67"/>
                <a:gd name="T61" fmla="*/ 5 h 67"/>
                <a:gd name="T62" fmla="*/ 16 w 67"/>
                <a:gd name="T63" fmla="*/ 63 h 67"/>
                <a:gd name="T64" fmla="*/ 50 w 67"/>
                <a:gd name="T65" fmla="*/ 50 h 67"/>
                <a:gd name="T66" fmla="*/ 25 w 67"/>
                <a:gd name="T67" fmla="*/ 50 h 67"/>
                <a:gd name="T68" fmla="*/ 25 w 67"/>
                <a:gd name="T69" fmla="*/ 46 h 67"/>
                <a:gd name="T70" fmla="*/ 33 w 67"/>
                <a:gd name="T71" fmla="*/ 38 h 67"/>
                <a:gd name="T72" fmla="*/ 33 w 67"/>
                <a:gd name="T73" fmla="*/ 38 h 67"/>
                <a:gd name="T74" fmla="*/ 41 w 67"/>
                <a:gd name="T75" fmla="*/ 38 h 67"/>
                <a:gd name="T76" fmla="*/ 50 w 67"/>
                <a:gd name="T77" fmla="*/ 46 h 67"/>
                <a:gd name="T78" fmla="*/ 50 w 67"/>
                <a:gd name="T79" fmla="*/ 50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7" h="67">
                  <a:moveTo>
                    <a:pt x="62" y="17"/>
                  </a:moveTo>
                  <a:cubicBezTo>
                    <a:pt x="65" y="17"/>
                    <a:pt x="67" y="15"/>
                    <a:pt x="67" y="13"/>
                  </a:cubicBezTo>
                  <a:cubicBezTo>
                    <a:pt x="67" y="5"/>
                    <a:pt x="67" y="5"/>
                    <a:pt x="67" y="5"/>
                  </a:cubicBezTo>
                  <a:cubicBezTo>
                    <a:pt x="58" y="5"/>
                    <a:pt x="58" y="5"/>
                    <a:pt x="58" y="5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65"/>
                    <a:pt x="2" y="67"/>
                    <a:pt x="4" y="67"/>
                  </a:cubicBezTo>
                  <a:cubicBezTo>
                    <a:pt x="58" y="67"/>
                    <a:pt x="58" y="67"/>
                    <a:pt x="58" y="67"/>
                  </a:cubicBezTo>
                  <a:cubicBezTo>
                    <a:pt x="58" y="50"/>
                    <a:pt x="58" y="50"/>
                    <a:pt x="58" y="50"/>
                  </a:cubicBezTo>
                  <a:cubicBezTo>
                    <a:pt x="62" y="50"/>
                    <a:pt x="62" y="50"/>
                    <a:pt x="62" y="50"/>
                  </a:cubicBezTo>
                  <a:cubicBezTo>
                    <a:pt x="65" y="50"/>
                    <a:pt x="67" y="49"/>
                    <a:pt x="67" y="46"/>
                  </a:cubicBezTo>
                  <a:cubicBezTo>
                    <a:pt x="67" y="38"/>
                    <a:pt x="67" y="38"/>
                    <a:pt x="67" y="38"/>
                  </a:cubicBezTo>
                  <a:cubicBezTo>
                    <a:pt x="58" y="38"/>
                    <a:pt x="58" y="38"/>
                    <a:pt x="58" y="38"/>
                  </a:cubicBezTo>
                  <a:cubicBezTo>
                    <a:pt x="58" y="34"/>
                    <a:pt x="58" y="34"/>
                    <a:pt x="58" y="34"/>
                  </a:cubicBezTo>
                  <a:cubicBezTo>
                    <a:pt x="62" y="34"/>
                    <a:pt x="62" y="34"/>
                    <a:pt x="62" y="34"/>
                  </a:cubicBezTo>
                  <a:cubicBezTo>
                    <a:pt x="65" y="34"/>
                    <a:pt x="67" y="32"/>
                    <a:pt x="67" y="30"/>
                  </a:cubicBezTo>
                  <a:cubicBezTo>
                    <a:pt x="67" y="21"/>
                    <a:pt x="67" y="21"/>
                    <a:pt x="67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8" y="17"/>
                    <a:pt x="58" y="17"/>
                    <a:pt x="58" y="17"/>
                  </a:cubicBezTo>
                  <a:lnTo>
                    <a:pt x="62" y="17"/>
                  </a:lnTo>
                  <a:close/>
                  <a:moveTo>
                    <a:pt x="37" y="17"/>
                  </a:moveTo>
                  <a:cubicBezTo>
                    <a:pt x="42" y="17"/>
                    <a:pt x="46" y="21"/>
                    <a:pt x="46" y="25"/>
                  </a:cubicBezTo>
                  <a:cubicBezTo>
                    <a:pt x="46" y="30"/>
                    <a:pt x="42" y="34"/>
                    <a:pt x="37" y="34"/>
                  </a:cubicBezTo>
                  <a:cubicBezTo>
                    <a:pt x="33" y="34"/>
                    <a:pt x="29" y="30"/>
                    <a:pt x="29" y="25"/>
                  </a:cubicBezTo>
                  <a:cubicBezTo>
                    <a:pt x="29" y="21"/>
                    <a:pt x="33" y="17"/>
                    <a:pt x="37" y="17"/>
                  </a:cubicBezTo>
                  <a:close/>
                  <a:moveTo>
                    <a:pt x="16" y="63"/>
                  </a:moveTo>
                  <a:cubicBezTo>
                    <a:pt x="12" y="63"/>
                    <a:pt x="12" y="63"/>
                    <a:pt x="12" y="63"/>
                  </a:cubicBezTo>
                  <a:cubicBezTo>
                    <a:pt x="12" y="5"/>
                    <a:pt x="12" y="5"/>
                    <a:pt x="12" y="5"/>
                  </a:cubicBezTo>
                  <a:cubicBezTo>
                    <a:pt x="16" y="5"/>
                    <a:pt x="16" y="5"/>
                    <a:pt x="16" y="5"/>
                  </a:cubicBezTo>
                  <a:lnTo>
                    <a:pt x="16" y="63"/>
                  </a:lnTo>
                  <a:close/>
                  <a:moveTo>
                    <a:pt x="50" y="50"/>
                  </a:moveTo>
                  <a:cubicBezTo>
                    <a:pt x="25" y="50"/>
                    <a:pt x="25" y="50"/>
                    <a:pt x="25" y="50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2"/>
                    <a:pt x="28" y="38"/>
                    <a:pt x="33" y="38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41" y="38"/>
                    <a:pt x="41" y="38"/>
                    <a:pt x="41" y="38"/>
                  </a:cubicBezTo>
                  <a:cubicBezTo>
                    <a:pt x="46" y="38"/>
                    <a:pt x="50" y="42"/>
                    <a:pt x="50" y="46"/>
                  </a:cubicBezTo>
                  <a:lnTo>
                    <a:pt x="50" y="5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6" name="任意多边形: 形状 35">
              <a:extLst>
                <a:ext uri="{FF2B5EF4-FFF2-40B4-BE49-F238E27FC236}">
                  <a16:creationId xmlns:a16="http://schemas.microsoft.com/office/drawing/2014/main" id="{1394A80B-5575-46A4-8810-3808FB94B052}"/>
                </a:ext>
              </a:extLst>
            </p:cNvPr>
            <p:cNvSpPr/>
            <p:nvPr/>
          </p:nvSpPr>
          <p:spPr bwMode="auto">
            <a:xfrm>
              <a:off x="11869586" y="3663754"/>
              <a:ext cx="185947" cy="182032"/>
            </a:xfrm>
            <a:custGeom>
              <a:avLst/>
              <a:gdLst>
                <a:gd name="T0" fmla="*/ 58 w 58"/>
                <a:gd name="T1" fmla="*/ 29 h 57"/>
                <a:gd name="T2" fmla="*/ 29 w 58"/>
                <a:gd name="T3" fmla="*/ 57 h 57"/>
                <a:gd name="T4" fmla="*/ 0 w 58"/>
                <a:gd name="T5" fmla="*/ 29 h 57"/>
                <a:gd name="T6" fmla="*/ 29 w 58"/>
                <a:gd name="T7" fmla="*/ 0 h 57"/>
                <a:gd name="T8" fmla="*/ 58 w 58"/>
                <a:gd name="T9" fmla="*/ 29 h 57"/>
                <a:gd name="T10" fmla="*/ 6 w 58"/>
                <a:gd name="T11" fmla="*/ 29 h 57"/>
                <a:gd name="T12" fmla="*/ 29 w 58"/>
                <a:gd name="T13" fmla="*/ 52 h 57"/>
                <a:gd name="T14" fmla="*/ 52 w 58"/>
                <a:gd name="T15" fmla="*/ 29 h 57"/>
                <a:gd name="T16" fmla="*/ 29 w 58"/>
                <a:gd name="T17" fmla="*/ 6 h 57"/>
                <a:gd name="T18" fmla="*/ 6 w 58"/>
                <a:gd name="T19" fmla="*/ 29 h 57"/>
                <a:gd name="T20" fmla="*/ 32 w 58"/>
                <a:gd name="T21" fmla="*/ 12 h 57"/>
                <a:gd name="T22" fmla="*/ 46 w 58"/>
                <a:gd name="T23" fmla="*/ 26 h 57"/>
                <a:gd name="T24" fmla="*/ 46 w 58"/>
                <a:gd name="T25" fmla="*/ 31 h 57"/>
                <a:gd name="T26" fmla="*/ 41 w 58"/>
                <a:gd name="T27" fmla="*/ 31 h 57"/>
                <a:gd name="T28" fmla="*/ 33 w 58"/>
                <a:gd name="T29" fmla="*/ 23 h 57"/>
                <a:gd name="T30" fmla="*/ 33 w 58"/>
                <a:gd name="T31" fmla="*/ 43 h 57"/>
                <a:gd name="T32" fmla="*/ 29 w 58"/>
                <a:gd name="T33" fmla="*/ 47 h 57"/>
                <a:gd name="T34" fmla="*/ 25 w 58"/>
                <a:gd name="T35" fmla="*/ 43 h 57"/>
                <a:gd name="T36" fmla="*/ 25 w 58"/>
                <a:gd name="T37" fmla="*/ 23 h 57"/>
                <a:gd name="T38" fmla="*/ 17 w 58"/>
                <a:gd name="T39" fmla="*/ 31 h 57"/>
                <a:gd name="T40" fmla="*/ 12 w 58"/>
                <a:gd name="T41" fmla="*/ 31 h 57"/>
                <a:gd name="T42" fmla="*/ 11 w 58"/>
                <a:gd name="T43" fmla="*/ 29 h 57"/>
                <a:gd name="T44" fmla="*/ 12 w 58"/>
                <a:gd name="T45" fmla="*/ 26 h 57"/>
                <a:gd name="T46" fmla="*/ 27 w 58"/>
                <a:gd name="T47" fmla="*/ 12 h 57"/>
                <a:gd name="T48" fmla="*/ 32 w 58"/>
                <a:gd name="T49" fmla="*/ 1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8" h="57">
                  <a:moveTo>
                    <a:pt x="58" y="29"/>
                  </a:moveTo>
                  <a:cubicBezTo>
                    <a:pt x="58" y="45"/>
                    <a:pt x="45" y="57"/>
                    <a:pt x="29" y="57"/>
                  </a:cubicBezTo>
                  <a:cubicBezTo>
                    <a:pt x="13" y="57"/>
                    <a:pt x="0" y="45"/>
                    <a:pt x="0" y="29"/>
                  </a:cubicBezTo>
                  <a:cubicBezTo>
                    <a:pt x="0" y="13"/>
                    <a:pt x="13" y="0"/>
                    <a:pt x="29" y="0"/>
                  </a:cubicBezTo>
                  <a:cubicBezTo>
                    <a:pt x="45" y="0"/>
                    <a:pt x="58" y="13"/>
                    <a:pt x="58" y="29"/>
                  </a:cubicBezTo>
                  <a:close/>
                  <a:moveTo>
                    <a:pt x="6" y="29"/>
                  </a:moveTo>
                  <a:cubicBezTo>
                    <a:pt x="6" y="42"/>
                    <a:pt x="16" y="52"/>
                    <a:pt x="29" y="52"/>
                  </a:cubicBezTo>
                  <a:cubicBezTo>
                    <a:pt x="42" y="52"/>
                    <a:pt x="52" y="42"/>
                    <a:pt x="52" y="29"/>
                  </a:cubicBezTo>
                  <a:cubicBezTo>
                    <a:pt x="52" y="16"/>
                    <a:pt x="42" y="6"/>
                    <a:pt x="29" y="6"/>
                  </a:cubicBezTo>
                  <a:cubicBezTo>
                    <a:pt x="16" y="6"/>
                    <a:pt x="6" y="16"/>
                    <a:pt x="6" y="29"/>
                  </a:cubicBezTo>
                  <a:close/>
                  <a:moveTo>
                    <a:pt x="32" y="12"/>
                  </a:moveTo>
                  <a:cubicBezTo>
                    <a:pt x="46" y="26"/>
                    <a:pt x="46" y="26"/>
                    <a:pt x="46" y="26"/>
                  </a:cubicBezTo>
                  <a:cubicBezTo>
                    <a:pt x="47" y="28"/>
                    <a:pt x="47" y="30"/>
                    <a:pt x="46" y="31"/>
                  </a:cubicBezTo>
                  <a:cubicBezTo>
                    <a:pt x="45" y="33"/>
                    <a:pt x="42" y="33"/>
                    <a:pt x="41" y="31"/>
                  </a:cubicBezTo>
                  <a:cubicBezTo>
                    <a:pt x="33" y="23"/>
                    <a:pt x="33" y="23"/>
                    <a:pt x="33" y="2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3" y="45"/>
                    <a:pt x="31" y="47"/>
                    <a:pt x="29" y="47"/>
                  </a:cubicBezTo>
                  <a:cubicBezTo>
                    <a:pt x="27" y="47"/>
                    <a:pt x="25" y="45"/>
                    <a:pt x="25" y="4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6" y="33"/>
                    <a:pt x="14" y="33"/>
                    <a:pt x="12" y="31"/>
                  </a:cubicBezTo>
                  <a:cubicBezTo>
                    <a:pt x="12" y="31"/>
                    <a:pt x="11" y="30"/>
                    <a:pt x="11" y="29"/>
                  </a:cubicBezTo>
                  <a:cubicBezTo>
                    <a:pt x="11" y="28"/>
                    <a:pt x="12" y="27"/>
                    <a:pt x="12" y="26"/>
                  </a:cubicBezTo>
                  <a:cubicBezTo>
                    <a:pt x="27" y="12"/>
                    <a:pt x="27" y="12"/>
                    <a:pt x="27" y="12"/>
                  </a:cubicBezTo>
                  <a:cubicBezTo>
                    <a:pt x="28" y="11"/>
                    <a:pt x="30" y="11"/>
                    <a:pt x="3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7" name="任意多边形: 形状 36">
              <a:extLst>
                <a:ext uri="{FF2B5EF4-FFF2-40B4-BE49-F238E27FC236}">
                  <a16:creationId xmlns:a16="http://schemas.microsoft.com/office/drawing/2014/main" id="{31AE7B5A-473D-4B24-BDC5-280A1A81391B}"/>
                </a:ext>
              </a:extLst>
            </p:cNvPr>
            <p:cNvSpPr/>
            <p:nvPr/>
          </p:nvSpPr>
          <p:spPr bwMode="auto">
            <a:xfrm>
              <a:off x="11838268" y="3890804"/>
              <a:ext cx="146800" cy="146800"/>
            </a:xfrm>
            <a:custGeom>
              <a:avLst/>
              <a:gdLst>
                <a:gd name="T0" fmla="*/ 3 w 46"/>
                <a:gd name="T1" fmla="*/ 0 h 46"/>
                <a:gd name="T2" fmla="*/ 20 w 46"/>
                <a:gd name="T3" fmla="*/ 0 h 46"/>
                <a:gd name="T4" fmla="*/ 20 w 46"/>
                <a:gd name="T5" fmla="*/ 3 h 46"/>
                <a:gd name="T6" fmla="*/ 3 w 46"/>
                <a:gd name="T7" fmla="*/ 3 h 46"/>
                <a:gd name="T8" fmla="*/ 3 w 46"/>
                <a:gd name="T9" fmla="*/ 0 h 46"/>
                <a:gd name="T10" fmla="*/ 26 w 46"/>
                <a:gd name="T11" fmla="*/ 0 h 46"/>
                <a:gd name="T12" fmla="*/ 43 w 46"/>
                <a:gd name="T13" fmla="*/ 0 h 46"/>
                <a:gd name="T14" fmla="*/ 43 w 46"/>
                <a:gd name="T15" fmla="*/ 3 h 46"/>
                <a:gd name="T16" fmla="*/ 26 w 46"/>
                <a:gd name="T17" fmla="*/ 3 h 46"/>
                <a:gd name="T18" fmla="*/ 26 w 46"/>
                <a:gd name="T19" fmla="*/ 0 h 46"/>
                <a:gd name="T20" fmla="*/ 43 w 46"/>
                <a:gd name="T21" fmla="*/ 14 h 46"/>
                <a:gd name="T22" fmla="*/ 41 w 46"/>
                <a:gd name="T23" fmla="*/ 14 h 46"/>
                <a:gd name="T24" fmla="*/ 41 w 46"/>
                <a:gd name="T25" fmla="*/ 3 h 46"/>
                <a:gd name="T26" fmla="*/ 29 w 46"/>
                <a:gd name="T27" fmla="*/ 3 h 46"/>
                <a:gd name="T28" fmla="*/ 29 w 46"/>
                <a:gd name="T29" fmla="*/ 14 h 46"/>
                <a:gd name="T30" fmla="*/ 17 w 46"/>
                <a:gd name="T31" fmla="*/ 14 h 46"/>
                <a:gd name="T32" fmla="*/ 17 w 46"/>
                <a:gd name="T33" fmla="*/ 3 h 46"/>
                <a:gd name="T34" fmla="*/ 6 w 46"/>
                <a:gd name="T35" fmla="*/ 3 h 46"/>
                <a:gd name="T36" fmla="*/ 6 w 46"/>
                <a:gd name="T37" fmla="*/ 14 h 46"/>
                <a:gd name="T38" fmla="*/ 3 w 46"/>
                <a:gd name="T39" fmla="*/ 14 h 46"/>
                <a:gd name="T40" fmla="*/ 0 w 46"/>
                <a:gd name="T41" fmla="*/ 18 h 46"/>
                <a:gd name="T42" fmla="*/ 0 w 46"/>
                <a:gd name="T43" fmla="*/ 43 h 46"/>
                <a:gd name="T44" fmla="*/ 3 w 46"/>
                <a:gd name="T45" fmla="*/ 46 h 46"/>
                <a:gd name="T46" fmla="*/ 17 w 46"/>
                <a:gd name="T47" fmla="*/ 46 h 46"/>
                <a:gd name="T48" fmla="*/ 20 w 46"/>
                <a:gd name="T49" fmla="*/ 43 h 46"/>
                <a:gd name="T50" fmla="*/ 20 w 46"/>
                <a:gd name="T51" fmla="*/ 26 h 46"/>
                <a:gd name="T52" fmla="*/ 26 w 46"/>
                <a:gd name="T53" fmla="*/ 26 h 46"/>
                <a:gd name="T54" fmla="*/ 26 w 46"/>
                <a:gd name="T55" fmla="*/ 43 h 46"/>
                <a:gd name="T56" fmla="*/ 29 w 46"/>
                <a:gd name="T57" fmla="*/ 46 h 46"/>
                <a:gd name="T58" fmla="*/ 43 w 46"/>
                <a:gd name="T59" fmla="*/ 46 h 46"/>
                <a:gd name="T60" fmla="*/ 46 w 46"/>
                <a:gd name="T61" fmla="*/ 43 h 46"/>
                <a:gd name="T62" fmla="*/ 46 w 46"/>
                <a:gd name="T63" fmla="*/ 18 h 46"/>
                <a:gd name="T64" fmla="*/ 43 w 46"/>
                <a:gd name="T65" fmla="*/ 14 h 46"/>
                <a:gd name="T66" fmla="*/ 16 w 46"/>
                <a:gd name="T67" fmla="*/ 43 h 46"/>
                <a:gd name="T68" fmla="*/ 5 w 46"/>
                <a:gd name="T69" fmla="*/ 43 h 46"/>
                <a:gd name="T70" fmla="*/ 3 w 46"/>
                <a:gd name="T71" fmla="*/ 42 h 46"/>
                <a:gd name="T72" fmla="*/ 5 w 46"/>
                <a:gd name="T73" fmla="*/ 40 h 46"/>
                <a:gd name="T74" fmla="*/ 16 w 46"/>
                <a:gd name="T75" fmla="*/ 40 h 46"/>
                <a:gd name="T76" fmla="*/ 17 w 46"/>
                <a:gd name="T77" fmla="*/ 42 h 46"/>
                <a:gd name="T78" fmla="*/ 16 w 46"/>
                <a:gd name="T79" fmla="*/ 43 h 46"/>
                <a:gd name="T80" fmla="*/ 25 w 46"/>
                <a:gd name="T81" fmla="*/ 23 h 46"/>
                <a:gd name="T82" fmla="*/ 22 w 46"/>
                <a:gd name="T83" fmla="*/ 23 h 46"/>
                <a:gd name="T84" fmla="*/ 20 w 46"/>
                <a:gd name="T85" fmla="*/ 22 h 46"/>
                <a:gd name="T86" fmla="*/ 22 w 46"/>
                <a:gd name="T87" fmla="*/ 20 h 46"/>
                <a:gd name="T88" fmla="*/ 25 w 46"/>
                <a:gd name="T89" fmla="*/ 20 h 46"/>
                <a:gd name="T90" fmla="*/ 26 w 46"/>
                <a:gd name="T91" fmla="*/ 22 h 46"/>
                <a:gd name="T92" fmla="*/ 25 w 46"/>
                <a:gd name="T93" fmla="*/ 23 h 46"/>
                <a:gd name="T94" fmla="*/ 42 w 46"/>
                <a:gd name="T95" fmla="*/ 43 h 46"/>
                <a:gd name="T96" fmla="*/ 31 w 46"/>
                <a:gd name="T97" fmla="*/ 43 h 46"/>
                <a:gd name="T98" fmla="*/ 29 w 46"/>
                <a:gd name="T99" fmla="*/ 42 h 46"/>
                <a:gd name="T100" fmla="*/ 31 w 46"/>
                <a:gd name="T101" fmla="*/ 40 h 46"/>
                <a:gd name="T102" fmla="*/ 42 w 46"/>
                <a:gd name="T103" fmla="*/ 40 h 46"/>
                <a:gd name="T104" fmla="*/ 43 w 46"/>
                <a:gd name="T105" fmla="*/ 42 h 46"/>
                <a:gd name="T106" fmla="*/ 42 w 46"/>
                <a:gd name="T107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46" h="46">
                  <a:moveTo>
                    <a:pt x="3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20" y="3"/>
                    <a:pt x="20" y="3"/>
                    <a:pt x="20" y="3"/>
                  </a:cubicBezTo>
                  <a:cubicBezTo>
                    <a:pt x="3" y="3"/>
                    <a:pt x="3" y="3"/>
                    <a:pt x="3" y="3"/>
                  </a:cubicBezTo>
                  <a:lnTo>
                    <a:pt x="3" y="0"/>
                  </a:lnTo>
                  <a:close/>
                  <a:moveTo>
                    <a:pt x="26" y="0"/>
                  </a:moveTo>
                  <a:cubicBezTo>
                    <a:pt x="43" y="0"/>
                    <a:pt x="43" y="0"/>
                    <a:pt x="43" y="0"/>
                  </a:cubicBezTo>
                  <a:cubicBezTo>
                    <a:pt x="43" y="3"/>
                    <a:pt x="43" y="3"/>
                    <a:pt x="43" y="3"/>
                  </a:cubicBezTo>
                  <a:cubicBezTo>
                    <a:pt x="26" y="3"/>
                    <a:pt x="26" y="3"/>
                    <a:pt x="26" y="3"/>
                  </a:cubicBezTo>
                  <a:lnTo>
                    <a:pt x="26" y="0"/>
                  </a:lnTo>
                  <a:close/>
                  <a:moveTo>
                    <a:pt x="43" y="14"/>
                  </a:moveTo>
                  <a:cubicBezTo>
                    <a:pt x="41" y="14"/>
                    <a:pt x="41" y="14"/>
                    <a:pt x="41" y="14"/>
                  </a:cubicBezTo>
                  <a:cubicBezTo>
                    <a:pt x="41" y="3"/>
                    <a:pt x="41" y="3"/>
                    <a:pt x="41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9" y="14"/>
                    <a:pt x="29" y="14"/>
                    <a:pt x="29" y="14"/>
                  </a:cubicBezTo>
                  <a:cubicBezTo>
                    <a:pt x="17" y="14"/>
                    <a:pt x="17" y="14"/>
                    <a:pt x="17" y="14"/>
                  </a:cubicBezTo>
                  <a:cubicBezTo>
                    <a:pt x="17" y="3"/>
                    <a:pt x="17" y="3"/>
                    <a:pt x="17" y="3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2" y="14"/>
                    <a:pt x="0" y="16"/>
                    <a:pt x="0" y="18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45"/>
                    <a:pt x="2" y="46"/>
                    <a:pt x="3" y="46"/>
                  </a:cubicBezTo>
                  <a:cubicBezTo>
                    <a:pt x="17" y="46"/>
                    <a:pt x="17" y="46"/>
                    <a:pt x="17" y="46"/>
                  </a:cubicBezTo>
                  <a:cubicBezTo>
                    <a:pt x="19" y="46"/>
                    <a:pt x="20" y="45"/>
                    <a:pt x="20" y="43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26" y="26"/>
                    <a:pt x="26" y="26"/>
                    <a:pt x="26" y="26"/>
                  </a:cubicBezTo>
                  <a:cubicBezTo>
                    <a:pt x="26" y="43"/>
                    <a:pt x="26" y="43"/>
                    <a:pt x="26" y="43"/>
                  </a:cubicBezTo>
                  <a:cubicBezTo>
                    <a:pt x="26" y="45"/>
                    <a:pt x="28" y="46"/>
                    <a:pt x="29" y="46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5" y="46"/>
                    <a:pt x="46" y="45"/>
                    <a:pt x="46" y="43"/>
                  </a:cubicBezTo>
                  <a:cubicBezTo>
                    <a:pt x="46" y="18"/>
                    <a:pt x="46" y="18"/>
                    <a:pt x="46" y="18"/>
                  </a:cubicBezTo>
                  <a:cubicBezTo>
                    <a:pt x="46" y="16"/>
                    <a:pt x="45" y="14"/>
                    <a:pt x="43" y="14"/>
                  </a:cubicBezTo>
                  <a:close/>
                  <a:moveTo>
                    <a:pt x="16" y="43"/>
                  </a:moveTo>
                  <a:cubicBezTo>
                    <a:pt x="5" y="43"/>
                    <a:pt x="5" y="43"/>
                    <a:pt x="5" y="43"/>
                  </a:cubicBezTo>
                  <a:cubicBezTo>
                    <a:pt x="4" y="43"/>
                    <a:pt x="3" y="43"/>
                    <a:pt x="3" y="42"/>
                  </a:cubicBezTo>
                  <a:cubicBezTo>
                    <a:pt x="3" y="41"/>
                    <a:pt x="4" y="40"/>
                    <a:pt x="5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7" y="40"/>
                    <a:pt x="17" y="41"/>
                    <a:pt x="17" y="42"/>
                  </a:cubicBezTo>
                  <a:cubicBezTo>
                    <a:pt x="17" y="43"/>
                    <a:pt x="17" y="43"/>
                    <a:pt x="16" y="43"/>
                  </a:cubicBezTo>
                  <a:close/>
                  <a:moveTo>
                    <a:pt x="25" y="23"/>
                  </a:moveTo>
                  <a:cubicBezTo>
                    <a:pt x="22" y="23"/>
                    <a:pt x="22" y="23"/>
                    <a:pt x="22" y="23"/>
                  </a:cubicBezTo>
                  <a:cubicBezTo>
                    <a:pt x="21" y="23"/>
                    <a:pt x="20" y="22"/>
                    <a:pt x="20" y="22"/>
                  </a:cubicBezTo>
                  <a:cubicBezTo>
                    <a:pt x="20" y="21"/>
                    <a:pt x="21" y="20"/>
                    <a:pt x="22" y="20"/>
                  </a:cubicBezTo>
                  <a:cubicBezTo>
                    <a:pt x="25" y="20"/>
                    <a:pt x="25" y="20"/>
                    <a:pt x="25" y="20"/>
                  </a:cubicBezTo>
                  <a:cubicBezTo>
                    <a:pt x="25" y="20"/>
                    <a:pt x="26" y="21"/>
                    <a:pt x="26" y="22"/>
                  </a:cubicBezTo>
                  <a:cubicBezTo>
                    <a:pt x="26" y="22"/>
                    <a:pt x="25" y="23"/>
                    <a:pt x="25" y="23"/>
                  </a:cubicBezTo>
                  <a:close/>
                  <a:moveTo>
                    <a:pt x="42" y="43"/>
                  </a:moveTo>
                  <a:cubicBezTo>
                    <a:pt x="31" y="43"/>
                    <a:pt x="31" y="43"/>
                    <a:pt x="31" y="43"/>
                  </a:cubicBezTo>
                  <a:cubicBezTo>
                    <a:pt x="30" y="43"/>
                    <a:pt x="29" y="43"/>
                    <a:pt x="29" y="42"/>
                  </a:cubicBezTo>
                  <a:cubicBezTo>
                    <a:pt x="29" y="41"/>
                    <a:pt x="30" y="40"/>
                    <a:pt x="31" y="40"/>
                  </a:cubicBezTo>
                  <a:cubicBezTo>
                    <a:pt x="42" y="40"/>
                    <a:pt x="42" y="40"/>
                    <a:pt x="42" y="40"/>
                  </a:cubicBezTo>
                  <a:cubicBezTo>
                    <a:pt x="43" y="40"/>
                    <a:pt x="43" y="41"/>
                    <a:pt x="43" y="42"/>
                  </a:cubicBezTo>
                  <a:cubicBezTo>
                    <a:pt x="43" y="43"/>
                    <a:pt x="43" y="43"/>
                    <a:pt x="42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8" name="任意多边形: 形状 37">
              <a:extLst>
                <a:ext uri="{FF2B5EF4-FFF2-40B4-BE49-F238E27FC236}">
                  <a16:creationId xmlns:a16="http://schemas.microsoft.com/office/drawing/2014/main" id="{01378324-9439-4779-B6E3-A2787AC3390D}"/>
                </a:ext>
              </a:extLst>
            </p:cNvPr>
            <p:cNvSpPr/>
            <p:nvPr/>
          </p:nvSpPr>
          <p:spPr bwMode="auto">
            <a:xfrm>
              <a:off x="11572073" y="3920163"/>
              <a:ext cx="236837" cy="238795"/>
            </a:xfrm>
            <a:custGeom>
              <a:avLst/>
              <a:gdLst>
                <a:gd name="T0" fmla="*/ 61 w 121"/>
                <a:gd name="T1" fmla="*/ 122 h 122"/>
                <a:gd name="T2" fmla="*/ 121 w 121"/>
                <a:gd name="T3" fmla="*/ 62 h 122"/>
                <a:gd name="T4" fmla="*/ 84 w 121"/>
                <a:gd name="T5" fmla="*/ 62 h 122"/>
                <a:gd name="T6" fmla="*/ 84 w 121"/>
                <a:gd name="T7" fmla="*/ 0 h 122"/>
                <a:gd name="T8" fmla="*/ 38 w 121"/>
                <a:gd name="T9" fmla="*/ 0 h 122"/>
                <a:gd name="T10" fmla="*/ 38 w 121"/>
                <a:gd name="T11" fmla="*/ 62 h 122"/>
                <a:gd name="T12" fmla="*/ 0 w 121"/>
                <a:gd name="T13" fmla="*/ 62 h 122"/>
                <a:gd name="T14" fmla="*/ 61 w 121"/>
                <a:gd name="T15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1" h="122">
                  <a:moveTo>
                    <a:pt x="61" y="122"/>
                  </a:moveTo>
                  <a:lnTo>
                    <a:pt x="121" y="62"/>
                  </a:lnTo>
                  <a:lnTo>
                    <a:pt x="84" y="62"/>
                  </a:lnTo>
                  <a:lnTo>
                    <a:pt x="84" y="0"/>
                  </a:lnTo>
                  <a:lnTo>
                    <a:pt x="38" y="0"/>
                  </a:lnTo>
                  <a:lnTo>
                    <a:pt x="38" y="62"/>
                  </a:lnTo>
                  <a:lnTo>
                    <a:pt x="0" y="62"/>
                  </a:lnTo>
                  <a:lnTo>
                    <a:pt x="61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9" name="任意多边形: 形状 38">
              <a:extLst>
                <a:ext uri="{FF2B5EF4-FFF2-40B4-BE49-F238E27FC236}">
                  <a16:creationId xmlns:a16="http://schemas.microsoft.com/office/drawing/2014/main" id="{1A0DE756-6E65-4916-A4B9-9D3EACC13F15}"/>
                </a:ext>
              </a:extLst>
            </p:cNvPr>
            <p:cNvSpPr/>
            <p:nvPr/>
          </p:nvSpPr>
          <p:spPr bwMode="auto">
            <a:xfrm>
              <a:off x="11848054" y="3391684"/>
              <a:ext cx="197691" cy="197690"/>
            </a:xfrm>
            <a:custGeom>
              <a:avLst/>
              <a:gdLst>
                <a:gd name="T0" fmla="*/ 31 w 62"/>
                <a:gd name="T1" fmla="*/ 62 h 62"/>
                <a:gd name="T2" fmla="*/ 0 w 62"/>
                <a:gd name="T3" fmla="*/ 31 h 62"/>
                <a:gd name="T4" fmla="*/ 31 w 62"/>
                <a:gd name="T5" fmla="*/ 0 h 62"/>
                <a:gd name="T6" fmla="*/ 62 w 62"/>
                <a:gd name="T7" fmla="*/ 31 h 62"/>
                <a:gd name="T8" fmla="*/ 31 w 62"/>
                <a:gd name="T9" fmla="*/ 62 h 62"/>
                <a:gd name="T10" fmla="*/ 57 w 62"/>
                <a:gd name="T11" fmla="*/ 35 h 62"/>
                <a:gd name="T12" fmla="*/ 41 w 62"/>
                <a:gd name="T13" fmla="*/ 34 h 62"/>
                <a:gd name="T14" fmla="*/ 46 w 62"/>
                <a:gd name="T15" fmla="*/ 53 h 62"/>
                <a:gd name="T16" fmla="*/ 57 w 62"/>
                <a:gd name="T17" fmla="*/ 35 h 62"/>
                <a:gd name="T18" fmla="*/ 41 w 62"/>
                <a:gd name="T19" fmla="*/ 55 h 62"/>
                <a:gd name="T20" fmla="*/ 36 w 62"/>
                <a:gd name="T21" fmla="*/ 35 h 62"/>
                <a:gd name="T22" fmla="*/ 35 w 62"/>
                <a:gd name="T23" fmla="*/ 35 h 62"/>
                <a:gd name="T24" fmla="*/ 15 w 62"/>
                <a:gd name="T25" fmla="*/ 52 h 62"/>
                <a:gd name="T26" fmla="*/ 31 w 62"/>
                <a:gd name="T27" fmla="*/ 57 h 62"/>
                <a:gd name="T28" fmla="*/ 41 w 62"/>
                <a:gd name="T29" fmla="*/ 55 h 62"/>
                <a:gd name="T30" fmla="*/ 11 w 62"/>
                <a:gd name="T31" fmla="*/ 48 h 62"/>
                <a:gd name="T32" fmla="*/ 33 w 62"/>
                <a:gd name="T33" fmla="*/ 31 h 62"/>
                <a:gd name="T34" fmla="*/ 34 w 62"/>
                <a:gd name="T35" fmla="*/ 31 h 62"/>
                <a:gd name="T36" fmla="*/ 32 w 62"/>
                <a:gd name="T37" fmla="*/ 26 h 62"/>
                <a:gd name="T38" fmla="*/ 4 w 62"/>
                <a:gd name="T39" fmla="*/ 30 h 62"/>
                <a:gd name="T40" fmla="*/ 4 w 62"/>
                <a:gd name="T41" fmla="*/ 31 h 62"/>
                <a:gd name="T42" fmla="*/ 11 w 62"/>
                <a:gd name="T43" fmla="*/ 48 h 62"/>
                <a:gd name="T44" fmla="*/ 5 w 62"/>
                <a:gd name="T45" fmla="*/ 25 h 62"/>
                <a:gd name="T46" fmla="*/ 29 w 62"/>
                <a:gd name="T47" fmla="*/ 22 h 62"/>
                <a:gd name="T48" fmla="*/ 20 w 62"/>
                <a:gd name="T49" fmla="*/ 7 h 62"/>
                <a:gd name="T50" fmla="*/ 5 w 62"/>
                <a:gd name="T51" fmla="*/ 25 h 62"/>
                <a:gd name="T52" fmla="*/ 25 w 62"/>
                <a:gd name="T53" fmla="*/ 5 h 62"/>
                <a:gd name="T54" fmla="*/ 35 w 62"/>
                <a:gd name="T55" fmla="*/ 20 h 62"/>
                <a:gd name="T56" fmla="*/ 49 w 62"/>
                <a:gd name="T57" fmla="*/ 11 h 62"/>
                <a:gd name="T58" fmla="*/ 31 w 62"/>
                <a:gd name="T59" fmla="*/ 4 h 62"/>
                <a:gd name="T60" fmla="*/ 25 w 62"/>
                <a:gd name="T61" fmla="*/ 5 h 62"/>
                <a:gd name="T62" fmla="*/ 51 w 62"/>
                <a:gd name="T63" fmla="*/ 14 h 62"/>
                <a:gd name="T64" fmla="*/ 37 w 62"/>
                <a:gd name="T65" fmla="*/ 24 h 62"/>
                <a:gd name="T66" fmla="*/ 38 w 62"/>
                <a:gd name="T67" fmla="*/ 28 h 62"/>
                <a:gd name="T68" fmla="*/ 39 w 62"/>
                <a:gd name="T69" fmla="*/ 30 h 62"/>
                <a:gd name="T70" fmla="*/ 57 w 62"/>
                <a:gd name="T71" fmla="*/ 30 h 62"/>
                <a:gd name="T72" fmla="*/ 51 w 62"/>
                <a:gd name="T73" fmla="*/ 1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2" h="62">
                  <a:moveTo>
                    <a:pt x="31" y="62"/>
                  </a:moveTo>
                  <a:cubicBezTo>
                    <a:pt x="14" y="62"/>
                    <a:pt x="0" y="48"/>
                    <a:pt x="0" y="31"/>
                  </a:cubicBezTo>
                  <a:cubicBezTo>
                    <a:pt x="0" y="14"/>
                    <a:pt x="14" y="0"/>
                    <a:pt x="31" y="0"/>
                  </a:cubicBezTo>
                  <a:cubicBezTo>
                    <a:pt x="48" y="0"/>
                    <a:pt x="62" y="14"/>
                    <a:pt x="62" y="31"/>
                  </a:cubicBezTo>
                  <a:cubicBezTo>
                    <a:pt x="62" y="48"/>
                    <a:pt x="48" y="62"/>
                    <a:pt x="31" y="62"/>
                  </a:cubicBezTo>
                  <a:close/>
                  <a:moveTo>
                    <a:pt x="57" y="35"/>
                  </a:moveTo>
                  <a:cubicBezTo>
                    <a:pt x="56" y="35"/>
                    <a:pt x="49" y="32"/>
                    <a:pt x="41" y="34"/>
                  </a:cubicBezTo>
                  <a:cubicBezTo>
                    <a:pt x="44" y="43"/>
                    <a:pt x="45" y="51"/>
                    <a:pt x="46" y="53"/>
                  </a:cubicBezTo>
                  <a:cubicBezTo>
                    <a:pt x="52" y="49"/>
                    <a:pt x="56" y="42"/>
                    <a:pt x="57" y="35"/>
                  </a:cubicBezTo>
                  <a:close/>
                  <a:moveTo>
                    <a:pt x="41" y="55"/>
                  </a:moveTo>
                  <a:cubicBezTo>
                    <a:pt x="41" y="53"/>
                    <a:pt x="39" y="45"/>
                    <a:pt x="36" y="35"/>
                  </a:cubicBezTo>
                  <a:cubicBezTo>
                    <a:pt x="36" y="35"/>
                    <a:pt x="36" y="35"/>
                    <a:pt x="35" y="35"/>
                  </a:cubicBezTo>
                  <a:cubicBezTo>
                    <a:pt x="20" y="40"/>
                    <a:pt x="15" y="51"/>
                    <a:pt x="15" y="52"/>
                  </a:cubicBezTo>
                  <a:cubicBezTo>
                    <a:pt x="19" y="55"/>
                    <a:pt x="25" y="57"/>
                    <a:pt x="31" y="57"/>
                  </a:cubicBezTo>
                  <a:cubicBezTo>
                    <a:pt x="35" y="57"/>
                    <a:pt x="38" y="57"/>
                    <a:pt x="41" y="55"/>
                  </a:cubicBezTo>
                  <a:close/>
                  <a:moveTo>
                    <a:pt x="11" y="48"/>
                  </a:moveTo>
                  <a:cubicBezTo>
                    <a:pt x="12" y="47"/>
                    <a:pt x="19" y="35"/>
                    <a:pt x="33" y="31"/>
                  </a:cubicBezTo>
                  <a:cubicBezTo>
                    <a:pt x="33" y="31"/>
                    <a:pt x="33" y="31"/>
                    <a:pt x="34" y="31"/>
                  </a:cubicBezTo>
                  <a:cubicBezTo>
                    <a:pt x="33" y="29"/>
                    <a:pt x="32" y="28"/>
                    <a:pt x="32" y="26"/>
                  </a:cubicBezTo>
                  <a:cubicBezTo>
                    <a:pt x="18" y="30"/>
                    <a:pt x="6" y="30"/>
                    <a:pt x="4" y="30"/>
                  </a:cubicBezTo>
                  <a:cubicBezTo>
                    <a:pt x="4" y="30"/>
                    <a:pt x="4" y="30"/>
                    <a:pt x="4" y="31"/>
                  </a:cubicBezTo>
                  <a:cubicBezTo>
                    <a:pt x="4" y="38"/>
                    <a:pt x="7" y="44"/>
                    <a:pt x="11" y="48"/>
                  </a:cubicBezTo>
                  <a:close/>
                  <a:moveTo>
                    <a:pt x="5" y="25"/>
                  </a:moveTo>
                  <a:cubicBezTo>
                    <a:pt x="6" y="25"/>
                    <a:pt x="17" y="25"/>
                    <a:pt x="29" y="22"/>
                  </a:cubicBezTo>
                  <a:cubicBezTo>
                    <a:pt x="25" y="14"/>
                    <a:pt x="20" y="8"/>
                    <a:pt x="20" y="7"/>
                  </a:cubicBezTo>
                  <a:cubicBezTo>
                    <a:pt x="12" y="10"/>
                    <a:pt x="7" y="17"/>
                    <a:pt x="5" y="25"/>
                  </a:cubicBezTo>
                  <a:close/>
                  <a:moveTo>
                    <a:pt x="25" y="5"/>
                  </a:moveTo>
                  <a:cubicBezTo>
                    <a:pt x="25" y="6"/>
                    <a:pt x="30" y="12"/>
                    <a:pt x="35" y="20"/>
                  </a:cubicBezTo>
                  <a:cubicBezTo>
                    <a:pt x="44" y="17"/>
                    <a:pt x="48" y="12"/>
                    <a:pt x="49" y="11"/>
                  </a:cubicBezTo>
                  <a:cubicBezTo>
                    <a:pt x="44" y="7"/>
                    <a:pt x="38" y="4"/>
                    <a:pt x="31" y="4"/>
                  </a:cubicBezTo>
                  <a:cubicBezTo>
                    <a:pt x="29" y="4"/>
                    <a:pt x="27" y="4"/>
                    <a:pt x="25" y="5"/>
                  </a:cubicBezTo>
                  <a:close/>
                  <a:moveTo>
                    <a:pt x="51" y="14"/>
                  </a:moveTo>
                  <a:cubicBezTo>
                    <a:pt x="51" y="15"/>
                    <a:pt x="46" y="20"/>
                    <a:pt x="37" y="24"/>
                  </a:cubicBezTo>
                  <a:cubicBezTo>
                    <a:pt x="37" y="26"/>
                    <a:pt x="38" y="27"/>
                    <a:pt x="38" y="28"/>
                  </a:cubicBezTo>
                  <a:cubicBezTo>
                    <a:pt x="39" y="29"/>
                    <a:pt x="39" y="29"/>
                    <a:pt x="39" y="30"/>
                  </a:cubicBezTo>
                  <a:cubicBezTo>
                    <a:pt x="48" y="29"/>
                    <a:pt x="57" y="30"/>
                    <a:pt x="57" y="30"/>
                  </a:cubicBezTo>
                  <a:cubicBezTo>
                    <a:pt x="57" y="24"/>
                    <a:pt x="55" y="18"/>
                    <a:pt x="51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0" name="任意多边形: 形状 39">
              <a:extLst>
                <a:ext uri="{FF2B5EF4-FFF2-40B4-BE49-F238E27FC236}">
                  <a16:creationId xmlns:a16="http://schemas.microsoft.com/office/drawing/2014/main" id="{698C81BD-58BA-4971-98A0-5AE1C94A144F}"/>
                </a:ext>
              </a:extLst>
            </p:cNvPr>
            <p:cNvSpPr/>
            <p:nvPr/>
          </p:nvSpPr>
          <p:spPr bwMode="auto">
            <a:xfrm>
              <a:off x="11650366" y="3689199"/>
              <a:ext cx="187904" cy="166372"/>
            </a:xfrm>
            <a:custGeom>
              <a:avLst/>
              <a:gdLst>
                <a:gd name="T0" fmla="*/ 48 w 59"/>
                <a:gd name="T1" fmla="*/ 0 h 52"/>
                <a:gd name="T2" fmla="*/ 11 w 59"/>
                <a:gd name="T3" fmla="*/ 0 h 52"/>
                <a:gd name="T4" fmla="*/ 0 w 59"/>
                <a:gd name="T5" fmla="*/ 12 h 52"/>
                <a:gd name="T6" fmla="*/ 0 w 59"/>
                <a:gd name="T7" fmla="*/ 50 h 52"/>
                <a:gd name="T8" fmla="*/ 2 w 59"/>
                <a:gd name="T9" fmla="*/ 52 h 52"/>
                <a:gd name="T10" fmla="*/ 57 w 59"/>
                <a:gd name="T11" fmla="*/ 52 h 52"/>
                <a:gd name="T12" fmla="*/ 59 w 59"/>
                <a:gd name="T13" fmla="*/ 50 h 52"/>
                <a:gd name="T14" fmla="*/ 59 w 59"/>
                <a:gd name="T15" fmla="*/ 12 h 52"/>
                <a:gd name="T16" fmla="*/ 48 w 59"/>
                <a:gd name="T17" fmla="*/ 0 h 52"/>
                <a:gd name="T18" fmla="*/ 37 w 59"/>
                <a:gd name="T19" fmla="*/ 34 h 52"/>
                <a:gd name="T20" fmla="*/ 37 w 59"/>
                <a:gd name="T21" fmla="*/ 45 h 52"/>
                <a:gd name="T22" fmla="*/ 22 w 59"/>
                <a:gd name="T23" fmla="*/ 45 h 52"/>
                <a:gd name="T24" fmla="*/ 22 w 59"/>
                <a:gd name="T25" fmla="*/ 34 h 52"/>
                <a:gd name="T26" fmla="*/ 11 w 59"/>
                <a:gd name="T27" fmla="*/ 34 h 52"/>
                <a:gd name="T28" fmla="*/ 29 w 59"/>
                <a:gd name="T29" fmla="*/ 19 h 52"/>
                <a:gd name="T30" fmla="*/ 48 w 59"/>
                <a:gd name="T31" fmla="*/ 34 h 52"/>
                <a:gd name="T32" fmla="*/ 37 w 59"/>
                <a:gd name="T33" fmla="*/ 34 h 52"/>
                <a:gd name="T34" fmla="*/ 9 w 59"/>
                <a:gd name="T35" fmla="*/ 8 h 52"/>
                <a:gd name="T36" fmla="*/ 12 w 59"/>
                <a:gd name="T37" fmla="*/ 4 h 52"/>
                <a:gd name="T38" fmla="*/ 46 w 59"/>
                <a:gd name="T39" fmla="*/ 4 h 52"/>
                <a:gd name="T40" fmla="*/ 50 w 59"/>
                <a:gd name="T41" fmla="*/ 8 h 52"/>
                <a:gd name="T42" fmla="*/ 9 w 59"/>
                <a:gd name="T43" fmla="*/ 8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9" h="52">
                  <a:moveTo>
                    <a:pt x="48" y="0"/>
                  </a:moveTo>
                  <a:cubicBezTo>
                    <a:pt x="11" y="0"/>
                    <a:pt x="11" y="0"/>
                    <a:pt x="11" y="0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2"/>
                    <a:pt x="1" y="52"/>
                    <a:pt x="2" y="52"/>
                  </a:cubicBezTo>
                  <a:cubicBezTo>
                    <a:pt x="57" y="52"/>
                    <a:pt x="57" y="52"/>
                    <a:pt x="57" y="52"/>
                  </a:cubicBezTo>
                  <a:cubicBezTo>
                    <a:pt x="58" y="52"/>
                    <a:pt x="59" y="52"/>
                    <a:pt x="59" y="50"/>
                  </a:cubicBezTo>
                  <a:cubicBezTo>
                    <a:pt x="59" y="12"/>
                    <a:pt x="59" y="12"/>
                    <a:pt x="59" y="12"/>
                  </a:cubicBezTo>
                  <a:lnTo>
                    <a:pt x="48" y="0"/>
                  </a:lnTo>
                  <a:close/>
                  <a:moveTo>
                    <a:pt x="37" y="34"/>
                  </a:moveTo>
                  <a:cubicBezTo>
                    <a:pt x="37" y="45"/>
                    <a:pt x="37" y="45"/>
                    <a:pt x="37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34"/>
                    <a:pt x="22" y="34"/>
                    <a:pt x="22" y="34"/>
                  </a:cubicBezTo>
                  <a:cubicBezTo>
                    <a:pt x="11" y="34"/>
                    <a:pt x="11" y="34"/>
                    <a:pt x="11" y="34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48" y="34"/>
                    <a:pt x="48" y="34"/>
                    <a:pt x="48" y="34"/>
                  </a:cubicBezTo>
                  <a:lnTo>
                    <a:pt x="37" y="34"/>
                  </a:lnTo>
                  <a:close/>
                  <a:moveTo>
                    <a:pt x="9" y="8"/>
                  </a:moveTo>
                  <a:cubicBezTo>
                    <a:pt x="12" y="4"/>
                    <a:pt x="12" y="4"/>
                    <a:pt x="12" y="4"/>
                  </a:cubicBezTo>
                  <a:cubicBezTo>
                    <a:pt x="46" y="4"/>
                    <a:pt x="46" y="4"/>
                    <a:pt x="46" y="4"/>
                  </a:cubicBezTo>
                  <a:cubicBezTo>
                    <a:pt x="50" y="8"/>
                    <a:pt x="50" y="8"/>
                    <a:pt x="50" y="8"/>
                  </a:cubicBezTo>
                  <a:lnTo>
                    <a:pt x="9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1" name="任意多边形: 形状 40">
              <a:extLst>
                <a:ext uri="{FF2B5EF4-FFF2-40B4-BE49-F238E27FC236}">
                  <a16:creationId xmlns:a16="http://schemas.microsoft.com/office/drawing/2014/main" id="{DAB0464E-3669-4F73-9FE0-D8B674CA6A9B}"/>
                </a:ext>
              </a:extLst>
            </p:cNvPr>
            <p:cNvSpPr/>
            <p:nvPr/>
          </p:nvSpPr>
          <p:spPr bwMode="auto">
            <a:xfrm>
              <a:off x="11243240" y="4012158"/>
              <a:ext cx="303386" cy="266198"/>
            </a:xfrm>
            <a:custGeom>
              <a:avLst/>
              <a:gdLst>
                <a:gd name="T0" fmla="*/ 95 w 95"/>
                <a:gd name="T1" fmla="*/ 34 h 83"/>
                <a:gd name="T2" fmla="*/ 83 w 95"/>
                <a:gd name="T3" fmla="*/ 0 h 83"/>
                <a:gd name="T4" fmla="*/ 83 w 95"/>
                <a:gd name="T5" fmla="*/ 0 h 83"/>
                <a:gd name="T6" fmla="*/ 75 w 95"/>
                <a:gd name="T7" fmla="*/ 0 h 83"/>
                <a:gd name="T8" fmla="*/ 31 w 95"/>
                <a:gd name="T9" fmla="*/ 19 h 83"/>
                <a:gd name="T10" fmla="*/ 30 w 95"/>
                <a:gd name="T11" fmla="*/ 34 h 83"/>
                <a:gd name="T12" fmla="*/ 31 w 95"/>
                <a:gd name="T13" fmla="*/ 49 h 83"/>
                <a:gd name="T14" fmla="*/ 75 w 95"/>
                <a:gd name="T15" fmla="*/ 67 h 83"/>
                <a:gd name="T16" fmla="*/ 83 w 95"/>
                <a:gd name="T17" fmla="*/ 67 h 83"/>
                <a:gd name="T18" fmla="*/ 83 w 95"/>
                <a:gd name="T19" fmla="*/ 67 h 83"/>
                <a:gd name="T20" fmla="*/ 95 w 95"/>
                <a:gd name="T21" fmla="*/ 34 h 83"/>
                <a:gd name="T22" fmla="*/ 80 w 95"/>
                <a:gd name="T23" fmla="*/ 62 h 83"/>
                <a:gd name="T24" fmla="*/ 78 w 95"/>
                <a:gd name="T25" fmla="*/ 61 h 83"/>
                <a:gd name="T26" fmla="*/ 75 w 95"/>
                <a:gd name="T27" fmla="*/ 55 h 83"/>
                <a:gd name="T28" fmla="*/ 71 w 95"/>
                <a:gd name="T29" fmla="*/ 34 h 83"/>
                <a:gd name="T30" fmla="*/ 75 w 95"/>
                <a:gd name="T31" fmla="*/ 12 h 83"/>
                <a:gd name="T32" fmla="*/ 78 w 95"/>
                <a:gd name="T33" fmla="*/ 7 h 83"/>
                <a:gd name="T34" fmla="*/ 80 w 95"/>
                <a:gd name="T35" fmla="*/ 5 h 83"/>
                <a:gd name="T36" fmla="*/ 82 w 95"/>
                <a:gd name="T37" fmla="*/ 7 h 83"/>
                <a:gd name="T38" fmla="*/ 86 w 95"/>
                <a:gd name="T39" fmla="*/ 12 h 83"/>
                <a:gd name="T40" fmla="*/ 89 w 95"/>
                <a:gd name="T41" fmla="*/ 34 h 83"/>
                <a:gd name="T42" fmla="*/ 86 w 95"/>
                <a:gd name="T43" fmla="*/ 55 h 83"/>
                <a:gd name="T44" fmla="*/ 82 w 95"/>
                <a:gd name="T45" fmla="*/ 61 h 83"/>
                <a:gd name="T46" fmla="*/ 80 w 95"/>
                <a:gd name="T47" fmla="*/ 62 h 83"/>
                <a:gd name="T48" fmla="*/ 23 w 95"/>
                <a:gd name="T49" fmla="*/ 34 h 83"/>
                <a:gd name="T50" fmla="*/ 24 w 95"/>
                <a:gd name="T51" fmla="*/ 20 h 83"/>
                <a:gd name="T52" fmla="*/ 12 w 95"/>
                <a:gd name="T53" fmla="*/ 21 h 83"/>
                <a:gd name="T54" fmla="*/ 5 w 95"/>
                <a:gd name="T55" fmla="*/ 21 h 83"/>
                <a:gd name="T56" fmla="*/ 0 w 95"/>
                <a:gd name="T57" fmla="*/ 30 h 83"/>
                <a:gd name="T58" fmla="*/ 0 w 95"/>
                <a:gd name="T59" fmla="*/ 38 h 83"/>
                <a:gd name="T60" fmla="*/ 5 w 95"/>
                <a:gd name="T61" fmla="*/ 47 h 83"/>
                <a:gd name="T62" fmla="*/ 12 w 95"/>
                <a:gd name="T63" fmla="*/ 47 h 83"/>
                <a:gd name="T64" fmla="*/ 24 w 95"/>
                <a:gd name="T65" fmla="*/ 47 h 83"/>
                <a:gd name="T66" fmla="*/ 23 w 95"/>
                <a:gd name="T67" fmla="*/ 34 h 83"/>
                <a:gd name="T68" fmla="*/ 34 w 95"/>
                <a:gd name="T69" fmla="*/ 53 h 83"/>
                <a:gd name="T70" fmla="*/ 22 w 95"/>
                <a:gd name="T71" fmla="*/ 51 h 83"/>
                <a:gd name="T72" fmla="*/ 30 w 95"/>
                <a:gd name="T73" fmla="*/ 81 h 83"/>
                <a:gd name="T74" fmla="*/ 33 w 95"/>
                <a:gd name="T75" fmla="*/ 83 h 83"/>
                <a:gd name="T76" fmla="*/ 44 w 95"/>
                <a:gd name="T77" fmla="*/ 78 h 83"/>
                <a:gd name="T78" fmla="*/ 46 w 95"/>
                <a:gd name="T79" fmla="*/ 75 h 83"/>
                <a:gd name="T80" fmla="*/ 34 w 95"/>
                <a:gd name="T81" fmla="*/ 53 h 83"/>
                <a:gd name="T82" fmla="*/ 80 w 95"/>
                <a:gd name="T83" fmla="*/ 45 h 83"/>
                <a:gd name="T84" fmla="*/ 79 w 95"/>
                <a:gd name="T85" fmla="*/ 44 h 83"/>
                <a:gd name="T86" fmla="*/ 78 w 95"/>
                <a:gd name="T87" fmla="*/ 42 h 83"/>
                <a:gd name="T88" fmla="*/ 77 w 95"/>
                <a:gd name="T89" fmla="*/ 34 h 83"/>
                <a:gd name="T90" fmla="*/ 78 w 95"/>
                <a:gd name="T91" fmla="*/ 25 h 83"/>
                <a:gd name="T92" fmla="*/ 79 w 95"/>
                <a:gd name="T93" fmla="*/ 23 h 83"/>
                <a:gd name="T94" fmla="*/ 80 w 95"/>
                <a:gd name="T95" fmla="*/ 23 h 83"/>
                <a:gd name="T96" fmla="*/ 81 w 95"/>
                <a:gd name="T97" fmla="*/ 23 h 83"/>
                <a:gd name="T98" fmla="*/ 82 w 95"/>
                <a:gd name="T99" fmla="*/ 25 h 83"/>
                <a:gd name="T100" fmla="*/ 84 w 95"/>
                <a:gd name="T101" fmla="*/ 34 h 83"/>
                <a:gd name="T102" fmla="*/ 82 w 95"/>
                <a:gd name="T103" fmla="*/ 42 h 83"/>
                <a:gd name="T104" fmla="*/ 81 w 95"/>
                <a:gd name="T105" fmla="*/ 44 h 83"/>
                <a:gd name="T106" fmla="*/ 80 w 95"/>
                <a:gd name="T107" fmla="*/ 45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95" h="83">
                  <a:moveTo>
                    <a:pt x="95" y="34"/>
                  </a:moveTo>
                  <a:cubicBezTo>
                    <a:pt x="95" y="15"/>
                    <a:pt x="89" y="0"/>
                    <a:pt x="83" y="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75" y="0"/>
                    <a:pt x="57" y="13"/>
                    <a:pt x="31" y="19"/>
                  </a:cubicBezTo>
                  <a:cubicBezTo>
                    <a:pt x="30" y="23"/>
                    <a:pt x="30" y="28"/>
                    <a:pt x="30" y="34"/>
                  </a:cubicBezTo>
                  <a:cubicBezTo>
                    <a:pt x="30" y="39"/>
                    <a:pt x="30" y="44"/>
                    <a:pt x="31" y="49"/>
                  </a:cubicBezTo>
                  <a:cubicBezTo>
                    <a:pt x="57" y="54"/>
                    <a:pt x="75" y="67"/>
                    <a:pt x="75" y="67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3" y="67"/>
                    <a:pt x="83" y="67"/>
                    <a:pt x="83" y="67"/>
                  </a:cubicBezTo>
                  <a:cubicBezTo>
                    <a:pt x="89" y="67"/>
                    <a:pt x="95" y="52"/>
                    <a:pt x="95" y="34"/>
                  </a:cubicBezTo>
                  <a:close/>
                  <a:moveTo>
                    <a:pt x="80" y="62"/>
                  </a:moveTo>
                  <a:cubicBezTo>
                    <a:pt x="79" y="62"/>
                    <a:pt x="78" y="61"/>
                    <a:pt x="78" y="61"/>
                  </a:cubicBezTo>
                  <a:cubicBezTo>
                    <a:pt x="77" y="60"/>
                    <a:pt x="76" y="58"/>
                    <a:pt x="75" y="55"/>
                  </a:cubicBezTo>
                  <a:cubicBezTo>
                    <a:pt x="72" y="49"/>
                    <a:pt x="71" y="42"/>
                    <a:pt x="71" y="34"/>
                  </a:cubicBezTo>
                  <a:cubicBezTo>
                    <a:pt x="71" y="26"/>
                    <a:pt x="72" y="18"/>
                    <a:pt x="75" y="12"/>
                  </a:cubicBezTo>
                  <a:cubicBezTo>
                    <a:pt x="76" y="10"/>
                    <a:pt x="77" y="8"/>
                    <a:pt x="78" y="7"/>
                  </a:cubicBezTo>
                  <a:cubicBezTo>
                    <a:pt x="78" y="6"/>
                    <a:pt x="79" y="5"/>
                    <a:pt x="80" y="5"/>
                  </a:cubicBezTo>
                  <a:cubicBezTo>
                    <a:pt x="81" y="5"/>
                    <a:pt x="82" y="6"/>
                    <a:pt x="82" y="7"/>
                  </a:cubicBezTo>
                  <a:cubicBezTo>
                    <a:pt x="84" y="8"/>
                    <a:pt x="85" y="10"/>
                    <a:pt x="86" y="12"/>
                  </a:cubicBezTo>
                  <a:cubicBezTo>
                    <a:pt x="88" y="18"/>
                    <a:pt x="89" y="26"/>
                    <a:pt x="89" y="34"/>
                  </a:cubicBezTo>
                  <a:cubicBezTo>
                    <a:pt x="89" y="42"/>
                    <a:pt x="88" y="49"/>
                    <a:pt x="86" y="55"/>
                  </a:cubicBezTo>
                  <a:cubicBezTo>
                    <a:pt x="85" y="58"/>
                    <a:pt x="84" y="60"/>
                    <a:pt x="82" y="61"/>
                  </a:cubicBezTo>
                  <a:cubicBezTo>
                    <a:pt x="82" y="61"/>
                    <a:pt x="81" y="62"/>
                    <a:pt x="80" y="62"/>
                  </a:cubicBezTo>
                  <a:close/>
                  <a:moveTo>
                    <a:pt x="23" y="34"/>
                  </a:moveTo>
                  <a:cubicBezTo>
                    <a:pt x="23" y="29"/>
                    <a:pt x="24" y="24"/>
                    <a:pt x="24" y="20"/>
                  </a:cubicBezTo>
                  <a:cubicBezTo>
                    <a:pt x="20" y="21"/>
                    <a:pt x="16" y="21"/>
                    <a:pt x="12" y="21"/>
                  </a:cubicBezTo>
                  <a:cubicBezTo>
                    <a:pt x="5" y="21"/>
                    <a:pt x="5" y="21"/>
                    <a:pt x="5" y="21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47"/>
                    <a:pt x="5" y="47"/>
                    <a:pt x="5" y="47"/>
                  </a:cubicBezTo>
                  <a:cubicBezTo>
                    <a:pt x="5" y="47"/>
                    <a:pt x="5" y="47"/>
                    <a:pt x="12" y="47"/>
                  </a:cubicBezTo>
                  <a:cubicBezTo>
                    <a:pt x="16" y="47"/>
                    <a:pt x="20" y="47"/>
                    <a:pt x="24" y="47"/>
                  </a:cubicBezTo>
                  <a:cubicBezTo>
                    <a:pt x="24" y="43"/>
                    <a:pt x="23" y="39"/>
                    <a:pt x="23" y="34"/>
                  </a:cubicBezTo>
                  <a:close/>
                  <a:moveTo>
                    <a:pt x="34" y="53"/>
                  </a:moveTo>
                  <a:cubicBezTo>
                    <a:pt x="22" y="51"/>
                    <a:pt x="22" y="51"/>
                    <a:pt x="22" y="5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82"/>
                    <a:pt x="32" y="83"/>
                    <a:pt x="33" y="83"/>
                  </a:cubicBezTo>
                  <a:cubicBezTo>
                    <a:pt x="44" y="78"/>
                    <a:pt x="44" y="78"/>
                    <a:pt x="44" y="78"/>
                  </a:cubicBezTo>
                  <a:cubicBezTo>
                    <a:pt x="46" y="78"/>
                    <a:pt x="46" y="76"/>
                    <a:pt x="46" y="75"/>
                  </a:cubicBezTo>
                  <a:lnTo>
                    <a:pt x="34" y="53"/>
                  </a:lnTo>
                  <a:close/>
                  <a:moveTo>
                    <a:pt x="80" y="45"/>
                  </a:moveTo>
                  <a:cubicBezTo>
                    <a:pt x="80" y="45"/>
                    <a:pt x="79" y="44"/>
                    <a:pt x="79" y="44"/>
                  </a:cubicBezTo>
                  <a:cubicBezTo>
                    <a:pt x="79" y="44"/>
                    <a:pt x="78" y="43"/>
                    <a:pt x="78" y="42"/>
                  </a:cubicBezTo>
                  <a:cubicBezTo>
                    <a:pt x="77" y="40"/>
                    <a:pt x="77" y="37"/>
                    <a:pt x="77" y="34"/>
                  </a:cubicBezTo>
                  <a:cubicBezTo>
                    <a:pt x="77" y="31"/>
                    <a:pt x="77" y="28"/>
                    <a:pt x="78" y="25"/>
                  </a:cubicBezTo>
                  <a:cubicBezTo>
                    <a:pt x="78" y="25"/>
                    <a:pt x="79" y="24"/>
                    <a:pt x="79" y="23"/>
                  </a:cubicBezTo>
                  <a:cubicBezTo>
                    <a:pt x="79" y="23"/>
                    <a:pt x="80" y="23"/>
                    <a:pt x="80" y="23"/>
                  </a:cubicBezTo>
                  <a:cubicBezTo>
                    <a:pt x="80" y="23"/>
                    <a:pt x="81" y="23"/>
                    <a:pt x="81" y="23"/>
                  </a:cubicBezTo>
                  <a:cubicBezTo>
                    <a:pt x="81" y="24"/>
                    <a:pt x="82" y="25"/>
                    <a:pt x="82" y="25"/>
                  </a:cubicBezTo>
                  <a:cubicBezTo>
                    <a:pt x="83" y="28"/>
                    <a:pt x="84" y="31"/>
                    <a:pt x="84" y="34"/>
                  </a:cubicBezTo>
                  <a:cubicBezTo>
                    <a:pt x="84" y="37"/>
                    <a:pt x="83" y="40"/>
                    <a:pt x="82" y="42"/>
                  </a:cubicBezTo>
                  <a:cubicBezTo>
                    <a:pt x="82" y="43"/>
                    <a:pt x="81" y="44"/>
                    <a:pt x="81" y="44"/>
                  </a:cubicBezTo>
                  <a:cubicBezTo>
                    <a:pt x="81" y="44"/>
                    <a:pt x="80" y="45"/>
                    <a:pt x="80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2" name="任意多边形: 形状 41">
              <a:extLst>
                <a:ext uri="{FF2B5EF4-FFF2-40B4-BE49-F238E27FC236}">
                  <a16:creationId xmlns:a16="http://schemas.microsoft.com/office/drawing/2014/main" id="{0D6A9811-FAFD-4A93-ADC7-378F22E6A682}"/>
                </a:ext>
              </a:extLst>
            </p:cNvPr>
            <p:cNvSpPr/>
            <p:nvPr/>
          </p:nvSpPr>
          <p:spPr bwMode="auto">
            <a:xfrm>
              <a:off x="11767804" y="3599161"/>
              <a:ext cx="160501" cy="64591"/>
            </a:xfrm>
            <a:custGeom>
              <a:avLst/>
              <a:gdLst>
                <a:gd name="T0" fmla="*/ 50 w 50"/>
                <a:gd name="T1" fmla="*/ 10 h 20"/>
                <a:gd name="T2" fmla="*/ 50 w 50"/>
                <a:gd name="T3" fmla="*/ 10 h 20"/>
                <a:gd name="T4" fmla="*/ 40 w 50"/>
                <a:gd name="T5" fmla="*/ 0 h 20"/>
                <a:gd name="T6" fmla="*/ 28 w 50"/>
                <a:gd name="T7" fmla="*/ 0 h 20"/>
                <a:gd name="T8" fmla="*/ 18 w 50"/>
                <a:gd name="T9" fmla="*/ 10 h 20"/>
                <a:gd name="T10" fmla="*/ 18 w 50"/>
                <a:gd name="T11" fmla="*/ 10 h 20"/>
                <a:gd name="T12" fmla="*/ 18 w 50"/>
                <a:gd name="T13" fmla="*/ 11 h 20"/>
                <a:gd name="T14" fmla="*/ 23 w 50"/>
                <a:gd name="T15" fmla="*/ 11 h 20"/>
                <a:gd name="T16" fmla="*/ 23 w 50"/>
                <a:gd name="T17" fmla="*/ 10 h 20"/>
                <a:gd name="T18" fmla="*/ 23 w 50"/>
                <a:gd name="T19" fmla="*/ 10 h 20"/>
                <a:gd name="T20" fmla="*/ 28 w 50"/>
                <a:gd name="T21" fmla="*/ 5 h 20"/>
                <a:gd name="T22" fmla="*/ 40 w 50"/>
                <a:gd name="T23" fmla="*/ 5 h 20"/>
                <a:gd name="T24" fmla="*/ 45 w 50"/>
                <a:gd name="T25" fmla="*/ 10 h 20"/>
                <a:gd name="T26" fmla="*/ 45 w 50"/>
                <a:gd name="T27" fmla="*/ 10 h 20"/>
                <a:gd name="T28" fmla="*/ 40 w 50"/>
                <a:gd name="T29" fmla="*/ 15 h 20"/>
                <a:gd name="T30" fmla="*/ 35 w 50"/>
                <a:gd name="T31" fmla="*/ 15 h 20"/>
                <a:gd name="T32" fmla="*/ 32 w 50"/>
                <a:gd name="T33" fmla="*/ 20 h 20"/>
                <a:gd name="T34" fmla="*/ 40 w 50"/>
                <a:gd name="T35" fmla="*/ 20 h 20"/>
                <a:gd name="T36" fmla="*/ 50 w 50"/>
                <a:gd name="T37" fmla="*/ 10 h 20"/>
                <a:gd name="T38" fmla="*/ 32 w 50"/>
                <a:gd name="T39" fmla="*/ 10 h 20"/>
                <a:gd name="T40" fmla="*/ 32 w 50"/>
                <a:gd name="T41" fmla="*/ 9 h 20"/>
                <a:gd name="T42" fmla="*/ 27 w 50"/>
                <a:gd name="T43" fmla="*/ 9 h 20"/>
                <a:gd name="T44" fmla="*/ 28 w 50"/>
                <a:gd name="T45" fmla="*/ 10 h 20"/>
                <a:gd name="T46" fmla="*/ 28 w 50"/>
                <a:gd name="T47" fmla="*/ 10 h 20"/>
                <a:gd name="T48" fmla="*/ 22 w 50"/>
                <a:gd name="T49" fmla="*/ 15 h 20"/>
                <a:gd name="T50" fmla="*/ 10 w 50"/>
                <a:gd name="T51" fmla="*/ 15 h 20"/>
                <a:gd name="T52" fmla="*/ 5 w 50"/>
                <a:gd name="T53" fmla="*/ 10 h 20"/>
                <a:gd name="T54" fmla="*/ 5 w 50"/>
                <a:gd name="T55" fmla="*/ 10 h 20"/>
                <a:gd name="T56" fmla="*/ 10 w 50"/>
                <a:gd name="T57" fmla="*/ 5 h 20"/>
                <a:gd name="T58" fmla="*/ 16 w 50"/>
                <a:gd name="T59" fmla="*/ 5 h 20"/>
                <a:gd name="T60" fmla="*/ 19 w 50"/>
                <a:gd name="T61" fmla="*/ 0 h 20"/>
                <a:gd name="T62" fmla="*/ 10 w 50"/>
                <a:gd name="T63" fmla="*/ 0 h 20"/>
                <a:gd name="T64" fmla="*/ 0 w 50"/>
                <a:gd name="T65" fmla="*/ 10 h 20"/>
                <a:gd name="T66" fmla="*/ 0 w 50"/>
                <a:gd name="T67" fmla="*/ 10 h 20"/>
                <a:gd name="T68" fmla="*/ 10 w 50"/>
                <a:gd name="T69" fmla="*/ 20 h 20"/>
                <a:gd name="T70" fmla="*/ 22 w 50"/>
                <a:gd name="T71" fmla="*/ 20 h 20"/>
                <a:gd name="T72" fmla="*/ 32 w 50"/>
                <a:gd name="T73" fmla="*/ 1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0" h="20">
                  <a:moveTo>
                    <a:pt x="50" y="10"/>
                  </a:moveTo>
                  <a:cubicBezTo>
                    <a:pt x="50" y="10"/>
                    <a:pt x="50" y="10"/>
                    <a:pt x="50" y="10"/>
                  </a:cubicBezTo>
                  <a:cubicBezTo>
                    <a:pt x="50" y="5"/>
                    <a:pt x="46" y="0"/>
                    <a:pt x="4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23" y="0"/>
                    <a:pt x="18" y="5"/>
                    <a:pt x="18" y="10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8" y="10"/>
                    <a:pt x="18" y="11"/>
                    <a:pt x="18" y="11"/>
                  </a:cubicBezTo>
                  <a:cubicBezTo>
                    <a:pt x="23" y="11"/>
                    <a:pt x="23" y="11"/>
                    <a:pt x="23" y="11"/>
                  </a:cubicBezTo>
                  <a:cubicBezTo>
                    <a:pt x="23" y="11"/>
                    <a:pt x="23" y="10"/>
                    <a:pt x="23" y="10"/>
                  </a:cubicBezTo>
                  <a:cubicBezTo>
                    <a:pt x="23" y="10"/>
                    <a:pt x="23" y="10"/>
                    <a:pt x="23" y="10"/>
                  </a:cubicBezTo>
                  <a:cubicBezTo>
                    <a:pt x="23" y="7"/>
                    <a:pt x="25" y="5"/>
                    <a:pt x="28" y="5"/>
                  </a:cubicBezTo>
                  <a:cubicBezTo>
                    <a:pt x="40" y="5"/>
                    <a:pt x="40" y="5"/>
                    <a:pt x="40" y="5"/>
                  </a:cubicBezTo>
                  <a:cubicBezTo>
                    <a:pt x="43" y="5"/>
                    <a:pt x="45" y="7"/>
                    <a:pt x="45" y="10"/>
                  </a:cubicBezTo>
                  <a:cubicBezTo>
                    <a:pt x="45" y="10"/>
                    <a:pt x="45" y="10"/>
                    <a:pt x="45" y="10"/>
                  </a:cubicBezTo>
                  <a:cubicBezTo>
                    <a:pt x="45" y="13"/>
                    <a:pt x="43" y="15"/>
                    <a:pt x="40" y="15"/>
                  </a:cubicBezTo>
                  <a:cubicBezTo>
                    <a:pt x="35" y="15"/>
                    <a:pt x="35" y="15"/>
                    <a:pt x="35" y="15"/>
                  </a:cubicBezTo>
                  <a:cubicBezTo>
                    <a:pt x="34" y="17"/>
                    <a:pt x="33" y="18"/>
                    <a:pt x="32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6" y="20"/>
                    <a:pt x="50" y="15"/>
                    <a:pt x="50" y="10"/>
                  </a:cubicBezTo>
                  <a:close/>
                  <a:moveTo>
                    <a:pt x="32" y="10"/>
                  </a:moveTo>
                  <a:cubicBezTo>
                    <a:pt x="32" y="9"/>
                    <a:pt x="32" y="9"/>
                    <a:pt x="32" y="9"/>
                  </a:cubicBezTo>
                  <a:cubicBezTo>
                    <a:pt x="27" y="9"/>
                    <a:pt x="27" y="9"/>
                    <a:pt x="27" y="9"/>
                  </a:cubicBezTo>
                  <a:cubicBezTo>
                    <a:pt x="28" y="9"/>
                    <a:pt x="28" y="9"/>
                    <a:pt x="28" y="10"/>
                  </a:cubicBezTo>
                  <a:cubicBezTo>
                    <a:pt x="28" y="10"/>
                    <a:pt x="28" y="10"/>
                    <a:pt x="28" y="10"/>
                  </a:cubicBezTo>
                  <a:cubicBezTo>
                    <a:pt x="28" y="13"/>
                    <a:pt x="25" y="15"/>
                    <a:pt x="22" y="15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7" y="15"/>
                    <a:pt x="5" y="13"/>
                    <a:pt x="5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5" y="7"/>
                    <a:pt x="7" y="5"/>
                    <a:pt x="10" y="5"/>
                  </a:cubicBezTo>
                  <a:cubicBezTo>
                    <a:pt x="16" y="5"/>
                    <a:pt x="16" y="5"/>
                    <a:pt x="16" y="5"/>
                  </a:cubicBezTo>
                  <a:cubicBezTo>
                    <a:pt x="16" y="3"/>
                    <a:pt x="17" y="1"/>
                    <a:pt x="19" y="0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5"/>
                    <a:pt x="0" y="10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15"/>
                    <a:pt x="5" y="20"/>
                    <a:pt x="10" y="20"/>
                  </a:cubicBezTo>
                  <a:cubicBezTo>
                    <a:pt x="22" y="20"/>
                    <a:pt x="22" y="20"/>
                    <a:pt x="22" y="20"/>
                  </a:cubicBezTo>
                  <a:cubicBezTo>
                    <a:pt x="28" y="20"/>
                    <a:pt x="32" y="15"/>
                    <a:pt x="32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3" name="任意多边形: 形状 42">
              <a:extLst>
                <a:ext uri="{FF2B5EF4-FFF2-40B4-BE49-F238E27FC236}">
                  <a16:creationId xmlns:a16="http://schemas.microsoft.com/office/drawing/2014/main" id="{1A2D844C-3CC8-4899-90C8-9CED540B8039}"/>
                </a:ext>
              </a:extLst>
            </p:cNvPr>
            <p:cNvSpPr/>
            <p:nvPr/>
          </p:nvSpPr>
          <p:spPr bwMode="auto">
            <a:xfrm>
              <a:off x="11918519" y="2912138"/>
              <a:ext cx="172244" cy="168330"/>
            </a:xfrm>
            <a:custGeom>
              <a:avLst/>
              <a:gdLst>
                <a:gd name="T0" fmla="*/ 27 w 54"/>
                <a:gd name="T1" fmla="*/ 0 h 53"/>
                <a:gd name="T2" fmla="*/ 0 w 54"/>
                <a:gd name="T3" fmla="*/ 27 h 53"/>
                <a:gd name="T4" fmla="*/ 27 w 54"/>
                <a:gd name="T5" fmla="*/ 53 h 53"/>
                <a:gd name="T6" fmla="*/ 54 w 54"/>
                <a:gd name="T7" fmla="*/ 27 h 53"/>
                <a:gd name="T8" fmla="*/ 27 w 54"/>
                <a:gd name="T9" fmla="*/ 0 h 53"/>
                <a:gd name="T10" fmla="*/ 16 w 54"/>
                <a:gd name="T11" fmla="*/ 43 h 53"/>
                <a:gd name="T12" fmla="*/ 17 w 54"/>
                <a:gd name="T13" fmla="*/ 38 h 53"/>
                <a:gd name="T14" fmla="*/ 7 w 54"/>
                <a:gd name="T15" fmla="*/ 24 h 53"/>
                <a:gd name="T16" fmla="*/ 13 w 54"/>
                <a:gd name="T17" fmla="*/ 12 h 53"/>
                <a:gd name="T18" fmla="*/ 27 w 54"/>
                <a:gd name="T19" fmla="*/ 7 h 53"/>
                <a:gd name="T20" fmla="*/ 41 w 54"/>
                <a:gd name="T21" fmla="*/ 12 h 53"/>
                <a:gd name="T22" fmla="*/ 47 w 54"/>
                <a:gd name="T23" fmla="*/ 24 h 53"/>
                <a:gd name="T24" fmla="*/ 37 w 54"/>
                <a:gd name="T25" fmla="*/ 38 h 53"/>
                <a:gd name="T26" fmla="*/ 38 w 54"/>
                <a:gd name="T27" fmla="*/ 43 h 53"/>
                <a:gd name="T28" fmla="*/ 27 w 54"/>
                <a:gd name="T29" fmla="*/ 47 h 53"/>
                <a:gd name="T30" fmla="*/ 16 w 54"/>
                <a:gd name="T31" fmla="*/ 43 h 53"/>
                <a:gd name="T32" fmla="*/ 29 w 54"/>
                <a:gd name="T33" fmla="*/ 33 h 53"/>
                <a:gd name="T34" fmla="*/ 30 w 54"/>
                <a:gd name="T35" fmla="*/ 35 h 53"/>
                <a:gd name="T36" fmla="*/ 30 w 54"/>
                <a:gd name="T37" fmla="*/ 38 h 53"/>
                <a:gd name="T38" fmla="*/ 29 w 54"/>
                <a:gd name="T39" fmla="*/ 40 h 53"/>
                <a:gd name="T40" fmla="*/ 25 w 54"/>
                <a:gd name="T41" fmla="*/ 40 h 53"/>
                <a:gd name="T42" fmla="*/ 24 w 54"/>
                <a:gd name="T43" fmla="*/ 38 h 53"/>
                <a:gd name="T44" fmla="*/ 24 w 54"/>
                <a:gd name="T45" fmla="*/ 35 h 53"/>
                <a:gd name="T46" fmla="*/ 25 w 54"/>
                <a:gd name="T47" fmla="*/ 33 h 53"/>
                <a:gd name="T48" fmla="*/ 26 w 54"/>
                <a:gd name="T49" fmla="*/ 10 h 53"/>
                <a:gd name="T50" fmla="*/ 28 w 54"/>
                <a:gd name="T51" fmla="*/ 10 h 53"/>
                <a:gd name="T52" fmla="*/ 29 w 54"/>
                <a:gd name="T53" fmla="*/ 3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53">
                  <a:moveTo>
                    <a:pt x="27" y="0"/>
                  </a:moveTo>
                  <a:cubicBezTo>
                    <a:pt x="12" y="0"/>
                    <a:pt x="0" y="12"/>
                    <a:pt x="0" y="27"/>
                  </a:cubicBezTo>
                  <a:cubicBezTo>
                    <a:pt x="0" y="41"/>
                    <a:pt x="12" y="53"/>
                    <a:pt x="27" y="53"/>
                  </a:cubicBezTo>
                  <a:cubicBezTo>
                    <a:pt x="42" y="53"/>
                    <a:pt x="54" y="41"/>
                    <a:pt x="54" y="27"/>
                  </a:cubicBezTo>
                  <a:cubicBezTo>
                    <a:pt x="54" y="12"/>
                    <a:pt x="42" y="0"/>
                    <a:pt x="27" y="0"/>
                  </a:cubicBezTo>
                  <a:close/>
                  <a:moveTo>
                    <a:pt x="16" y="43"/>
                  </a:moveTo>
                  <a:cubicBezTo>
                    <a:pt x="17" y="42"/>
                    <a:pt x="17" y="40"/>
                    <a:pt x="17" y="38"/>
                  </a:cubicBezTo>
                  <a:cubicBezTo>
                    <a:pt x="17" y="32"/>
                    <a:pt x="13" y="26"/>
                    <a:pt x="7" y="24"/>
                  </a:cubicBezTo>
                  <a:cubicBezTo>
                    <a:pt x="8" y="20"/>
                    <a:pt x="10" y="16"/>
                    <a:pt x="13" y="12"/>
                  </a:cubicBezTo>
                  <a:cubicBezTo>
                    <a:pt x="17" y="9"/>
                    <a:pt x="22" y="7"/>
                    <a:pt x="27" y="7"/>
                  </a:cubicBezTo>
                  <a:cubicBezTo>
                    <a:pt x="32" y="7"/>
                    <a:pt x="37" y="9"/>
                    <a:pt x="41" y="12"/>
                  </a:cubicBezTo>
                  <a:cubicBezTo>
                    <a:pt x="44" y="16"/>
                    <a:pt x="46" y="20"/>
                    <a:pt x="47" y="24"/>
                  </a:cubicBezTo>
                  <a:cubicBezTo>
                    <a:pt x="41" y="26"/>
                    <a:pt x="37" y="32"/>
                    <a:pt x="37" y="38"/>
                  </a:cubicBezTo>
                  <a:cubicBezTo>
                    <a:pt x="37" y="40"/>
                    <a:pt x="37" y="42"/>
                    <a:pt x="38" y="43"/>
                  </a:cubicBezTo>
                  <a:cubicBezTo>
                    <a:pt x="35" y="45"/>
                    <a:pt x="31" y="47"/>
                    <a:pt x="27" y="47"/>
                  </a:cubicBezTo>
                  <a:cubicBezTo>
                    <a:pt x="23" y="47"/>
                    <a:pt x="19" y="45"/>
                    <a:pt x="16" y="43"/>
                  </a:cubicBezTo>
                  <a:close/>
                  <a:moveTo>
                    <a:pt x="29" y="33"/>
                  </a:moveTo>
                  <a:cubicBezTo>
                    <a:pt x="30" y="33"/>
                    <a:pt x="30" y="34"/>
                    <a:pt x="30" y="35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30" y="40"/>
                    <a:pt x="29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5" y="40"/>
                    <a:pt x="24" y="39"/>
                    <a:pt x="24" y="38"/>
                  </a:cubicBezTo>
                  <a:cubicBezTo>
                    <a:pt x="24" y="35"/>
                    <a:pt x="24" y="35"/>
                    <a:pt x="24" y="35"/>
                  </a:cubicBezTo>
                  <a:cubicBezTo>
                    <a:pt x="24" y="34"/>
                    <a:pt x="24" y="33"/>
                    <a:pt x="25" y="33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8" y="10"/>
                    <a:pt x="28" y="10"/>
                    <a:pt x="28" y="10"/>
                  </a:cubicBezTo>
                  <a:lnTo>
                    <a:pt x="2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4" name="任意多边形: 形状 43">
              <a:extLst>
                <a:ext uri="{FF2B5EF4-FFF2-40B4-BE49-F238E27FC236}">
                  <a16:creationId xmlns:a16="http://schemas.microsoft.com/office/drawing/2014/main" id="{EDB544E3-9F72-49C9-8565-476882F61D31}"/>
                </a:ext>
              </a:extLst>
            </p:cNvPr>
            <p:cNvSpPr/>
            <p:nvPr/>
          </p:nvSpPr>
          <p:spPr bwMode="auto">
            <a:xfrm>
              <a:off x="11895031" y="3100042"/>
              <a:ext cx="150715" cy="121354"/>
            </a:xfrm>
            <a:custGeom>
              <a:avLst/>
              <a:gdLst>
                <a:gd name="T0" fmla="*/ 30 w 77"/>
                <a:gd name="T1" fmla="*/ 62 h 62"/>
                <a:gd name="T2" fmla="*/ 0 w 77"/>
                <a:gd name="T3" fmla="*/ 31 h 62"/>
                <a:gd name="T4" fmla="*/ 15 w 77"/>
                <a:gd name="T5" fmla="*/ 17 h 62"/>
                <a:gd name="T6" fmla="*/ 30 w 77"/>
                <a:gd name="T7" fmla="*/ 33 h 62"/>
                <a:gd name="T8" fmla="*/ 62 w 77"/>
                <a:gd name="T9" fmla="*/ 0 h 62"/>
                <a:gd name="T10" fmla="*/ 77 w 77"/>
                <a:gd name="T11" fmla="*/ 15 h 62"/>
                <a:gd name="T12" fmla="*/ 30 w 77"/>
                <a:gd name="T13" fmla="*/ 62 h 62"/>
                <a:gd name="T14" fmla="*/ 9 w 77"/>
                <a:gd name="T15" fmla="*/ 31 h 62"/>
                <a:gd name="T16" fmla="*/ 30 w 77"/>
                <a:gd name="T17" fmla="*/ 54 h 62"/>
                <a:gd name="T18" fmla="*/ 69 w 77"/>
                <a:gd name="T19" fmla="*/ 15 h 62"/>
                <a:gd name="T20" fmla="*/ 62 w 77"/>
                <a:gd name="T21" fmla="*/ 8 h 62"/>
                <a:gd name="T22" fmla="*/ 30 w 77"/>
                <a:gd name="T23" fmla="*/ 41 h 62"/>
                <a:gd name="T24" fmla="*/ 15 w 77"/>
                <a:gd name="T25" fmla="*/ 25 h 62"/>
                <a:gd name="T26" fmla="*/ 9 w 77"/>
                <a:gd name="T27" fmla="*/ 31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77" h="62">
                  <a:moveTo>
                    <a:pt x="30" y="62"/>
                  </a:moveTo>
                  <a:lnTo>
                    <a:pt x="0" y="31"/>
                  </a:lnTo>
                  <a:lnTo>
                    <a:pt x="15" y="17"/>
                  </a:lnTo>
                  <a:lnTo>
                    <a:pt x="30" y="33"/>
                  </a:lnTo>
                  <a:lnTo>
                    <a:pt x="62" y="0"/>
                  </a:lnTo>
                  <a:lnTo>
                    <a:pt x="77" y="15"/>
                  </a:lnTo>
                  <a:lnTo>
                    <a:pt x="30" y="62"/>
                  </a:lnTo>
                  <a:close/>
                  <a:moveTo>
                    <a:pt x="9" y="31"/>
                  </a:moveTo>
                  <a:lnTo>
                    <a:pt x="30" y="54"/>
                  </a:lnTo>
                  <a:lnTo>
                    <a:pt x="69" y="15"/>
                  </a:lnTo>
                  <a:lnTo>
                    <a:pt x="62" y="8"/>
                  </a:lnTo>
                  <a:lnTo>
                    <a:pt x="30" y="41"/>
                  </a:lnTo>
                  <a:lnTo>
                    <a:pt x="15" y="25"/>
                  </a:lnTo>
                  <a:lnTo>
                    <a:pt x="9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5" name="任意多边形: 形状 44">
              <a:extLst>
                <a:ext uri="{FF2B5EF4-FFF2-40B4-BE49-F238E27FC236}">
                  <a16:creationId xmlns:a16="http://schemas.microsoft.com/office/drawing/2014/main" id="{E2AA59FD-BA7B-49B2-A0BC-AFA485FAD924}"/>
                </a:ext>
              </a:extLst>
            </p:cNvPr>
            <p:cNvSpPr/>
            <p:nvPr/>
          </p:nvSpPr>
          <p:spPr bwMode="auto">
            <a:xfrm>
              <a:off x="11640577" y="3336878"/>
              <a:ext cx="178118" cy="236836"/>
            </a:xfrm>
            <a:custGeom>
              <a:avLst/>
              <a:gdLst>
                <a:gd name="T0" fmla="*/ 53 w 56"/>
                <a:gd name="T1" fmla="*/ 9 h 74"/>
                <a:gd name="T2" fmla="*/ 49 w 56"/>
                <a:gd name="T3" fmla="*/ 9 h 74"/>
                <a:gd name="T4" fmla="*/ 49 w 56"/>
                <a:gd name="T5" fmla="*/ 14 h 74"/>
                <a:gd name="T6" fmla="*/ 51 w 56"/>
                <a:gd name="T7" fmla="*/ 14 h 74"/>
                <a:gd name="T8" fmla="*/ 51 w 56"/>
                <a:gd name="T9" fmla="*/ 51 h 74"/>
                <a:gd name="T10" fmla="*/ 32 w 56"/>
                <a:gd name="T11" fmla="*/ 51 h 74"/>
                <a:gd name="T12" fmla="*/ 32 w 56"/>
                <a:gd name="T13" fmla="*/ 70 h 74"/>
                <a:gd name="T14" fmla="*/ 5 w 56"/>
                <a:gd name="T15" fmla="*/ 70 h 74"/>
                <a:gd name="T16" fmla="*/ 5 w 56"/>
                <a:gd name="T17" fmla="*/ 14 h 74"/>
                <a:gd name="T18" fmla="*/ 7 w 56"/>
                <a:gd name="T19" fmla="*/ 14 h 74"/>
                <a:gd name="T20" fmla="*/ 7 w 56"/>
                <a:gd name="T21" fmla="*/ 9 h 74"/>
                <a:gd name="T22" fmla="*/ 2 w 56"/>
                <a:gd name="T23" fmla="*/ 9 h 74"/>
                <a:gd name="T24" fmla="*/ 0 w 56"/>
                <a:gd name="T25" fmla="*/ 12 h 74"/>
                <a:gd name="T26" fmla="*/ 0 w 56"/>
                <a:gd name="T27" fmla="*/ 72 h 74"/>
                <a:gd name="T28" fmla="*/ 2 w 56"/>
                <a:gd name="T29" fmla="*/ 74 h 74"/>
                <a:gd name="T30" fmla="*/ 39 w 56"/>
                <a:gd name="T31" fmla="*/ 74 h 74"/>
                <a:gd name="T32" fmla="*/ 56 w 56"/>
                <a:gd name="T33" fmla="*/ 58 h 74"/>
                <a:gd name="T34" fmla="*/ 56 w 56"/>
                <a:gd name="T35" fmla="*/ 12 h 74"/>
                <a:gd name="T36" fmla="*/ 53 w 56"/>
                <a:gd name="T37" fmla="*/ 9 h 74"/>
                <a:gd name="T38" fmla="*/ 37 w 56"/>
                <a:gd name="T39" fmla="*/ 70 h 74"/>
                <a:gd name="T40" fmla="*/ 37 w 56"/>
                <a:gd name="T41" fmla="*/ 56 h 74"/>
                <a:gd name="T42" fmla="*/ 51 w 56"/>
                <a:gd name="T43" fmla="*/ 56 h 74"/>
                <a:gd name="T44" fmla="*/ 37 w 56"/>
                <a:gd name="T45" fmla="*/ 70 h 74"/>
                <a:gd name="T46" fmla="*/ 46 w 56"/>
                <a:gd name="T47" fmla="*/ 9 h 74"/>
                <a:gd name="T48" fmla="*/ 37 w 56"/>
                <a:gd name="T49" fmla="*/ 9 h 74"/>
                <a:gd name="T50" fmla="*/ 37 w 56"/>
                <a:gd name="T51" fmla="*/ 5 h 74"/>
                <a:gd name="T52" fmla="*/ 32 w 56"/>
                <a:gd name="T53" fmla="*/ 0 h 74"/>
                <a:gd name="T54" fmla="*/ 23 w 56"/>
                <a:gd name="T55" fmla="*/ 0 h 74"/>
                <a:gd name="T56" fmla="*/ 19 w 56"/>
                <a:gd name="T57" fmla="*/ 5 h 74"/>
                <a:gd name="T58" fmla="*/ 19 w 56"/>
                <a:gd name="T59" fmla="*/ 9 h 74"/>
                <a:gd name="T60" fmla="*/ 9 w 56"/>
                <a:gd name="T61" fmla="*/ 9 h 74"/>
                <a:gd name="T62" fmla="*/ 9 w 56"/>
                <a:gd name="T63" fmla="*/ 19 h 74"/>
                <a:gd name="T64" fmla="*/ 46 w 56"/>
                <a:gd name="T65" fmla="*/ 19 h 74"/>
                <a:gd name="T66" fmla="*/ 46 w 56"/>
                <a:gd name="T67" fmla="*/ 9 h 74"/>
                <a:gd name="T68" fmla="*/ 32 w 56"/>
                <a:gd name="T69" fmla="*/ 9 h 74"/>
                <a:gd name="T70" fmla="*/ 23 w 56"/>
                <a:gd name="T71" fmla="*/ 9 h 74"/>
                <a:gd name="T72" fmla="*/ 23 w 56"/>
                <a:gd name="T73" fmla="*/ 5 h 74"/>
                <a:gd name="T74" fmla="*/ 23 w 56"/>
                <a:gd name="T75" fmla="*/ 5 h 74"/>
                <a:gd name="T76" fmla="*/ 32 w 56"/>
                <a:gd name="T77" fmla="*/ 5 h 74"/>
                <a:gd name="T78" fmla="*/ 32 w 56"/>
                <a:gd name="T79" fmla="*/ 5 h 74"/>
                <a:gd name="T80" fmla="*/ 32 w 56"/>
                <a:gd name="T81" fmla="*/ 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6" h="74">
                  <a:moveTo>
                    <a:pt x="53" y="9"/>
                  </a:moveTo>
                  <a:cubicBezTo>
                    <a:pt x="49" y="9"/>
                    <a:pt x="49" y="9"/>
                    <a:pt x="49" y="9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51" y="14"/>
                    <a:pt x="51" y="14"/>
                    <a:pt x="51" y="14"/>
                  </a:cubicBezTo>
                  <a:cubicBezTo>
                    <a:pt x="51" y="51"/>
                    <a:pt x="51" y="51"/>
                    <a:pt x="51" y="51"/>
                  </a:cubicBezTo>
                  <a:cubicBezTo>
                    <a:pt x="32" y="51"/>
                    <a:pt x="32" y="51"/>
                    <a:pt x="32" y="51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7" y="14"/>
                    <a:pt x="7" y="14"/>
                    <a:pt x="7" y="14"/>
                  </a:cubicBezTo>
                  <a:cubicBezTo>
                    <a:pt x="7" y="9"/>
                    <a:pt x="7" y="9"/>
                    <a:pt x="7" y="9"/>
                  </a:cubicBezTo>
                  <a:cubicBezTo>
                    <a:pt x="2" y="9"/>
                    <a:pt x="2" y="9"/>
                    <a:pt x="2" y="9"/>
                  </a:cubicBezTo>
                  <a:cubicBezTo>
                    <a:pt x="1" y="9"/>
                    <a:pt x="0" y="10"/>
                    <a:pt x="0" y="1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3"/>
                    <a:pt x="1" y="74"/>
                    <a:pt x="2" y="74"/>
                  </a:cubicBezTo>
                  <a:cubicBezTo>
                    <a:pt x="39" y="74"/>
                    <a:pt x="39" y="74"/>
                    <a:pt x="39" y="74"/>
                  </a:cubicBezTo>
                  <a:cubicBezTo>
                    <a:pt x="56" y="58"/>
                    <a:pt x="56" y="58"/>
                    <a:pt x="56" y="58"/>
                  </a:cubicBezTo>
                  <a:cubicBezTo>
                    <a:pt x="56" y="12"/>
                    <a:pt x="56" y="12"/>
                    <a:pt x="56" y="12"/>
                  </a:cubicBezTo>
                  <a:cubicBezTo>
                    <a:pt x="56" y="10"/>
                    <a:pt x="55" y="9"/>
                    <a:pt x="53" y="9"/>
                  </a:cubicBezTo>
                  <a:close/>
                  <a:moveTo>
                    <a:pt x="37" y="70"/>
                  </a:moveTo>
                  <a:cubicBezTo>
                    <a:pt x="37" y="56"/>
                    <a:pt x="37" y="56"/>
                    <a:pt x="37" y="56"/>
                  </a:cubicBezTo>
                  <a:cubicBezTo>
                    <a:pt x="51" y="56"/>
                    <a:pt x="51" y="56"/>
                    <a:pt x="51" y="56"/>
                  </a:cubicBezTo>
                  <a:lnTo>
                    <a:pt x="37" y="70"/>
                  </a:lnTo>
                  <a:close/>
                  <a:moveTo>
                    <a:pt x="46" y="9"/>
                  </a:moveTo>
                  <a:cubicBezTo>
                    <a:pt x="37" y="9"/>
                    <a:pt x="37" y="9"/>
                    <a:pt x="37" y="9"/>
                  </a:cubicBezTo>
                  <a:cubicBezTo>
                    <a:pt x="37" y="5"/>
                    <a:pt x="37" y="5"/>
                    <a:pt x="37" y="5"/>
                  </a:cubicBezTo>
                  <a:cubicBezTo>
                    <a:pt x="37" y="2"/>
                    <a:pt x="35" y="0"/>
                    <a:pt x="32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1" y="0"/>
                    <a:pt x="19" y="2"/>
                    <a:pt x="19" y="5"/>
                  </a:cubicBezTo>
                  <a:cubicBezTo>
                    <a:pt x="19" y="9"/>
                    <a:pt x="19" y="9"/>
                    <a:pt x="19" y="9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9" y="19"/>
                    <a:pt x="9" y="19"/>
                    <a:pt x="9" y="19"/>
                  </a:cubicBezTo>
                  <a:cubicBezTo>
                    <a:pt x="46" y="19"/>
                    <a:pt x="46" y="19"/>
                    <a:pt x="46" y="19"/>
                  </a:cubicBezTo>
                  <a:lnTo>
                    <a:pt x="46" y="9"/>
                  </a:lnTo>
                  <a:close/>
                  <a:moveTo>
                    <a:pt x="32" y="9"/>
                  </a:moveTo>
                  <a:cubicBezTo>
                    <a:pt x="23" y="9"/>
                    <a:pt x="23" y="9"/>
                    <a:pt x="23" y="9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23" y="5"/>
                    <a:pt x="23" y="5"/>
                    <a:pt x="23" y="5"/>
                  </a:cubicBezTo>
                  <a:cubicBezTo>
                    <a:pt x="32" y="5"/>
                    <a:pt x="32" y="5"/>
                    <a:pt x="32" y="5"/>
                  </a:cubicBezTo>
                  <a:cubicBezTo>
                    <a:pt x="32" y="5"/>
                    <a:pt x="32" y="5"/>
                    <a:pt x="32" y="5"/>
                  </a:cubicBezTo>
                  <a:lnTo>
                    <a:pt x="32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6" name="任意多边形: 形状 45">
              <a:extLst>
                <a:ext uri="{FF2B5EF4-FFF2-40B4-BE49-F238E27FC236}">
                  <a16:creationId xmlns:a16="http://schemas.microsoft.com/office/drawing/2014/main" id="{2DBAD62E-5DBC-4289-828F-5E4D812BC070}"/>
                </a:ext>
              </a:extLst>
            </p:cNvPr>
            <p:cNvSpPr/>
            <p:nvPr/>
          </p:nvSpPr>
          <p:spPr bwMode="auto">
            <a:xfrm>
              <a:off x="10986831" y="3618734"/>
              <a:ext cx="608730" cy="342533"/>
            </a:xfrm>
            <a:custGeom>
              <a:avLst/>
              <a:gdLst>
                <a:gd name="T0" fmla="*/ 190 w 190"/>
                <a:gd name="T1" fmla="*/ 74 h 107"/>
                <a:gd name="T2" fmla="*/ 166 w 190"/>
                <a:gd name="T3" fmla="*/ 43 h 107"/>
                <a:gd name="T4" fmla="*/ 122 w 190"/>
                <a:gd name="T5" fmla="*/ 0 h 107"/>
                <a:gd name="T6" fmla="*/ 87 w 190"/>
                <a:gd name="T7" fmla="*/ 17 h 107"/>
                <a:gd name="T8" fmla="*/ 67 w 190"/>
                <a:gd name="T9" fmla="*/ 7 h 107"/>
                <a:gd name="T10" fmla="*/ 42 w 190"/>
                <a:gd name="T11" fmla="*/ 32 h 107"/>
                <a:gd name="T12" fmla="*/ 43 w 190"/>
                <a:gd name="T13" fmla="*/ 35 h 107"/>
                <a:gd name="T14" fmla="*/ 36 w 190"/>
                <a:gd name="T15" fmla="*/ 35 h 107"/>
                <a:gd name="T16" fmla="*/ 0 w 190"/>
                <a:gd name="T17" fmla="*/ 71 h 107"/>
                <a:gd name="T18" fmla="*/ 36 w 190"/>
                <a:gd name="T19" fmla="*/ 107 h 107"/>
                <a:gd name="T20" fmla="*/ 158 w 190"/>
                <a:gd name="T21" fmla="*/ 107 h 107"/>
                <a:gd name="T22" fmla="*/ 158 w 190"/>
                <a:gd name="T23" fmla="*/ 107 h 107"/>
                <a:gd name="T24" fmla="*/ 190 w 190"/>
                <a:gd name="T25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90" h="107">
                  <a:moveTo>
                    <a:pt x="190" y="74"/>
                  </a:moveTo>
                  <a:cubicBezTo>
                    <a:pt x="190" y="59"/>
                    <a:pt x="180" y="46"/>
                    <a:pt x="166" y="43"/>
                  </a:cubicBezTo>
                  <a:cubicBezTo>
                    <a:pt x="165" y="19"/>
                    <a:pt x="146" y="0"/>
                    <a:pt x="122" y="0"/>
                  </a:cubicBezTo>
                  <a:cubicBezTo>
                    <a:pt x="107" y="0"/>
                    <a:pt x="95" y="6"/>
                    <a:pt x="87" y="17"/>
                  </a:cubicBezTo>
                  <a:cubicBezTo>
                    <a:pt x="82" y="11"/>
                    <a:pt x="75" y="7"/>
                    <a:pt x="67" y="7"/>
                  </a:cubicBezTo>
                  <a:cubicBezTo>
                    <a:pt x="54" y="7"/>
                    <a:pt x="42" y="18"/>
                    <a:pt x="42" y="32"/>
                  </a:cubicBezTo>
                  <a:cubicBezTo>
                    <a:pt x="42" y="33"/>
                    <a:pt x="43" y="34"/>
                    <a:pt x="43" y="35"/>
                  </a:cubicBezTo>
                  <a:cubicBezTo>
                    <a:pt x="41" y="35"/>
                    <a:pt x="38" y="35"/>
                    <a:pt x="36" y="35"/>
                  </a:cubicBezTo>
                  <a:cubicBezTo>
                    <a:pt x="16" y="35"/>
                    <a:pt x="0" y="51"/>
                    <a:pt x="0" y="71"/>
                  </a:cubicBezTo>
                  <a:cubicBezTo>
                    <a:pt x="0" y="91"/>
                    <a:pt x="16" y="107"/>
                    <a:pt x="36" y="107"/>
                  </a:cubicBezTo>
                  <a:cubicBezTo>
                    <a:pt x="158" y="107"/>
                    <a:pt x="158" y="107"/>
                    <a:pt x="158" y="107"/>
                  </a:cubicBezTo>
                  <a:cubicBezTo>
                    <a:pt x="158" y="107"/>
                    <a:pt x="158" y="107"/>
                    <a:pt x="158" y="107"/>
                  </a:cubicBezTo>
                  <a:cubicBezTo>
                    <a:pt x="176" y="107"/>
                    <a:pt x="190" y="92"/>
                    <a:pt x="190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7" name="任意多边形: 形状 46">
              <a:extLst>
                <a:ext uri="{FF2B5EF4-FFF2-40B4-BE49-F238E27FC236}">
                  <a16:creationId xmlns:a16="http://schemas.microsoft.com/office/drawing/2014/main" id="{9735F4E4-D977-46A2-98A6-27545DECD2FF}"/>
                </a:ext>
              </a:extLst>
            </p:cNvPr>
            <p:cNvSpPr/>
            <p:nvPr/>
          </p:nvSpPr>
          <p:spPr bwMode="auto">
            <a:xfrm>
              <a:off x="11632748" y="2722276"/>
              <a:ext cx="291643" cy="317088"/>
            </a:xfrm>
            <a:custGeom>
              <a:avLst/>
              <a:gdLst>
                <a:gd name="T0" fmla="*/ 61 w 91"/>
                <a:gd name="T1" fmla="*/ 27 h 99"/>
                <a:gd name="T2" fmla="*/ 51 w 91"/>
                <a:gd name="T3" fmla="*/ 38 h 99"/>
                <a:gd name="T4" fmla="*/ 46 w 91"/>
                <a:gd name="T5" fmla="*/ 46 h 99"/>
                <a:gd name="T6" fmla="*/ 48 w 91"/>
                <a:gd name="T7" fmla="*/ 29 h 99"/>
                <a:gd name="T8" fmla="*/ 48 w 91"/>
                <a:gd name="T9" fmla="*/ 14 h 99"/>
                <a:gd name="T10" fmla="*/ 23 w 91"/>
                <a:gd name="T11" fmla="*/ 4 h 99"/>
                <a:gd name="T12" fmla="*/ 13 w 91"/>
                <a:gd name="T13" fmla="*/ 29 h 99"/>
                <a:gd name="T14" fmla="*/ 24 w 91"/>
                <a:gd name="T15" fmla="*/ 40 h 99"/>
                <a:gd name="T16" fmla="*/ 38 w 91"/>
                <a:gd name="T17" fmla="*/ 50 h 99"/>
                <a:gd name="T18" fmla="*/ 29 w 91"/>
                <a:gd name="T19" fmla="*/ 48 h 99"/>
                <a:gd name="T20" fmla="*/ 14 w 91"/>
                <a:gd name="T21" fmla="*/ 48 h 99"/>
                <a:gd name="T22" fmla="*/ 4 w 91"/>
                <a:gd name="T23" fmla="*/ 74 h 99"/>
                <a:gd name="T24" fmla="*/ 30 w 91"/>
                <a:gd name="T25" fmla="*/ 84 h 99"/>
                <a:gd name="T26" fmla="*/ 40 w 91"/>
                <a:gd name="T27" fmla="*/ 73 h 99"/>
                <a:gd name="T28" fmla="*/ 45 w 91"/>
                <a:gd name="T29" fmla="*/ 65 h 99"/>
                <a:gd name="T30" fmla="*/ 43 w 91"/>
                <a:gd name="T31" fmla="*/ 96 h 99"/>
                <a:gd name="T32" fmla="*/ 45 w 91"/>
                <a:gd name="T33" fmla="*/ 99 h 99"/>
                <a:gd name="T34" fmla="*/ 61 w 91"/>
                <a:gd name="T35" fmla="*/ 92 h 99"/>
                <a:gd name="T36" fmla="*/ 78 w 91"/>
                <a:gd name="T37" fmla="*/ 84 h 99"/>
                <a:gd name="T38" fmla="*/ 76 w 91"/>
                <a:gd name="T39" fmla="*/ 81 h 99"/>
                <a:gd name="T40" fmla="*/ 53 w 91"/>
                <a:gd name="T41" fmla="*/ 61 h 99"/>
                <a:gd name="T42" fmla="*/ 61 w 91"/>
                <a:gd name="T43" fmla="*/ 63 h 99"/>
                <a:gd name="T44" fmla="*/ 77 w 91"/>
                <a:gd name="T45" fmla="*/ 63 h 99"/>
                <a:gd name="T46" fmla="*/ 87 w 91"/>
                <a:gd name="T47" fmla="*/ 37 h 99"/>
                <a:gd name="T48" fmla="*/ 61 w 91"/>
                <a:gd name="T49" fmla="*/ 27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91" h="99">
                  <a:moveTo>
                    <a:pt x="61" y="27"/>
                  </a:moveTo>
                  <a:cubicBezTo>
                    <a:pt x="56" y="29"/>
                    <a:pt x="52" y="33"/>
                    <a:pt x="51" y="38"/>
                  </a:cubicBezTo>
                  <a:cubicBezTo>
                    <a:pt x="50" y="40"/>
                    <a:pt x="48" y="43"/>
                    <a:pt x="46" y="46"/>
                  </a:cubicBezTo>
                  <a:cubicBezTo>
                    <a:pt x="46" y="41"/>
                    <a:pt x="47" y="33"/>
                    <a:pt x="48" y="29"/>
                  </a:cubicBezTo>
                  <a:cubicBezTo>
                    <a:pt x="50" y="25"/>
                    <a:pt x="50" y="19"/>
                    <a:pt x="48" y="14"/>
                  </a:cubicBezTo>
                  <a:cubicBezTo>
                    <a:pt x="44" y="4"/>
                    <a:pt x="32" y="0"/>
                    <a:pt x="23" y="4"/>
                  </a:cubicBezTo>
                  <a:cubicBezTo>
                    <a:pt x="13" y="8"/>
                    <a:pt x="9" y="20"/>
                    <a:pt x="13" y="29"/>
                  </a:cubicBezTo>
                  <a:cubicBezTo>
                    <a:pt x="15" y="35"/>
                    <a:pt x="19" y="38"/>
                    <a:pt x="24" y="40"/>
                  </a:cubicBezTo>
                  <a:cubicBezTo>
                    <a:pt x="28" y="41"/>
                    <a:pt x="34" y="46"/>
                    <a:pt x="38" y="50"/>
                  </a:cubicBezTo>
                  <a:cubicBezTo>
                    <a:pt x="34" y="49"/>
                    <a:pt x="31" y="49"/>
                    <a:pt x="29" y="48"/>
                  </a:cubicBezTo>
                  <a:cubicBezTo>
                    <a:pt x="24" y="46"/>
                    <a:pt x="19" y="46"/>
                    <a:pt x="14" y="48"/>
                  </a:cubicBezTo>
                  <a:cubicBezTo>
                    <a:pt x="4" y="52"/>
                    <a:pt x="0" y="64"/>
                    <a:pt x="4" y="74"/>
                  </a:cubicBezTo>
                  <a:cubicBezTo>
                    <a:pt x="8" y="84"/>
                    <a:pt x="20" y="88"/>
                    <a:pt x="30" y="84"/>
                  </a:cubicBezTo>
                  <a:cubicBezTo>
                    <a:pt x="35" y="82"/>
                    <a:pt x="38" y="77"/>
                    <a:pt x="40" y="73"/>
                  </a:cubicBezTo>
                  <a:cubicBezTo>
                    <a:pt x="41" y="70"/>
                    <a:pt x="42" y="67"/>
                    <a:pt x="45" y="65"/>
                  </a:cubicBezTo>
                  <a:cubicBezTo>
                    <a:pt x="50" y="77"/>
                    <a:pt x="48" y="89"/>
                    <a:pt x="43" y="96"/>
                  </a:cubicBezTo>
                  <a:cubicBezTo>
                    <a:pt x="45" y="99"/>
                    <a:pt x="45" y="99"/>
                    <a:pt x="45" y="99"/>
                  </a:cubicBezTo>
                  <a:cubicBezTo>
                    <a:pt x="61" y="92"/>
                    <a:pt x="61" y="92"/>
                    <a:pt x="61" y="92"/>
                  </a:cubicBezTo>
                  <a:cubicBezTo>
                    <a:pt x="78" y="84"/>
                    <a:pt x="78" y="84"/>
                    <a:pt x="78" y="84"/>
                  </a:cubicBezTo>
                  <a:cubicBezTo>
                    <a:pt x="76" y="81"/>
                    <a:pt x="76" y="81"/>
                    <a:pt x="76" y="81"/>
                  </a:cubicBezTo>
                  <a:cubicBezTo>
                    <a:pt x="68" y="80"/>
                    <a:pt x="58" y="74"/>
                    <a:pt x="53" y="61"/>
                  </a:cubicBezTo>
                  <a:cubicBezTo>
                    <a:pt x="56" y="61"/>
                    <a:pt x="59" y="62"/>
                    <a:pt x="61" y="63"/>
                  </a:cubicBezTo>
                  <a:cubicBezTo>
                    <a:pt x="66" y="65"/>
                    <a:pt x="72" y="65"/>
                    <a:pt x="77" y="63"/>
                  </a:cubicBezTo>
                  <a:cubicBezTo>
                    <a:pt x="87" y="59"/>
                    <a:pt x="91" y="47"/>
                    <a:pt x="87" y="37"/>
                  </a:cubicBezTo>
                  <a:cubicBezTo>
                    <a:pt x="82" y="27"/>
                    <a:pt x="71" y="23"/>
                    <a:pt x="61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8" name="任意多边形: 形状 47">
              <a:extLst>
                <a:ext uri="{FF2B5EF4-FFF2-40B4-BE49-F238E27FC236}">
                  <a16:creationId xmlns:a16="http://schemas.microsoft.com/office/drawing/2014/main" id="{A5C3668B-C1D0-40A4-9E21-F9581194398B}"/>
                </a:ext>
              </a:extLst>
            </p:cNvPr>
            <p:cNvSpPr/>
            <p:nvPr/>
          </p:nvSpPr>
          <p:spPr bwMode="auto">
            <a:xfrm>
              <a:off x="11460504" y="3483680"/>
              <a:ext cx="146800" cy="154629"/>
            </a:xfrm>
            <a:custGeom>
              <a:avLst/>
              <a:gdLst>
                <a:gd name="T0" fmla="*/ 43 w 46"/>
                <a:gd name="T1" fmla="*/ 29 h 48"/>
                <a:gd name="T2" fmla="*/ 46 w 46"/>
                <a:gd name="T3" fmla="*/ 16 h 48"/>
                <a:gd name="T4" fmla="*/ 41 w 46"/>
                <a:gd name="T5" fmla="*/ 8 h 48"/>
                <a:gd name="T6" fmla="*/ 37 w 46"/>
                <a:gd name="T7" fmla="*/ 9 h 48"/>
                <a:gd name="T8" fmla="*/ 28 w 46"/>
                <a:gd name="T9" fmla="*/ 0 h 48"/>
                <a:gd name="T10" fmla="*/ 18 w 46"/>
                <a:gd name="T11" fmla="*/ 0 h 48"/>
                <a:gd name="T12" fmla="*/ 17 w 46"/>
                <a:gd name="T13" fmla="*/ 4 h 48"/>
                <a:gd name="T14" fmla="*/ 4 w 46"/>
                <a:gd name="T15" fmla="*/ 8 h 48"/>
                <a:gd name="T16" fmla="*/ 0 w 46"/>
                <a:gd name="T17" fmla="*/ 16 h 48"/>
                <a:gd name="T18" fmla="*/ 3 w 46"/>
                <a:gd name="T19" fmla="*/ 19 h 48"/>
                <a:gd name="T20" fmla="*/ 0 w 46"/>
                <a:gd name="T21" fmla="*/ 32 h 48"/>
                <a:gd name="T22" fmla="*/ 4 w 46"/>
                <a:gd name="T23" fmla="*/ 40 h 48"/>
                <a:gd name="T24" fmla="*/ 9 w 46"/>
                <a:gd name="T25" fmla="*/ 39 h 48"/>
                <a:gd name="T26" fmla="*/ 18 w 46"/>
                <a:gd name="T27" fmla="*/ 48 h 48"/>
                <a:gd name="T28" fmla="*/ 28 w 46"/>
                <a:gd name="T29" fmla="*/ 48 h 48"/>
                <a:gd name="T30" fmla="*/ 29 w 46"/>
                <a:gd name="T31" fmla="*/ 44 h 48"/>
                <a:gd name="T32" fmla="*/ 41 w 46"/>
                <a:gd name="T33" fmla="*/ 40 h 48"/>
                <a:gd name="T34" fmla="*/ 46 w 46"/>
                <a:gd name="T35" fmla="*/ 32 h 48"/>
                <a:gd name="T36" fmla="*/ 43 w 46"/>
                <a:gd name="T37" fmla="*/ 29 h 48"/>
                <a:gd name="T38" fmla="*/ 23 w 46"/>
                <a:gd name="T39" fmla="*/ 34 h 48"/>
                <a:gd name="T40" fmla="*/ 13 w 46"/>
                <a:gd name="T41" fmla="*/ 24 h 48"/>
                <a:gd name="T42" fmla="*/ 23 w 46"/>
                <a:gd name="T43" fmla="*/ 14 h 48"/>
                <a:gd name="T44" fmla="*/ 33 w 46"/>
                <a:gd name="T45" fmla="*/ 24 h 48"/>
                <a:gd name="T46" fmla="*/ 23 w 46"/>
                <a:gd name="T47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48">
                  <a:moveTo>
                    <a:pt x="43" y="29"/>
                  </a:moveTo>
                  <a:cubicBezTo>
                    <a:pt x="40" y="24"/>
                    <a:pt x="42" y="19"/>
                    <a:pt x="46" y="16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0" y="9"/>
                    <a:pt x="38" y="9"/>
                    <a:pt x="37" y="9"/>
                  </a:cubicBezTo>
                  <a:cubicBezTo>
                    <a:pt x="32" y="9"/>
                    <a:pt x="28" y="5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3"/>
                    <a:pt x="17" y="4"/>
                  </a:cubicBezTo>
                  <a:cubicBezTo>
                    <a:pt x="14" y="9"/>
                    <a:pt x="9" y="10"/>
                    <a:pt x="4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7"/>
                    <a:pt x="2" y="18"/>
                    <a:pt x="3" y="19"/>
                  </a:cubicBezTo>
                  <a:cubicBezTo>
                    <a:pt x="5" y="24"/>
                    <a:pt x="4" y="29"/>
                    <a:pt x="0" y="3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39"/>
                    <a:pt x="7" y="39"/>
                    <a:pt x="9" y="39"/>
                  </a:cubicBezTo>
                  <a:cubicBezTo>
                    <a:pt x="14" y="39"/>
                    <a:pt x="18" y="43"/>
                    <a:pt x="1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5"/>
                    <a:pt x="29" y="44"/>
                  </a:cubicBezTo>
                  <a:cubicBezTo>
                    <a:pt x="31" y="39"/>
                    <a:pt x="37" y="38"/>
                    <a:pt x="41" y="40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1"/>
                    <a:pt x="44" y="30"/>
                    <a:pt x="43" y="29"/>
                  </a:cubicBezTo>
                  <a:close/>
                  <a:moveTo>
                    <a:pt x="23" y="34"/>
                  </a:moveTo>
                  <a:cubicBezTo>
                    <a:pt x="17" y="34"/>
                    <a:pt x="13" y="29"/>
                    <a:pt x="13" y="24"/>
                  </a:cubicBezTo>
                  <a:cubicBezTo>
                    <a:pt x="13" y="19"/>
                    <a:pt x="17" y="14"/>
                    <a:pt x="23" y="14"/>
                  </a:cubicBezTo>
                  <a:cubicBezTo>
                    <a:pt x="28" y="14"/>
                    <a:pt x="33" y="19"/>
                    <a:pt x="33" y="24"/>
                  </a:cubicBezTo>
                  <a:cubicBezTo>
                    <a:pt x="33" y="29"/>
                    <a:pt x="28" y="34"/>
                    <a:pt x="2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49" name="任意多边形: 形状 48">
              <a:extLst>
                <a:ext uri="{FF2B5EF4-FFF2-40B4-BE49-F238E27FC236}">
                  <a16:creationId xmlns:a16="http://schemas.microsoft.com/office/drawing/2014/main" id="{400CE53B-334A-4896-BFCF-52E0C189264A}"/>
                </a:ext>
              </a:extLst>
            </p:cNvPr>
            <p:cNvSpPr/>
            <p:nvPr/>
          </p:nvSpPr>
          <p:spPr bwMode="auto">
            <a:xfrm>
              <a:off x="11585772" y="3078511"/>
              <a:ext cx="223135" cy="227050"/>
            </a:xfrm>
            <a:custGeom>
              <a:avLst/>
              <a:gdLst>
                <a:gd name="T0" fmla="*/ 53 w 70"/>
                <a:gd name="T1" fmla="*/ 45 h 71"/>
                <a:gd name="T2" fmla="*/ 41 w 70"/>
                <a:gd name="T3" fmla="*/ 32 h 71"/>
                <a:gd name="T4" fmla="*/ 70 w 70"/>
                <a:gd name="T5" fmla="*/ 10 h 71"/>
                <a:gd name="T6" fmla="*/ 62 w 70"/>
                <a:gd name="T7" fmla="*/ 1 h 71"/>
                <a:gd name="T8" fmla="*/ 25 w 70"/>
                <a:gd name="T9" fmla="*/ 16 h 71"/>
                <a:gd name="T10" fmla="*/ 13 w 70"/>
                <a:gd name="T11" fmla="*/ 5 h 71"/>
                <a:gd name="T12" fmla="*/ 2 w 70"/>
                <a:gd name="T13" fmla="*/ 3 h 71"/>
                <a:gd name="T14" fmla="*/ 4 w 70"/>
                <a:gd name="T15" fmla="*/ 13 h 71"/>
                <a:gd name="T16" fmla="*/ 16 w 70"/>
                <a:gd name="T17" fmla="*/ 25 h 71"/>
                <a:gd name="T18" fmla="*/ 1 w 70"/>
                <a:gd name="T19" fmla="*/ 62 h 71"/>
                <a:gd name="T20" fmla="*/ 10 w 70"/>
                <a:gd name="T21" fmla="*/ 71 h 71"/>
                <a:gd name="T22" fmla="*/ 32 w 70"/>
                <a:gd name="T23" fmla="*/ 41 h 71"/>
                <a:gd name="T24" fmla="*/ 44 w 70"/>
                <a:gd name="T25" fmla="*/ 53 h 71"/>
                <a:gd name="T26" fmla="*/ 44 w 70"/>
                <a:gd name="T27" fmla="*/ 71 h 71"/>
                <a:gd name="T28" fmla="*/ 53 w 70"/>
                <a:gd name="T29" fmla="*/ 71 h 71"/>
                <a:gd name="T30" fmla="*/ 57 w 70"/>
                <a:gd name="T31" fmla="*/ 58 h 71"/>
                <a:gd name="T32" fmla="*/ 70 w 70"/>
                <a:gd name="T33" fmla="*/ 53 h 71"/>
                <a:gd name="T34" fmla="*/ 70 w 70"/>
                <a:gd name="T35" fmla="*/ 45 h 71"/>
                <a:gd name="T36" fmla="*/ 53 w 70"/>
                <a:gd name="T37" fmla="*/ 45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0" h="71">
                  <a:moveTo>
                    <a:pt x="53" y="45"/>
                  </a:moveTo>
                  <a:cubicBezTo>
                    <a:pt x="41" y="32"/>
                    <a:pt x="41" y="32"/>
                    <a:pt x="41" y="32"/>
                  </a:cubicBezTo>
                  <a:cubicBezTo>
                    <a:pt x="70" y="10"/>
                    <a:pt x="70" y="10"/>
                    <a:pt x="70" y="10"/>
                  </a:cubicBezTo>
                  <a:cubicBezTo>
                    <a:pt x="62" y="1"/>
                    <a:pt x="62" y="1"/>
                    <a:pt x="62" y="1"/>
                  </a:cubicBezTo>
                  <a:cubicBezTo>
                    <a:pt x="25" y="16"/>
                    <a:pt x="25" y="16"/>
                    <a:pt x="25" y="16"/>
                  </a:cubicBezTo>
                  <a:cubicBezTo>
                    <a:pt x="13" y="5"/>
                    <a:pt x="13" y="5"/>
                    <a:pt x="13" y="5"/>
                  </a:cubicBezTo>
                  <a:cubicBezTo>
                    <a:pt x="10" y="1"/>
                    <a:pt x="5" y="0"/>
                    <a:pt x="2" y="3"/>
                  </a:cubicBezTo>
                  <a:cubicBezTo>
                    <a:pt x="0" y="5"/>
                    <a:pt x="1" y="10"/>
                    <a:pt x="4" y="13"/>
                  </a:cubicBezTo>
                  <a:cubicBezTo>
                    <a:pt x="16" y="25"/>
                    <a:pt x="16" y="25"/>
                    <a:pt x="16" y="25"/>
                  </a:cubicBezTo>
                  <a:cubicBezTo>
                    <a:pt x="1" y="62"/>
                    <a:pt x="1" y="62"/>
                    <a:pt x="1" y="62"/>
                  </a:cubicBezTo>
                  <a:cubicBezTo>
                    <a:pt x="10" y="71"/>
                    <a:pt x="10" y="71"/>
                    <a:pt x="10" y="71"/>
                  </a:cubicBezTo>
                  <a:cubicBezTo>
                    <a:pt x="32" y="41"/>
                    <a:pt x="32" y="41"/>
                    <a:pt x="32" y="41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53" y="71"/>
                    <a:pt x="53" y="71"/>
                    <a:pt x="53" y="71"/>
                  </a:cubicBezTo>
                  <a:cubicBezTo>
                    <a:pt x="57" y="58"/>
                    <a:pt x="57" y="58"/>
                    <a:pt x="57" y="58"/>
                  </a:cubicBezTo>
                  <a:cubicBezTo>
                    <a:pt x="70" y="53"/>
                    <a:pt x="70" y="53"/>
                    <a:pt x="70" y="53"/>
                  </a:cubicBezTo>
                  <a:cubicBezTo>
                    <a:pt x="70" y="45"/>
                    <a:pt x="70" y="45"/>
                    <a:pt x="70" y="45"/>
                  </a:cubicBezTo>
                  <a:cubicBezTo>
                    <a:pt x="53" y="45"/>
                    <a:pt x="53" y="45"/>
                    <a:pt x="53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0" name="任意多边形: 形状 49">
              <a:extLst>
                <a:ext uri="{FF2B5EF4-FFF2-40B4-BE49-F238E27FC236}">
                  <a16:creationId xmlns:a16="http://schemas.microsoft.com/office/drawing/2014/main" id="{77BCF5FF-F022-4B35-A0CD-383047922AD3}"/>
                </a:ext>
              </a:extLst>
            </p:cNvPr>
            <p:cNvSpPr/>
            <p:nvPr/>
          </p:nvSpPr>
          <p:spPr bwMode="auto">
            <a:xfrm>
              <a:off x="11859800" y="3225310"/>
              <a:ext cx="78293" cy="142884"/>
            </a:xfrm>
            <a:custGeom>
              <a:avLst/>
              <a:gdLst>
                <a:gd name="T0" fmla="*/ 16 w 24"/>
                <a:gd name="T1" fmla="*/ 44 h 45"/>
                <a:gd name="T2" fmla="*/ 16 w 24"/>
                <a:gd name="T3" fmla="*/ 44 h 45"/>
                <a:gd name="T4" fmla="*/ 23 w 24"/>
                <a:gd name="T5" fmla="*/ 34 h 45"/>
                <a:gd name="T6" fmla="*/ 21 w 24"/>
                <a:gd name="T7" fmla="*/ 23 h 45"/>
                <a:gd name="T8" fmla="*/ 11 w 24"/>
                <a:gd name="T9" fmla="*/ 16 h 45"/>
                <a:gd name="T10" fmla="*/ 11 w 24"/>
                <a:gd name="T11" fmla="*/ 16 h 45"/>
                <a:gd name="T12" fmla="*/ 10 w 24"/>
                <a:gd name="T13" fmla="*/ 17 h 45"/>
                <a:gd name="T14" fmla="*/ 11 w 24"/>
                <a:gd name="T15" fmla="*/ 20 h 45"/>
                <a:gd name="T16" fmla="*/ 12 w 24"/>
                <a:gd name="T17" fmla="*/ 20 h 45"/>
                <a:gd name="T18" fmla="*/ 12 w 24"/>
                <a:gd name="T19" fmla="*/ 20 h 45"/>
                <a:gd name="T20" fmla="*/ 17 w 24"/>
                <a:gd name="T21" fmla="*/ 24 h 45"/>
                <a:gd name="T22" fmla="*/ 19 w 24"/>
                <a:gd name="T23" fmla="*/ 35 h 45"/>
                <a:gd name="T24" fmla="*/ 16 w 24"/>
                <a:gd name="T25" fmla="*/ 40 h 45"/>
                <a:gd name="T26" fmla="*/ 16 w 24"/>
                <a:gd name="T27" fmla="*/ 40 h 45"/>
                <a:gd name="T28" fmla="*/ 10 w 24"/>
                <a:gd name="T29" fmla="*/ 36 h 45"/>
                <a:gd name="T30" fmla="*/ 9 w 24"/>
                <a:gd name="T31" fmla="*/ 31 h 45"/>
                <a:gd name="T32" fmla="*/ 5 w 24"/>
                <a:gd name="T33" fmla="*/ 30 h 45"/>
                <a:gd name="T34" fmla="*/ 6 w 24"/>
                <a:gd name="T35" fmla="*/ 37 h 45"/>
                <a:gd name="T36" fmla="*/ 16 w 24"/>
                <a:gd name="T37" fmla="*/ 44 h 45"/>
                <a:gd name="T38" fmla="*/ 13 w 24"/>
                <a:gd name="T39" fmla="*/ 28 h 45"/>
                <a:gd name="T40" fmla="*/ 15 w 24"/>
                <a:gd name="T41" fmla="*/ 28 h 45"/>
                <a:gd name="T42" fmla="*/ 14 w 24"/>
                <a:gd name="T43" fmla="*/ 24 h 45"/>
                <a:gd name="T44" fmla="*/ 13 w 24"/>
                <a:gd name="T45" fmla="*/ 24 h 45"/>
                <a:gd name="T46" fmla="*/ 12 w 24"/>
                <a:gd name="T47" fmla="*/ 24 h 45"/>
                <a:gd name="T48" fmla="*/ 7 w 24"/>
                <a:gd name="T49" fmla="*/ 21 h 45"/>
                <a:gd name="T50" fmla="*/ 5 w 24"/>
                <a:gd name="T51" fmla="*/ 10 h 45"/>
                <a:gd name="T52" fmla="*/ 9 w 24"/>
                <a:gd name="T53" fmla="*/ 4 h 45"/>
                <a:gd name="T54" fmla="*/ 9 w 24"/>
                <a:gd name="T55" fmla="*/ 4 h 45"/>
                <a:gd name="T56" fmla="*/ 14 w 24"/>
                <a:gd name="T57" fmla="*/ 8 h 45"/>
                <a:gd name="T58" fmla="*/ 15 w 24"/>
                <a:gd name="T59" fmla="*/ 13 h 45"/>
                <a:gd name="T60" fmla="*/ 20 w 24"/>
                <a:gd name="T61" fmla="*/ 15 h 45"/>
                <a:gd name="T62" fmla="*/ 18 w 24"/>
                <a:gd name="T63" fmla="*/ 7 h 45"/>
                <a:gd name="T64" fmla="*/ 8 w 24"/>
                <a:gd name="T65" fmla="*/ 0 h 45"/>
                <a:gd name="T66" fmla="*/ 8 w 24"/>
                <a:gd name="T67" fmla="*/ 1 h 45"/>
                <a:gd name="T68" fmla="*/ 1 w 24"/>
                <a:gd name="T69" fmla="*/ 11 h 45"/>
                <a:gd name="T70" fmla="*/ 3 w 24"/>
                <a:gd name="T71" fmla="*/ 21 h 45"/>
                <a:gd name="T72" fmla="*/ 13 w 24"/>
                <a:gd name="T73" fmla="*/ 2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4" h="45">
                  <a:moveTo>
                    <a:pt x="16" y="44"/>
                  </a:moveTo>
                  <a:cubicBezTo>
                    <a:pt x="16" y="44"/>
                    <a:pt x="16" y="44"/>
                    <a:pt x="16" y="44"/>
                  </a:cubicBezTo>
                  <a:cubicBezTo>
                    <a:pt x="21" y="43"/>
                    <a:pt x="24" y="38"/>
                    <a:pt x="23" y="34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20" y="18"/>
                    <a:pt x="16" y="15"/>
                    <a:pt x="11" y="16"/>
                  </a:cubicBezTo>
                  <a:cubicBezTo>
                    <a:pt x="11" y="16"/>
                    <a:pt x="11" y="16"/>
                    <a:pt x="11" y="16"/>
                  </a:cubicBezTo>
                  <a:cubicBezTo>
                    <a:pt x="11" y="16"/>
                    <a:pt x="10" y="16"/>
                    <a:pt x="10" y="17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11" y="20"/>
                    <a:pt x="11" y="20"/>
                    <a:pt x="12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14" y="20"/>
                    <a:pt x="17" y="21"/>
                    <a:pt x="17" y="24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20" y="37"/>
                    <a:pt x="18" y="39"/>
                    <a:pt x="16" y="40"/>
                  </a:cubicBezTo>
                  <a:cubicBezTo>
                    <a:pt x="16" y="40"/>
                    <a:pt x="16" y="40"/>
                    <a:pt x="16" y="40"/>
                  </a:cubicBezTo>
                  <a:cubicBezTo>
                    <a:pt x="13" y="41"/>
                    <a:pt x="11" y="39"/>
                    <a:pt x="10" y="36"/>
                  </a:cubicBezTo>
                  <a:cubicBezTo>
                    <a:pt x="9" y="31"/>
                    <a:pt x="9" y="31"/>
                    <a:pt x="9" y="31"/>
                  </a:cubicBezTo>
                  <a:cubicBezTo>
                    <a:pt x="8" y="31"/>
                    <a:pt x="6" y="30"/>
                    <a:pt x="5" y="30"/>
                  </a:cubicBezTo>
                  <a:cubicBezTo>
                    <a:pt x="6" y="37"/>
                    <a:pt x="6" y="37"/>
                    <a:pt x="6" y="37"/>
                  </a:cubicBezTo>
                  <a:cubicBezTo>
                    <a:pt x="7" y="42"/>
                    <a:pt x="12" y="45"/>
                    <a:pt x="16" y="44"/>
                  </a:cubicBezTo>
                  <a:close/>
                  <a:moveTo>
                    <a:pt x="13" y="28"/>
                  </a:moveTo>
                  <a:cubicBezTo>
                    <a:pt x="14" y="28"/>
                    <a:pt x="14" y="28"/>
                    <a:pt x="15" y="28"/>
                  </a:cubicBezTo>
                  <a:cubicBezTo>
                    <a:pt x="14" y="24"/>
                    <a:pt x="14" y="24"/>
                    <a:pt x="14" y="24"/>
                  </a:cubicBezTo>
                  <a:cubicBezTo>
                    <a:pt x="13" y="24"/>
                    <a:pt x="13" y="24"/>
                    <a:pt x="13" y="24"/>
                  </a:cubicBezTo>
                  <a:cubicBezTo>
                    <a:pt x="12" y="24"/>
                    <a:pt x="12" y="24"/>
                    <a:pt x="12" y="24"/>
                  </a:cubicBezTo>
                  <a:cubicBezTo>
                    <a:pt x="10" y="25"/>
                    <a:pt x="8" y="23"/>
                    <a:pt x="7" y="21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7"/>
                    <a:pt x="6" y="5"/>
                    <a:pt x="9" y="4"/>
                  </a:cubicBezTo>
                  <a:cubicBezTo>
                    <a:pt x="9" y="4"/>
                    <a:pt x="9" y="4"/>
                    <a:pt x="9" y="4"/>
                  </a:cubicBezTo>
                  <a:cubicBezTo>
                    <a:pt x="11" y="4"/>
                    <a:pt x="14" y="6"/>
                    <a:pt x="14" y="8"/>
                  </a:cubicBezTo>
                  <a:cubicBezTo>
                    <a:pt x="15" y="13"/>
                    <a:pt x="15" y="13"/>
                    <a:pt x="15" y="13"/>
                  </a:cubicBezTo>
                  <a:cubicBezTo>
                    <a:pt x="17" y="13"/>
                    <a:pt x="18" y="14"/>
                    <a:pt x="20" y="15"/>
                  </a:cubicBezTo>
                  <a:cubicBezTo>
                    <a:pt x="18" y="7"/>
                    <a:pt x="18" y="7"/>
                    <a:pt x="18" y="7"/>
                  </a:cubicBezTo>
                  <a:cubicBezTo>
                    <a:pt x="17" y="3"/>
                    <a:pt x="13" y="0"/>
                    <a:pt x="8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3" y="1"/>
                    <a:pt x="0" y="6"/>
                    <a:pt x="1" y="11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4" y="26"/>
                    <a:pt x="9" y="29"/>
                    <a:pt x="13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1" name="任意多边形: 形状 50">
              <a:extLst>
                <a:ext uri="{FF2B5EF4-FFF2-40B4-BE49-F238E27FC236}">
                  <a16:creationId xmlns:a16="http://schemas.microsoft.com/office/drawing/2014/main" id="{A3691D92-5961-412C-821B-5F23E00EB2EF}"/>
                </a:ext>
              </a:extLst>
            </p:cNvPr>
            <p:cNvSpPr/>
            <p:nvPr/>
          </p:nvSpPr>
          <p:spPr bwMode="auto">
            <a:xfrm>
              <a:off x="11253029" y="3186165"/>
              <a:ext cx="293599" cy="295557"/>
            </a:xfrm>
            <a:custGeom>
              <a:avLst/>
              <a:gdLst>
                <a:gd name="T0" fmla="*/ 29 w 92"/>
                <a:gd name="T1" fmla="*/ 18 h 92"/>
                <a:gd name="T2" fmla="*/ 92 w 92"/>
                <a:gd name="T3" fmla="*/ 0 h 92"/>
                <a:gd name="T4" fmla="*/ 92 w 92"/>
                <a:gd name="T5" fmla="*/ 6 h 92"/>
                <a:gd name="T6" fmla="*/ 92 w 92"/>
                <a:gd name="T7" fmla="*/ 18 h 92"/>
                <a:gd name="T8" fmla="*/ 92 w 92"/>
                <a:gd name="T9" fmla="*/ 67 h 92"/>
                <a:gd name="T10" fmla="*/ 72 w 92"/>
                <a:gd name="T11" fmla="*/ 81 h 92"/>
                <a:gd name="T12" fmla="*/ 52 w 92"/>
                <a:gd name="T13" fmla="*/ 67 h 92"/>
                <a:gd name="T14" fmla="*/ 72 w 92"/>
                <a:gd name="T15" fmla="*/ 52 h 92"/>
                <a:gd name="T16" fmla="*/ 80 w 92"/>
                <a:gd name="T17" fmla="*/ 54 h 92"/>
                <a:gd name="T18" fmla="*/ 80 w 92"/>
                <a:gd name="T19" fmla="*/ 24 h 92"/>
                <a:gd name="T20" fmla="*/ 40 w 92"/>
                <a:gd name="T21" fmla="*/ 35 h 92"/>
                <a:gd name="T22" fmla="*/ 40 w 92"/>
                <a:gd name="T23" fmla="*/ 78 h 92"/>
                <a:gd name="T24" fmla="*/ 20 w 92"/>
                <a:gd name="T25" fmla="*/ 92 h 92"/>
                <a:gd name="T26" fmla="*/ 0 w 92"/>
                <a:gd name="T27" fmla="*/ 78 h 92"/>
                <a:gd name="T28" fmla="*/ 20 w 92"/>
                <a:gd name="T29" fmla="*/ 64 h 92"/>
                <a:gd name="T30" fmla="*/ 29 w 92"/>
                <a:gd name="T31" fmla="*/ 65 h 92"/>
                <a:gd name="T32" fmla="*/ 29 w 92"/>
                <a:gd name="T33" fmla="*/ 35 h 92"/>
                <a:gd name="T34" fmla="*/ 29 w 92"/>
                <a:gd name="T35" fmla="*/ 18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" h="92">
                  <a:moveTo>
                    <a:pt x="29" y="18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18"/>
                    <a:pt x="92" y="18"/>
                    <a:pt x="92" y="18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74"/>
                    <a:pt x="83" y="81"/>
                    <a:pt x="72" y="81"/>
                  </a:cubicBezTo>
                  <a:cubicBezTo>
                    <a:pt x="61" y="81"/>
                    <a:pt x="52" y="74"/>
                    <a:pt x="52" y="67"/>
                  </a:cubicBezTo>
                  <a:cubicBezTo>
                    <a:pt x="52" y="59"/>
                    <a:pt x="61" y="52"/>
                    <a:pt x="72" y="52"/>
                  </a:cubicBezTo>
                  <a:cubicBezTo>
                    <a:pt x="75" y="52"/>
                    <a:pt x="78" y="53"/>
                    <a:pt x="80" y="54"/>
                  </a:cubicBezTo>
                  <a:cubicBezTo>
                    <a:pt x="80" y="24"/>
                    <a:pt x="80" y="24"/>
                    <a:pt x="80" y="24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0" y="78"/>
                    <a:pt x="40" y="78"/>
                    <a:pt x="40" y="78"/>
                  </a:cubicBezTo>
                  <a:cubicBezTo>
                    <a:pt x="40" y="86"/>
                    <a:pt x="31" y="92"/>
                    <a:pt x="20" y="92"/>
                  </a:cubicBezTo>
                  <a:cubicBezTo>
                    <a:pt x="9" y="92"/>
                    <a:pt x="0" y="86"/>
                    <a:pt x="0" y="78"/>
                  </a:cubicBezTo>
                  <a:cubicBezTo>
                    <a:pt x="0" y="70"/>
                    <a:pt x="9" y="64"/>
                    <a:pt x="20" y="64"/>
                  </a:cubicBezTo>
                  <a:cubicBezTo>
                    <a:pt x="23" y="64"/>
                    <a:pt x="26" y="64"/>
                    <a:pt x="29" y="65"/>
                  </a:cubicBezTo>
                  <a:cubicBezTo>
                    <a:pt x="29" y="35"/>
                    <a:pt x="29" y="35"/>
                    <a:pt x="29" y="35"/>
                  </a:cubicBezTo>
                  <a:lnTo>
                    <a:pt x="2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2" name="任意多边形: 形状 51">
              <a:extLst>
                <a:ext uri="{FF2B5EF4-FFF2-40B4-BE49-F238E27FC236}">
                  <a16:creationId xmlns:a16="http://schemas.microsoft.com/office/drawing/2014/main" id="{DC6F39DC-BA87-46FC-B455-72FE07FBB082}"/>
                </a:ext>
              </a:extLst>
            </p:cNvPr>
            <p:cNvSpPr/>
            <p:nvPr/>
          </p:nvSpPr>
          <p:spPr bwMode="auto">
            <a:xfrm>
              <a:off x="11489868" y="2540244"/>
              <a:ext cx="207477" cy="291641"/>
            </a:xfrm>
            <a:custGeom>
              <a:avLst/>
              <a:gdLst>
                <a:gd name="T0" fmla="*/ 38 w 65"/>
                <a:gd name="T1" fmla="*/ 46 h 91"/>
                <a:gd name="T2" fmla="*/ 46 w 65"/>
                <a:gd name="T3" fmla="*/ 26 h 91"/>
                <a:gd name="T4" fmla="*/ 52 w 65"/>
                <a:gd name="T5" fmla="*/ 33 h 91"/>
                <a:gd name="T6" fmla="*/ 47 w 65"/>
                <a:gd name="T7" fmla="*/ 46 h 91"/>
                <a:gd name="T8" fmla="*/ 52 w 65"/>
                <a:gd name="T9" fmla="*/ 59 h 91"/>
                <a:gd name="T10" fmla="*/ 45 w 65"/>
                <a:gd name="T11" fmla="*/ 65 h 91"/>
                <a:gd name="T12" fmla="*/ 38 w 65"/>
                <a:gd name="T13" fmla="*/ 46 h 91"/>
                <a:gd name="T14" fmla="*/ 32 w 65"/>
                <a:gd name="T15" fmla="*/ 78 h 91"/>
                <a:gd name="T16" fmla="*/ 19 w 65"/>
                <a:gd name="T17" fmla="*/ 46 h 91"/>
                <a:gd name="T18" fmla="*/ 33 w 65"/>
                <a:gd name="T19" fmla="*/ 13 h 91"/>
                <a:gd name="T20" fmla="*/ 39 w 65"/>
                <a:gd name="T21" fmla="*/ 20 h 91"/>
                <a:gd name="T22" fmla="*/ 39 w 65"/>
                <a:gd name="T23" fmla="*/ 20 h 91"/>
                <a:gd name="T24" fmla="*/ 28 w 65"/>
                <a:gd name="T25" fmla="*/ 46 h 91"/>
                <a:gd name="T26" fmla="*/ 39 w 65"/>
                <a:gd name="T27" fmla="*/ 72 h 91"/>
                <a:gd name="T28" fmla="*/ 32 w 65"/>
                <a:gd name="T29" fmla="*/ 78 h 91"/>
                <a:gd name="T30" fmla="*/ 6 w 65"/>
                <a:gd name="T31" fmla="*/ 20 h 91"/>
                <a:gd name="T32" fmla="*/ 20 w 65"/>
                <a:gd name="T33" fmla="*/ 0 h 91"/>
                <a:gd name="T34" fmla="*/ 20 w 65"/>
                <a:gd name="T35" fmla="*/ 0 h 91"/>
                <a:gd name="T36" fmla="*/ 27 w 65"/>
                <a:gd name="T37" fmla="*/ 6 h 91"/>
                <a:gd name="T38" fmla="*/ 10 w 65"/>
                <a:gd name="T39" fmla="*/ 45 h 91"/>
                <a:gd name="T40" fmla="*/ 26 w 65"/>
                <a:gd name="T41" fmla="*/ 85 h 91"/>
                <a:gd name="T42" fmla="*/ 19 w 65"/>
                <a:gd name="T43" fmla="*/ 91 h 91"/>
                <a:gd name="T44" fmla="*/ 5 w 65"/>
                <a:gd name="T45" fmla="*/ 70 h 91"/>
                <a:gd name="T46" fmla="*/ 1 w 65"/>
                <a:gd name="T47" fmla="*/ 45 h 91"/>
                <a:gd name="T48" fmla="*/ 6 w 65"/>
                <a:gd name="T49" fmla="*/ 20 h 91"/>
                <a:gd name="T50" fmla="*/ 61 w 65"/>
                <a:gd name="T51" fmla="*/ 51 h 91"/>
                <a:gd name="T52" fmla="*/ 65 w 65"/>
                <a:gd name="T53" fmla="*/ 46 h 91"/>
                <a:gd name="T54" fmla="*/ 61 w 65"/>
                <a:gd name="T55" fmla="*/ 41 h 91"/>
                <a:gd name="T56" fmla="*/ 56 w 65"/>
                <a:gd name="T57" fmla="*/ 46 h 91"/>
                <a:gd name="T58" fmla="*/ 61 w 65"/>
                <a:gd name="T59" fmla="*/ 5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5" h="91">
                  <a:moveTo>
                    <a:pt x="38" y="46"/>
                  </a:moveTo>
                  <a:cubicBezTo>
                    <a:pt x="38" y="38"/>
                    <a:pt x="41" y="31"/>
                    <a:pt x="46" y="26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49" y="36"/>
                    <a:pt x="47" y="41"/>
                    <a:pt x="47" y="46"/>
                  </a:cubicBezTo>
                  <a:cubicBezTo>
                    <a:pt x="47" y="51"/>
                    <a:pt x="49" y="56"/>
                    <a:pt x="52" y="59"/>
                  </a:cubicBezTo>
                  <a:cubicBezTo>
                    <a:pt x="45" y="65"/>
                    <a:pt x="45" y="65"/>
                    <a:pt x="45" y="65"/>
                  </a:cubicBezTo>
                  <a:cubicBezTo>
                    <a:pt x="40" y="60"/>
                    <a:pt x="37" y="53"/>
                    <a:pt x="38" y="46"/>
                  </a:cubicBezTo>
                  <a:close/>
                  <a:moveTo>
                    <a:pt x="32" y="78"/>
                  </a:moveTo>
                  <a:cubicBezTo>
                    <a:pt x="24" y="69"/>
                    <a:pt x="19" y="58"/>
                    <a:pt x="19" y="46"/>
                  </a:cubicBezTo>
                  <a:cubicBezTo>
                    <a:pt x="19" y="33"/>
                    <a:pt x="24" y="22"/>
                    <a:pt x="33" y="13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9" y="20"/>
                    <a:pt x="39" y="20"/>
                    <a:pt x="39" y="20"/>
                  </a:cubicBezTo>
                  <a:cubicBezTo>
                    <a:pt x="32" y="27"/>
                    <a:pt x="28" y="36"/>
                    <a:pt x="28" y="46"/>
                  </a:cubicBezTo>
                  <a:cubicBezTo>
                    <a:pt x="28" y="55"/>
                    <a:pt x="32" y="65"/>
                    <a:pt x="39" y="72"/>
                  </a:cubicBezTo>
                  <a:lnTo>
                    <a:pt x="32" y="78"/>
                  </a:lnTo>
                  <a:close/>
                  <a:moveTo>
                    <a:pt x="6" y="20"/>
                  </a:moveTo>
                  <a:cubicBezTo>
                    <a:pt x="9" y="13"/>
                    <a:pt x="14" y="6"/>
                    <a:pt x="2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27" y="6"/>
                    <a:pt x="27" y="6"/>
                    <a:pt x="27" y="6"/>
                  </a:cubicBezTo>
                  <a:cubicBezTo>
                    <a:pt x="16" y="17"/>
                    <a:pt x="10" y="31"/>
                    <a:pt x="10" y="45"/>
                  </a:cubicBezTo>
                  <a:cubicBezTo>
                    <a:pt x="10" y="60"/>
                    <a:pt x="15" y="74"/>
                    <a:pt x="26" y="85"/>
                  </a:cubicBezTo>
                  <a:cubicBezTo>
                    <a:pt x="19" y="91"/>
                    <a:pt x="19" y="91"/>
                    <a:pt x="19" y="91"/>
                  </a:cubicBezTo>
                  <a:cubicBezTo>
                    <a:pt x="13" y="85"/>
                    <a:pt x="9" y="78"/>
                    <a:pt x="5" y="70"/>
                  </a:cubicBezTo>
                  <a:cubicBezTo>
                    <a:pt x="2" y="62"/>
                    <a:pt x="0" y="54"/>
                    <a:pt x="1" y="45"/>
                  </a:cubicBezTo>
                  <a:cubicBezTo>
                    <a:pt x="1" y="37"/>
                    <a:pt x="3" y="28"/>
                    <a:pt x="6" y="20"/>
                  </a:cubicBezTo>
                  <a:close/>
                  <a:moveTo>
                    <a:pt x="61" y="51"/>
                  </a:moveTo>
                  <a:cubicBezTo>
                    <a:pt x="63" y="51"/>
                    <a:pt x="65" y="49"/>
                    <a:pt x="65" y="46"/>
                  </a:cubicBezTo>
                  <a:cubicBezTo>
                    <a:pt x="65" y="44"/>
                    <a:pt x="63" y="41"/>
                    <a:pt x="61" y="41"/>
                  </a:cubicBezTo>
                  <a:cubicBezTo>
                    <a:pt x="58" y="41"/>
                    <a:pt x="56" y="43"/>
                    <a:pt x="56" y="46"/>
                  </a:cubicBezTo>
                  <a:cubicBezTo>
                    <a:pt x="56" y="49"/>
                    <a:pt x="58" y="51"/>
                    <a:pt x="61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3" name="任意多边形: 形状 52">
              <a:extLst>
                <a:ext uri="{FF2B5EF4-FFF2-40B4-BE49-F238E27FC236}">
                  <a16:creationId xmlns:a16="http://schemas.microsoft.com/office/drawing/2014/main" id="{70FF256E-4460-436F-8CFF-5DC0460DBE3B}"/>
                </a:ext>
              </a:extLst>
            </p:cNvPr>
            <p:cNvSpPr/>
            <p:nvPr/>
          </p:nvSpPr>
          <p:spPr bwMode="auto">
            <a:xfrm>
              <a:off x="11413530" y="2853418"/>
              <a:ext cx="201605" cy="201604"/>
            </a:xfrm>
            <a:custGeom>
              <a:avLst/>
              <a:gdLst>
                <a:gd name="T0" fmla="*/ 63 w 103"/>
                <a:gd name="T1" fmla="*/ 27 h 103"/>
                <a:gd name="T2" fmla="*/ 65 w 103"/>
                <a:gd name="T3" fmla="*/ 2 h 103"/>
                <a:gd name="T4" fmla="*/ 19 w 103"/>
                <a:gd name="T5" fmla="*/ 0 h 103"/>
                <a:gd name="T6" fmla="*/ 1 w 103"/>
                <a:gd name="T7" fmla="*/ 20 h 103"/>
                <a:gd name="T8" fmla="*/ 0 w 103"/>
                <a:gd name="T9" fmla="*/ 77 h 103"/>
                <a:gd name="T10" fmla="*/ 39 w 103"/>
                <a:gd name="T11" fmla="*/ 77 h 103"/>
                <a:gd name="T12" fmla="*/ 37 w 103"/>
                <a:gd name="T13" fmla="*/ 102 h 103"/>
                <a:gd name="T14" fmla="*/ 101 w 103"/>
                <a:gd name="T15" fmla="*/ 103 h 103"/>
                <a:gd name="T16" fmla="*/ 103 w 103"/>
                <a:gd name="T17" fmla="*/ 27 h 103"/>
                <a:gd name="T18" fmla="*/ 63 w 103"/>
                <a:gd name="T19" fmla="*/ 27 h 103"/>
                <a:gd name="T20" fmla="*/ 19 w 103"/>
                <a:gd name="T21" fmla="*/ 10 h 103"/>
                <a:gd name="T22" fmla="*/ 19 w 103"/>
                <a:gd name="T23" fmla="*/ 20 h 103"/>
                <a:gd name="T24" fmla="*/ 9 w 103"/>
                <a:gd name="T25" fmla="*/ 20 h 103"/>
                <a:gd name="T26" fmla="*/ 19 w 103"/>
                <a:gd name="T27" fmla="*/ 10 h 103"/>
                <a:gd name="T28" fmla="*/ 6 w 103"/>
                <a:gd name="T29" fmla="*/ 71 h 103"/>
                <a:gd name="T30" fmla="*/ 6 w 103"/>
                <a:gd name="T31" fmla="*/ 27 h 103"/>
                <a:gd name="T32" fmla="*/ 26 w 103"/>
                <a:gd name="T33" fmla="*/ 27 h 103"/>
                <a:gd name="T34" fmla="*/ 26 w 103"/>
                <a:gd name="T35" fmla="*/ 7 h 103"/>
                <a:gd name="T36" fmla="*/ 58 w 103"/>
                <a:gd name="T37" fmla="*/ 7 h 103"/>
                <a:gd name="T38" fmla="*/ 58 w 103"/>
                <a:gd name="T39" fmla="*/ 27 h 103"/>
                <a:gd name="T40" fmla="*/ 39 w 103"/>
                <a:gd name="T41" fmla="*/ 46 h 103"/>
                <a:gd name="T42" fmla="*/ 39 w 103"/>
                <a:gd name="T43" fmla="*/ 71 h 103"/>
                <a:gd name="T44" fmla="*/ 6 w 103"/>
                <a:gd name="T45" fmla="*/ 71 h 103"/>
                <a:gd name="T46" fmla="*/ 57 w 103"/>
                <a:gd name="T47" fmla="*/ 36 h 103"/>
                <a:gd name="T48" fmla="*/ 57 w 103"/>
                <a:gd name="T49" fmla="*/ 46 h 103"/>
                <a:gd name="T50" fmla="*/ 47 w 103"/>
                <a:gd name="T51" fmla="*/ 46 h 103"/>
                <a:gd name="T52" fmla="*/ 57 w 103"/>
                <a:gd name="T53" fmla="*/ 36 h 103"/>
                <a:gd name="T54" fmla="*/ 94 w 103"/>
                <a:gd name="T55" fmla="*/ 97 h 103"/>
                <a:gd name="T56" fmla="*/ 44 w 103"/>
                <a:gd name="T57" fmla="*/ 97 h 103"/>
                <a:gd name="T58" fmla="*/ 45 w 103"/>
                <a:gd name="T59" fmla="*/ 51 h 103"/>
                <a:gd name="T60" fmla="*/ 63 w 103"/>
                <a:gd name="T61" fmla="*/ 53 h 103"/>
                <a:gd name="T62" fmla="*/ 63 w 103"/>
                <a:gd name="T63" fmla="*/ 33 h 103"/>
                <a:gd name="T64" fmla="*/ 96 w 103"/>
                <a:gd name="T65" fmla="*/ 33 h 103"/>
                <a:gd name="T66" fmla="*/ 94 w 103"/>
                <a:gd name="T67" fmla="*/ 97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3" h="103">
                  <a:moveTo>
                    <a:pt x="63" y="27"/>
                  </a:moveTo>
                  <a:lnTo>
                    <a:pt x="65" y="2"/>
                  </a:lnTo>
                  <a:lnTo>
                    <a:pt x="19" y="0"/>
                  </a:lnTo>
                  <a:lnTo>
                    <a:pt x="1" y="20"/>
                  </a:lnTo>
                  <a:lnTo>
                    <a:pt x="0" y="77"/>
                  </a:lnTo>
                  <a:lnTo>
                    <a:pt x="39" y="77"/>
                  </a:lnTo>
                  <a:lnTo>
                    <a:pt x="37" y="102"/>
                  </a:lnTo>
                  <a:lnTo>
                    <a:pt x="101" y="103"/>
                  </a:lnTo>
                  <a:lnTo>
                    <a:pt x="103" y="27"/>
                  </a:lnTo>
                  <a:lnTo>
                    <a:pt x="63" y="27"/>
                  </a:lnTo>
                  <a:close/>
                  <a:moveTo>
                    <a:pt x="19" y="10"/>
                  </a:moveTo>
                  <a:lnTo>
                    <a:pt x="19" y="20"/>
                  </a:lnTo>
                  <a:lnTo>
                    <a:pt x="9" y="20"/>
                  </a:lnTo>
                  <a:lnTo>
                    <a:pt x="19" y="10"/>
                  </a:lnTo>
                  <a:close/>
                  <a:moveTo>
                    <a:pt x="6" y="71"/>
                  </a:moveTo>
                  <a:lnTo>
                    <a:pt x="6" y="27"/>
                  </a:lnTo>
                  <a:lnTo>
                    <a:pt x="26" y="27"/>
                  </a:lnTo>
                  <a:lnTo>
                    <a:pt x="26" y="7"/>
                  </a:lnTo>
                  <a:lnTo>
                    <a:pt x="58" y="7"/>
                  </a:lnTo>
                  <a:lnTo>
                    <a:pt x="58" y="27"/>
                  </a:lnTo>
                  <a:lnTo>
                    <a:pt x="39" y="46"/>
                  </a:lnTo>
                  <a:lnTo>
                    <a:pt x="39" y="71"/>
                  </a:lnTo>
                  <a:lnTo>
                    <a:pt x="6" y="71"/>
                  </a:lnTo>
                  <a:close/>
                  <a:moveTo>
                    <a:pt x="57" y="36"/>
                  </a:moveTo>
                  <a:lnTo>
                    <a:pt x="57" y="46"/>
                  </a:lnTo>
                  <a:lnTo>
                    <a:pt x="47" y="46"/>
                  </a:lnTo>
                  <a:lnTo>
                    <a:pt x="57" y="36"/>
                  </a:lnTo>
                  <a:close/>
                  <a:moveTo>
                    <a:pt x="94" y="97"/>
                  </a:moveTo>
                  <a:lnTo>
                    <a:pt x="44" y="97"/>
                  </a:lnTo>
                  <a:lnTo>
                    <a:pt x="45" y="51"/>
                  </a:lnTo>
                  <a:lnTo>
                    <a:pt x="63" y="53"/>
                  </a:lnTo>
                  <a:lnTo>
                    <a:pt x="63" y="33"/>
                  </a:lnTo>
                  <a:lnTo>
                    <a:pt x="96" y="33"/>
                  </a:lnTo>
                  <a:lnTo>
                    <a:pt x="94" y="9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4" name="任意多边形: 形状 53">
              <a:extLst>
                <a:ext uri="{FF2B5EF4-FFF2-40B4-BE49-F238E27FC236}">
                  <a16:creationId xmlns:a16="http://schemas.microsoft.com/office/drawing/2014/main" id="{A380500F-608A-440D-8727-D2DBFBBD2C35}"/>
                </a:ext>
              </a:extLst>
            </p:cNvPr>
            <p:cNvSpPr/>
            <p:nvPr/>
          </p:nvSpPr>
          <p:spPr bwMode="auto">
            <a:xfrm>
              <a:off x="11153206" y="4299886"/>
              <a:ext cx="326874" cy="277942"/>
            </a:xfrm>
            <a:custGeom>
              <a:avLst/>
              <a:gdLst>
                <a:gd name="T0" fmla="*/ 76 w 102"/>
                <a:gd name="T1" fmla="*/ 1 h 87"/>
                <a:gd name="T2" fmla="*/ 7 w 102"/>
                <a:gd name="T3" fmla="*/ 22 h 87"/>
                <a:gd name="T4" fmla="*/ 1 w 102"/>
                <a:gd name="T5" fmla="*/ 32 h 87"/>
                <a:gd name="T6" fmla="*/ 15 w 102"/>
                <a:gd name="T7" fmla="*/ 80 h 87"/>
                <a:gd name="T8" fmla="*/ 26 w 102"/>
                <a:gd name="T9" fmla="*/ 86 h 87"/>
                <a:gd name="T10" fmla="*/ 95 w 102"/>
                <a:gd name="T11" fmla="*/ 65 h 87"/>
                <a:gd name="T12" fmla="*/ 101 w 102"/>
                <a:gd name="T13" fmla="*/ 55 h 87"/>
                <a:gd name="T14" fmla="*/ 87 w 102"/>
                <a:gd name="T15" fmla="*/ 7 h 87"/>
                <a:gd name="T16" fmla="*/ 76 w 102"/>
                <a:gd name="T17" fmla="*/ 1 h 87"/>
                <a:gd name="T18" fmla="*/ 8 w 102"/>
                <a:gd name="T19" fmla="*/ 27 h 87"/>
                <a:gd name="T20" fmla="*/ 78 w 102"/>
                <a:gd name="T21" fmla="*/ 7 h 87"/>
                <a:gd name="T22" fmla="*/ 81 w 102"/>
                <a:gd name="T23" fmla="*/ 8 h 87"/>
                <a:gd name="T24" fmla="*/ 84 w 102"/>
                <a:gd name="T25" fmla="*/ 17 h 87"/>
                <a:gd name="T26" fmla="*/ 9 w 102"/>
                <a:gd name="T27" fmla="*/ 38 h 87"/>
                <a:gd name="T28" fmla="*/ 7 w 102"/>
                <a:gd name="T29" fmla="*/ 30 h 87"/>
                <a:gd name="T30" fmla="*/ 8 w 102"/>
                <a:gd name="T31" fmla="*/ 27 h 87"/>
                <a:gd name="T32" fmla="*/ 94 w 102"/>
                <a:gd name="T33" fmla="*/ 60 h 87"/>
                <a:gd name="T34" fmla="*/ 24 w 102"/>
                <a:gd name="T35" fmla="*/ 80 h 87"/>
                <a:gd name="T36" fmla="*/ 21 w 102"/>
                <a:gd name="T37" fmla="*/ 78 h 87"/>
                <a:gd name="T38" fmla="*/ 14 w 102"/>
                <a:gd name="T39" fmla="*/ 54 h 87"/>
                <a:gd name="T40" fmla="*/ 88 w 102"/>
                <a:gd name="T41" fmla="*/ 33 h 87"/>
                <a:gd name="T42" fmla="*/ 95 w 102"/>
                <a:gd name="T43" fmla="*/ 57 h 87"/>
                <a:gd name="T44" fmla="*/ 94 w 102"/>
                <a:gd name="T45" fmla="*/ 60 h 87"/>
                <a:gd name="T46" fmla="*/ 22 w 102"/>
                <a:gd name="T47" fmla="*/ 64 h 87"/>
                <a:gd name="T48" fmla="*/ 27 w 102"/>
                <a:gd name="T49" fmla="*/ 62 h 87"/>
                <a:gd name="T50" fmla="*/ 31 w 102"/>
                <a:gd name="T51" fmla="*/ 73 h 87"/>
                <a:gd name="T52" fmla="*/ 25 w 102"/>
                <a:gd name="T53" fmla="*/ 74 h 87"/>
                <a:gd name="T54" fmla="*/ 22 w 102"/>
                <a:gd name="T55" fmla="*/ 64 h 87"/>
                <a:gd name="T56" fmla="*/ 33 w 102"/>
                <a:gd name="T57" fmla="*/ 60 h 87"/>
                <a:gd name="T58" fmla="*/ 38 w 102"/>
                <a:gd name="T59" fmla="*/ 59 h 87"/>
                <a:gd name="T60" fmla="*/ 41 w 102"/>
                <a:gd name="T61" fmla="*/ 70 h 87"/>
                <a:gd name="T62" fmla="*/ 36 w 102"/>
                <a:gd name="T63" fmla="*/ 71 h 87"/>
                <a:gd name="T64" fmla="*/ 33 w 102"/>
                <a:gd name="T65" fmla="*/ 60 h 87"/>
                <a:gd name="T66" fmla="*/ 43 w 102"/>
                <a:gd name="T67" fmla="*/ 57 h 87"/>
                <a:gd name="T68" fmla="*/ 49 w 102"/>
                <a:gd name="T69" fmla="*/ 56 h 87"/>
                <a:gd name="T70" fmla="*/ 52 w 102"/>
                <a:gd name="T71" fmla="*/ 66 h 87"/>
                <a:gd name="T72" fmla="*/ 47 w 102"/>
                <a:gd name="T73" fmla="*/ 68 h 87"/>
                <a:gd name="T74" fmla="*/ 43 w 102"/>
                <a:gd name="T75" fmla="*/ 5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2" h="87">
                  <a:moveTo>
                    <a:pt x="76" y="1"/>
                  </a:moveTo>
                  <a:cubicBezTo>
                    <a:pt x="7" y="22"/>
                    <a:pt x="7" y="22"/>
                    <a:pt x="7" y="22"/>
                  </a:cubicBezTo>
                  <a:cubicBezTo>
                    <a:pt x="2" y="23"/>
                    <a:pt x="0" y="28"/>
                    <a:pt x="1" y="32"/>
                  </a:cubicBezTo>
                  <a:cubicBezTo>
                    <a:pt x="15" y="80"/>
                    <a:pt x="15" y="80"/>
                    <a:pt x="15" y="80"/>
                  </a:cubicBezTo>
                  <a:cubicBezTo>
                    <a:pt x="17" y="84"/>
                    <a:pt x="21" y="87"/>
                    <a:pt x="26" y="86"/>
                  </a:cubicBezTo>
                  <a:cubicBezTo>
                    <a:pt x="95" y="65"/>
                    <a:pt x="95" y="65"/>
                    <a:pt x="95" y="65"/>
                  </a:cubicBezTo>
                  <a:cubicBezTo>
                    <a:pt x="100" y="64"/>
                    <a:pt x="102" y="59"/>
                    <a:pt x="101" y="55"/>
                  </a:cubicBezTo>
                  <a:cubicBezTo>
                    <a:pt x="87" y="7"/>
                    <a:pt x="87" y="7"/>
                    <a:pt x="87" y="7"/>
                  </a:cubicBezTo>
                  <a:cubicBezTo>
                    <a:pt x="85" y="3"/>
                    <a:pt x="81" y="0"/>
                    <a:pt x="76" y="1"/>
                  </a:cubicBezTo>
                  <a:close/>
                  <a:moveTo>
                    <a:pt x="8" y="27"/>
                  </a:moveTo>
                  <a:cubicBezTo>
                    <a:pt x="78" y="7"/>
                    <a:pt x="78" y="7"/>
                    <a:pt x="78" y="7"/>
                  </a:cubicBezTo>
                  <a:cubicBezTo>
                    <a:pt x="79" y="6"/>
                    <a:pt x="81" y="7"/>
                    <a:pt x="81" y="8"/>
                  </a:cubicBezTo>
                  <a:cubicBezTo>
                    <a:pt x="84" y="17"/>
                    <a:pt x="84" y="17"/>
                    <a:pt x="84" y="17"/>
                  </a:cubicBezTo>
                  <a:cubicBezTo>
                    <a:pt x="9" y="38"/>
                    <a:pt x="9" y="38"/>
                    <a:pt x="9" y="38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29"/>
                    <a:pt x="7" y="27"/>
                    <a:pt x="8" y="27"/>
                  </a:cubicBezTo>
                  <a:close/>
                  <a:moveTo>
                    <a:pt x="94" y="60"/>
                  </a:moveTo>
                  <a:cubicBezTo>
                    <a:pt x="24" y="80"/>
                    <a:pt x="24" y="80"/>
                    <a:pt x="24" y="80"/>
                  </a:cubicBezTo>
                  <a:cubicBezTo>
                    <a:pt x="23" y="81"/>
                    <a:pt x="21" y="80"/>
                    <a:pt x="21" y="78"/>
                  </a:cubicBezTo>
                  <a:cubicBezTo>
                    <a:pt x="14" y="54"/>
                    <a:pt x="14" y="54"/>
                    <a:pt x="14" y="54"/>
                  </a:cubicBezTo>
                  <a:cubicBezTo>
                    <a:pt x="88" y="33"/>
                    <a:pt x="88" y="33"/>
                    <a:pt x="88" y="33"/>
                  </a:cubicBezTo>
                  <a:cubicBezTo>
                    <a:pt x="95" y="57"/>
                    <a:pt x="95" y="57"/>
                    <a:pt x="95" y="57"/>
                  </a:cubicBezTo>
                  <a:cubicBezTo>
                    <a:pt x="96" y="58"/>
                    <a:pt x="95" y="60"/>
                    <a:pt x="94" y="60"/>
                  </a:cubicBezTo>
                  <a:close/>
                  <a:moveTo>
                    <a:pt x="22" y="64"/>
                  </a:moveTo>
                  <a:cubicBezTo>
                    <a:pt x="27" y="62"/>
                    <a:pt x="27" y="62"/>
                    <a:pt x="27" y="6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25" y="74"/>
                    <a:pt x="25" y="74"/>
                    <a:pt x="25" y="74"/>
                  </a:cubicBezTo>
                  <a:lnTo>
                    <a:pt x="22" y="64"/>
                  </a:lnTo>
                  <a:close/>
                  <a:moveTo>
                    <a:pt x="33" y="60"/>
                  </a:moveTo>
                  <a:cubicBezTo>
                    <a:pt x="38" y="59"/>
                    <a:pt x="38" y="59"/>
                    <a:pt x="38" y="59"/>
                  </a:cubicBezTo>
                  <a:cubicBezTo>
                    <a:pt x="41" y="70"/>
                    <a:pt x="41" y="70"/>
                    <a:pt x="41" y="70"/>
                  </a:cubicBezTo>
                  <a:cubicBezTo>
                    <a:pt x="36" y="71"/>
                    <a:pt x="36" y="71"/>
                    <a:pt x="36" y="71"/>
                  </a:cubicBezTo>
                  <a:lnTo>
                    <a:pt x="33" y="60"/>
                  </a:lnTo>
                  <a:close/>
                  <a:moveTo>
                    <a:pt x="43" y="57"/>
                  </a:moveTo>
                  <a:cubicBezTo>
                    <a:pt x="49" y="56"/>
                    <a:pt x="49" y="56"/>
                    <a:pt x="49" y="56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47" y="68"/>
                    <a:pt x="47" y="68"/>
                    <a:pt x="47" y="68"/>
                  </a:cubicBezTo>
                  <a:lnTo>
                    <a:pt x="43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554B97A-640C-4ED3-8776-1771C2935FC1}"/>
                </a:ext>
              </a:extLst>
            </p:cNvPr>
            <p:cNvSpPr/>
            <p:nvPr/>
          </p:nvSpPr>
          <p:spPr bwMode="auto">
            <a:xfrm>
              <a:off x="11274561" y="2276003"/>
              <a:ext cx="295557" cy="305343"/>
            </a:xfrm>
            <a:custGeom>
              <a:avLst/>
              <a:gdLst>
                <a:gd name="T0" fmla="*/ 65 w 92"/>
                <a:gd name="T1" fmla="*/ 96 h 96"/>
                <a:gd name="T2" fmla="*/ 36 w 92"/>
                <a:gd name="T3" fmla="*/ 49 h 96"/>
                <a:gd name="T4" fmla="*/ 36 w 92"/>
                <a:gd name="T5" fmla="*/ 72 h 96"/>
                <a:gd name="T6" fmla="*/ 0 w 92"/>
                <a:gd name="T7" fmla="*/ 36 h 96"/>
                <a:gd name="T8" fmla="*/ 36 w 92"/>
                <a:gd name="T9" fmla="*/ 0 h 96"/>
                <a:gd name="T10" fmla="*/ 36 w 92"/>
                <a:gd name="T11" fmla="*/ 24 h 96"/>
                <a:gd name="T12" fmla="*/ 65 w 92"/>
                <a:gd name="T13" fmla="*/ 96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2" h="96">
                  <a:moveTo>
                    <a:pt x="65" y="96"/>
                  </a:moveTo>
                  <a:cubicBezTo>
                    <a:pt x="76" y="77"/>
                    <a:pt x="78" y="48"/>
                    <a:pt x="36" y="49"/>
                  </a:cubicBezTo>
                  <a:cubicBezTo>
                    <a:pt x="36" y="72"/>
                    <a:pt x="36" y="72"/>
                    <a:pt x="36" y="72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36" y="0"/>
                    <a:pt x="36" y="0"/>
                    <a:pt x="36" y="0"/>
                  </a:cubicBezTo>
                  <a:cubicBezTo>
                    <a:pt x="36" y="24"/>
                    <a:pt x="36" y="24"/>
                    <a:pt x="36" y="24"/>
                  </a:cubicBezTo>
                  <a:cubicBezTo>
                    <a:pt x="86" y="22"/>
                    <a:pt x="92" y="68"/>
                    <a:pt x="65" y="9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任意多边形: 形状 55">
              <a:extLst>
                <a:ext uri="{FF2B5EF4-FFF2-40B4-BE49-F238E27FC236}">
                  <a16:creationId xmlns:a16="http://schemas.microsoft.com/office/drawing/2014/main" id="{792EABCB-8F7D-42D2-A987-DE9AC7ABD0C4}"/>
                </a:ext>
              </a:extLst>
            </p:cNvPr>
            <p:cNvSpPr/>
            <p:nvPr/>
          </p:nvSpPr>
          <p:spPr bwMode="auto">
            <a:xfrm>
              <a:off x="11188439" y="2508928"/>
              <a:ext cx="275983" cy="195734"/>
            </a:xfrm>
            <a:custGeom>
              <a:avLst/>
              <a:gdLst>
                <a:gd name="T0" fmla="*/ 70 w 86"/>
                <a:gd name="T1" fmla="*/ 58 h 61"/>
                <a:gd name="T2" fmla="*/ 75 w 86"/>
                <a:gd name="T3" fmla="*/ 49 h 61"/>
                <a:gd name="T4" fmla="*/ 80 w 86"/>
                <a:gd name="T5" fmla="*/ 41 h 61"/>
                <a:gd name="T6" fmla="*/ 85 w 86"/>
                <a:gd name="T7" fmla="*/ 32 h 61"/>
                <a:gd name="T8" fmla="*/ 83 w 86"/>
                <a:gd name="T9" fmla="*/ 25 h 61"/>
                <a:gd name="T10" fmla="*/ 65 w 86"/>
                <a:gd name="T11" fmla="*/ 9 h 61"/>
                <a:gd name="T12" fmla="*/ 58 w 86"/>
                <a:gd name="T13" fmla="*/ 9 h 61"/>
                <a:gd name="T14" fmla="*/ 50 w 86"/>
                <a:gd name="T15" fmla="*/ 17 h 61"/>
                <a:gd name="T16" fmla="*/ 49 w 86"/>
                <a:gd name="T17" fmla="*/ 18 h 61"/>
                <a:gd name="T18" fmla="*/ 17 w 86"/>
                <a:gd name="T19" fmla="*/ 0 h 61"/>
                <a:gd name="T20" fmla="*/ 0 w 86"/>
                <a:gd name="T21" fmla="*/ 3 h 61"/>
                <a:gd name="T22" fmla="*/ 4 w 86"/>
                <a:gd name="T23" fmla="*/ 16 h 61"/>
                <a:gd name="T24" fmla="*/ 9 w 86"/>
                <a:gd name="T25" fmla="*/ 15 h 61"/>
                <a:gd name="T26" fmla="*/ 11 w 86"/>
                <a:gd name="T27" fmla="*/ 24 h 61"/>
                <a:gd name="T28" fmla="*/ 20 w 86"/>
                <a:gd name="T29" fmla="*/ 21 h 61"/>
                <a:gd name="T30" fmla="*/ 23 w 86"/>
                <a:gd name="T31" fmla="*/ 30 h 61"/>
                <a:gd name="T32" fmla="*/ 32 w 86"/>
                <a:gd name="T33" fmla="*/ 27 h 61"/>
                <a:gd name="T34" fmla="*/ 35 w 86"/>
                <a:gd name="T35" fmla="*/ 36 h 61"/>
                <a:gd name="T36" fmla="*/ 39 w 86"/>
                <a:gd name="T37" fmla="*/ 35 h 61"/>
                <a:gd name="T38" fmla="*/ 39 w 86"/>
                <a:gd name="T39" fmla="*/ 36 h 61"/>
                <a:gd name="T40" fmla="*/ 37 w 86"/>
                <a:gd name="T41" fmla="*/ 47 h 61"/>
                <a:gd name="T42" fmla="*/ 41 w 86"/>
                <a:gd name="T43" fmla="*/ 53 h 61"/>
                <a:gd name="T44" fmla="*/ 64 w 86"/>
                <a:gd name="T45" fmla="*/ 61 h 61"/>
                <a:gd name="T46" fmla="*/ 70 w 86"/>
                <a:gd name="T47" fmla="*/ 58 h 61"/>
                <a:gd name="T48" fmla="*/ 15 w 86"/>
                <a:gd name="T49" fmla="*/ 10 h 61"/>
                <a:gd name="T50" fmla="*/ 18 w 86"/>
                <a:gd name="T51" fmla="*/ 6 h 61"/>
                <a:gd name="T52" fmla="*/ 46 w 86"/>
                <a:gd name="T53" fmla="*/ 21 h 61"/>
                <a:gd name="T54" fmla="*/ 43 w 86"/>
                <a:gd name="T55" fmla="*/ 25 h 61"/>
                <a:gd name="T56" fmla="*/ 15 w 86"/>
                <a:gd name="T57" fmla="*/ 10 h 61"/>
                <a:gd name="T58" fmla="*/ 61 w 86"/>
                <a:gd name="T59" fmla="*/ 54 h 61"/>
                <a:gd name="T60" fmla="*/ 57 w 86"/>
                <a:gd name="T61" fmla="*/ 52 h 61"/>
                <a:gd name="T62" fmla="*/ 56 w 86"/>
                <a:gd name="T63" fmla="*/ 49 h 61"/>
                <a:gd name="T64" fmla="*/ 69 w 86"/>
                <a:gd name="T65" fmla="*/ 24 h 61"/>
                <a:gd name="T66" fmla="*/ 72 w 86"/>
                <a:gd name="T67" fmla="*/ 23 h 61"/>
                <a:gd name="T68" fmla="*/ 77 w 86"/>
                <a:gd name="T69" fmla="*/ 26 h 61"/>
                <a:gd name="T70" fmla="*/ 77 w 86"/>
                <a:gd name="T71" fmla="*/ 29 h 61"/>
                <a:gd name="T72" fmla="*/ 64 w 86"/>
                <a:gd name="T73" fmla="*/ 53 h 61"/>
                <a:gd name="T74" fmla="*/ 61 w 86"/>
                <a:gd name="T75" fmla="*/ 54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6" h="61">
                  <a:moveTo>
                    <a:pt x="70" y="58"/>
                  </a:moveTo>
                  <a:cubicBezTo>
                    <a:pt x="75" y="49"/>
                    <a:pt x="75" y="49"/>
                    <a:pt x="75" y="49"/>
                  </a:cubicBezTo>
                  <a:cubicBezTo>
                    <a:pt x="77" y="47"/>
                    <a:pt x="79" y="43"/>
                    <a:pt x="80" y="41"/>
                  </a:cubicBezTo>
                  <a:cubicBezTo>
                    <a:pt x="85" y="32"/>
                    <a:pt x="85" y="32"/>
                    <a:pt x="85" y="32"/>
                  </a:cubicBezTo>
                  <a:cubicBezTo>
                    <a:pt x="86" y="29"/>
                    <a:pt x="85" y="26"/>
                    <a:pt x="83" y="25"/>
                  </a:cubicBezTo>
                  <a:cubicBezTo>
                    <a:pt x="65" y="9"/>
                    <a:pt x="65" y="9"/>
                    <a:pt x="65" y="9"/>
                  </a:cubicBezTo>
                  <a:cubicBezTo>
                    <a:pt x="63" y="7"/>
                    <a:pt x="60" y="8"/>
                    <a:pt x="58" y="9"/>
                  </a:cubicBezTo>
                  <a:cubicBezTo>
                    <a:pt x="50" y="17"/>
                    <a:pt x="50" y="17"/>
                    <a:pt x="50" y="17"/>
                  </a:cubicBezTo>
                  <a:cubicBezTo>
                    <a:pt x="49" y="17"/>
                    <a:pt x="49" y="18"/>
                    <a:pt x="49" y="1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9" y="15"/>
                    <a:pt x="9" y="15"/>
                    <a:pt x="9" y="15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20" y="21"/>
                    <a:pt x="20" y="21"/>
                    <a:pt x="20" y="21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9" y="35"/>
                    <a:pt x="39" y="35"/>
                    <a:pt x="39" y="35"/>
                  </a:cubicBezTo>
                  <a:cubicBezTo>
                    <a:pt x="39" y="35"/>
                    <a:pt x="39" y="36"/>
                    <a:pt x="39" y="36"/>
                  </a:cubicBezTo>
                  <a:cubicBezTo>
                    <a:pt x="37" y="47"/>
                    <a:pt x="37" y="47"/>
                    <a:pt x="37" y="47"/>
                  </a:cubicBezTo>
                  <a:cubicBezTo>
                    <a:pt x="37" y="50"/>
                    <a:pt x="38" y="53"/>
                    <a:pt x="41" y="53"/>
                  </a:cubicBezTo>
                  <a:cubicBezTo>
                    <a:pt x="64" y="61"/>
                    <a:pt x="64" y="61"/>
                    <a:pt x="64" y="61"/>
                  </a:cubicBezTo>
                  <a:cubicBezTo>
                    <a:pt x="66" y="61"/>
                    <a:pt x="69" y="60"/>
                    <a:pt x="70" y="58"/>
                  </a:cubicBezTo>
                  <a:close/>
                  <a:moveTo>
                    <a:pt x="15" y="10"/>
                  </a:moveTo>
                  <a:cubicBezTo>
                    <a:pt x="18" y="6"/>
                    <a:pt x="18" y="6"/>
                    <a:pt x="18" y="6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43" y="25"/>
                    <a:pt x="43" y="25"/>
                    <a:pt x="43" y="25"/>
                  </a:cubicBezTo>
                  <a:lnTo>
                    <a:pt x="15" y="10"/>
                  </a:lnTo>
                  <a:close/>
                  <a:moveTo>
                    <a:pt x="61" y="54"/>
                  </a:moveTo>
                  <a:cubicBezTo>
                    <a:pt x="57" y="52"/>
                    <a:pt x="57" y="52"/>
                    <a:pt x="57" y="52"/>
                  </a:cubicBezTo>
                  <a:cubicBezTo>
                    <a:pt x="56" y="51"/>
                    <a:pt x="55" y="50"/>
                    <a:pt x="56" y="49"/>
                  </a:cubicBezTo>
                  <a:cubicBezTo>
                    <a:pt x="69" y="24"/>
                    <a:pt x="69" y="24"/>
                    <a:pt x="69" y="24"/>
                  </a:cubicBezTo>
                  <a:cubicBezTo>
                    <a:pt x="70" y="23"/>
                    <a:pt x="71" y="23"/>
                    <a:pt x="72" y="23"/>
                  </a:cubicBezTo>
                  <a:cubicBezTo>
                    <a:pt x="77" y="26"/>
                    <a:pt x="77" y="26"/>
                    <a:pt x="77" y="26"/>
                  </a:cubicBezTo>
                  <a:cubicBezTo>
                    <a:pt x="78" y="26"/>
                    <a:pt x="78" y="28"/>
                    <a:pt x="77" y="29"/>
                  </a:cubicBezTo>
                  <a:cubicBezTo>
                    <a:pt x="64" y="53"/>
                    <a:pt x="64" y="53"/>
                    <a:pt x="64" y="53"/>
                  </a:cubicBezTo>
                  <a:cubicBezTo>
                    <a:pt x="64" y="54"/>
                    <a:pt x="62" y="55"/>
                    <a:pt x="61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66CF58FF-0DDE-4B7E-88EF-80F3ED625960}"/>
                </a:ext>
              </a:extLst>
            </p:cNvPr>
            <p:cNvSpPr/>
            <p:nvPr/>
          </p:nvSpPr>
          <p:spPr bwMode="auto">
            <a:xfrm>
              <a:off x="10996620" y="4129599"/>
              <a:ext cx="221179" cy="191818"/>
            </a:xfrm>
            <a:custGeom>
              <a:avLst/>
              <a:gdLst>
                <a:gd name="T0" fmla="*/ 56 w 69"/>
                <a:gd name="T1" fmla="*/ 0 h 60"/>
                <a:gd name="T2" fmla="*/ 13 w 69"/>
                <a:gd name="T3" fmla="*/ 0 h 60"/>
                <a:gd name="T4" fmla="*/ 0 w 69"/>
                <a:gd name="T5" fmla="*/ 13 h 60"/>
                <a:gd name="T6" fmla="*/ 0 w 69"/>
                <a:gd name="T7" fmla="*/ 58 h 60"/>
                <a:gd name="T8" fmla="*/ 2 w 69"/>
                <a:gd name="T9" fmla="*/ 60 h 60"/>
                <a:gd name="T10" fmla="*/ 66 w 69"/>
                <a:gd name="T11" fmla="*/ 60 h 60"/>
                <a:gd name="T12" fmla="*/ 69 w 69"/>
                <a:gd name="T13" fmla="*/ 58 h 60"/>
                <a:gd name="T14" fmla="*/ 69 w 69"/>
                <a:gd name="T15" fmla="*/ 13 h 60"/>
                <a:gd name="T16" fmla="*/ 56 w 69"/>
                <a:gd name="T17" fmla="*/ 0 h 60"/>
                <a:gd name="T18" fmla="*/ 34 w 69"/>
                <a:gd name="T19" fmla="*/ 51 h 60"/>
                <a:gd name="T20" fmla="*/ 13 w 69"/>
                <a:gd name="T21" fmla="*/ 34 h 60"/>
                <a:gd name="T22" fmla="*/ 26 w 69"/>
                <a:gd name="T23" fmla="*/ 34 h 60"/>
                <a:gd name="T24" fmla="*/ 26 w 69"/>
                <a:gd name="T25" fmla="*/ 21 h 60"/>
                <a:gd name="T26" fmla="*/ 43 w 69"/>
                <a:gd name="T27" fmla="*/ 21 h 60"/>
                <a:gd name="T28" fmla="*/ 43 w 69"/>
                <a:gd name="T29" fmla="*/ 34 h 60"/>
                <a:gd name="T30" fmla="*/ 56 w 69"/>
                <a:gd name="T31" fmla="*/ 34 h 60"/>
                <a:gd name="T32" fmla="*/ 34 w 69"/>
                <a:gd name="T33" fmla="*/ 51 h 60"/>
                <a:gd name="T34" fmla="*/ 10 w 69"/>
                <a:gd name="T35" fmla="*/ 9 h 60"/>
                <a:gd name="T36" fmla="*/ 15 w 69"/>
                <a:gd name="T37" fmla="*/ 4 h 60"/>
                <a:gd name="T38" fmla="*/ 54 w 69"/>
                <a:gd name="T39" fmla="*/ 4 h 60"/>
                <a:gd name="T40" fmla="*/ 58 w 69"/>
                <a:gd name="T41" fmla="*/ 9 h 60"/>
                <a:gd name="T42" fmla="*/ 10 w 69"/>
                <a:gd name="T43" fmla="*/ 9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9" h="60">
                  <a:moveTo>
                    <a:pt x="5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58"/>
                    <a:pt x="0" y="58"/>
                    <a:pt x="0" y="58"/>
                  </a:cubicBezTo>
                  <a:cubicBezTo>
                    <a:pt x="0" y="59"/>
                    <a:pt x="1" y="60"/>
                    <a:pt x="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68" y="60"/>
                    <a:pt x="69" y="59"/>
                    <a:pt x="69" y="58"/>
                  </a:cubicBezTo>
                  <a:cubicBezTo>
                    <a:pt x="69" y="13"/>
                    <a:pt x="69" y="13"/>
                    <a:pt x="69" y="13"/>
                  </a:cubicBezTo>
                  <a:lnTo>
                    <a:pt x="56" y="0"/>
                  </a:lnTo>
                  <a:close/>
                  <a:moveTo>
                    <a:pt x="34" y="51"/>
                  </a:moveTo>
                  <a:cubicBezTo>
                    <a:pt x="13" y="34"/>
                    <a:pt x="13" y="34"/>
                    <a:pt x="13" y="34"/>
                  </a:cubicBezTo>
                  <a:cubicBezTo>
                    <a:pt x="26" y="34"/>
                    <a:pt x="26" y="34"/>
                    <a:pt x="26" y="34"/>
                  </a:cubicBezTo>
                  <a:cubicBezTo>
                    <a:pt x="26" y="21"/>
                    <a:pt x="26" y="21"/>
                    <a:pt x="26" y="21"/>
                  </a:cubicBezTo>
                  <a:cubicBezTo>
                    <a:pt x="43" y="21"/>
                    <a:pt x="43" y="21"/>
                    <a:pt x="43" y="21"/>
                  </a:cubicBezTo>
                  <a:cubicBezTo>
                    <a:pt x="43" y="34"/>
                    <a:pt x="43" y="34"/>
                    <a:pt x="43" y="34"/>
                  </a:cubicBezTo>
                  <a:cubicBezTo>
                    <a:pt x="56" y="34"/>
                    <a:pt x="56" y="34"/>
                    <a:pt x="56" y="34"/>
                  </a:cubicBezTo>
                  <a:lnTo>
                    <a:pt x="34" y="51"/>
                  </a:lnTo>
                  <a:close/>
                  <a:moveTo>
                    <a:pt x="10" y="9"/>
                  </a:moveTo>
                  <a:cubicBezTo>
                    <a:pt x="15" y="4"/>
                    <a:pt x="15" y="4"/>
                    <a:pt x="15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9"/>
                    <a:pt x="58" y="9"/>
                    <a:pt x="58" y="9"/>
                  </a:cubicBezTo>
                  <a:lnTo>
                    <a:pt x="1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任意多边形: 形状 57">
              <a:extLst>
                <a:ext uri="{FF2B5EF4-FFF2-40B4-BE49-F238E27FC236}">
                  <a16:creationId xmlns:a16="http://schemas.microsoft.com/office/drawing/2014/main" id="{B07CF57C-A7B1-4C7B-9E06-D92C4A802403}"/>
                </a:ext>
              </a:extLst>
            </p:cNvPr>
            <p:cNvSpPr/>
            <p:nvPr/>
          </p:nvSpPr>
          <p:spPr bwMode="auto">
            <a:xfrm>
              <a:off x="11303920" y="2003935"/>
              <a:ext cx="182032" cy="248580"/>
            </a:xfrm>
            <a:custGeom>
              <a:avLst/>
              <a:gdLst>
                <a:gd name="T0" fmla="*/ 57 w 57"/>
                <a:gd name="T1" fmla="*/ 48 h 78"/>
                <a:gd name="T2" fmla="*/ 57 w 57"/>
                <a:gd name="T3" fmla="*/ 48 h 78"/>
                <a:gd name="T4" fmla="*/ 57 w 57"/>
                <a:gd name="T5" fmla="*/ 48 h 78"/>
                <a:gd name="T6" fmla="*/ 28 w 57"/>
                <a:gd name="T7" fmla="*/ 0 h 78"/>
                <a:gd name="T8" fmla="*/ 0 w 57"/>
                <a:gd name="T9" fmla="*/ 48 h 78"/>
                <a:gd name="T10" fmla="*/ 0 w 57"/>
                <a:gd name="T11" fmla="*/ 48 h 78"/>
                <a:gd name="T12" fmla="*/ 0 w 57"/>
                <a:gd name="T13" fmla="*/ 48 h 78"/>
                <a:gd name="T14" fmla="*/ 0 w 57"/>
                <a:gd name="T15" fmla="*/ 49 h 78"/>
                <a:gd name="T16" fmla="*/ 0 w 57"/>
                <a:gd name="T17" fmla="*/ 49 h 78"/>
                <a:gd name="T18" fmla="*/ 0 w 57"/>
                <a:gd name="T19" fmla="*/ 49 h 78"/>
                <a:gd name="T20" fmla="*/ 28 w 57"/>
                <a:gd name="T21" fmla="*/ 78 h 78"/>
                <a:gd name="T22" fmla="*/ 57 w 57"/>
                <a:gd name="T23" fmla="*/ 49 h 78"/>
                <a:gd name="T24" fmla="*/ 57 w 57"/>
                <a:gd name="T25" fmla="*/ 49 h 78"/>
                <a:gd name="T26" fmla="*/ 57 w 57"/>
                <a:gd name="T27" fmla="*/ 49 h 78"/>
                <a:gd name="T28" fmla="*/ 57 w 57"/>
                <a:gd name="T29" fmla="*/ 48 h 78"/>
                <a:gd name="T30" fmla="*/ 48 w 57"/>
                <a:gd name="T31" fmla="*/ 49 h 78"/>
                <a:gd name="T32" fmla="*/ 48 w 57"/>
                <a:gd name="T33" fmla="*/ 49 h 78"/>
                <a:gd name="T34" fmla="*/ 42 w 57"/>
                <a:gd name="T35" fmla="*/ 62 h 78"/>
                <a:gd name="T36" fmla="*/ 28 w 57"/>
                <a:gd name="T37" fmla="*/ 68 h 78"/>
                <a:gd name="T38" fmla="*/ 26 w 57"/>
                <a:gd name="T39" fmla="*/ 68 h 78"/>
                <a:gd name="T40" fmla="*/ 43 w 57"/>
                <a:gd name="T41" fmla="*/ 37 h 78"/>
                <a:gd name="T42" fmla="*/ 43 w 57"/>
                <a:gd name="T43" fmla="*/ 33 h 78"/>
                <a:gd name="T44" fmla="*/ 48 w 57"/>
                <a:gd name="T45" fmla="*/ 48 h 78"/>
                <a:gd name="T46" fmla="*/ 48 w 57"/>
                <a:gd name="T47" fmla="*/ 48 h 78"/>
                <a:gd name="T48" fmla="*/ 48 w 57"/>
                <a:gd name="T49" fmla="*/ 48 h 78"/>
                <a:gd name="T50" fmla="*/ 48 w 57"/>
                <a:gd name="T51" fmla="*/ 48 h 78"/>
                <a:gd name="T52" fmla="*/ 48 w 57"/>
                <a:gd name="T53" fmla="*/ 49 h 78"/>
                <a:gd name="T54" fmla="*/ 48 w 57"/>
                <a:gd name="T55" fmla="*/ 4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7" h="78">
                  <a:moveTo>
                    <a:pt x="57" y="48"/>
                  </a:moveTo>
                  <a:cubicBezTo>
                    <a:pt x="57" y="48"/>
                    <a:pt x="57" y="48"/>
                    <a:pt x="57" y="48"/>
                  </a:cubicBezTo>
                  <a:cubicBezTo>
                    <a:pt x="57" y="48"/>
                    <a:pt x="57" y="48"/>
                    <a:pt x="57" y="48"/>
                  </a:cubicBezTo>
                  <a:cubicBezTo>
                    <a:pt x="57" y="24"/>
                    <a:pt x="28" y="0"/>
                    <a:pt x="28" y="0"/>
                  </a:cubicBezTo>
                  <a:cubicBezTo>
                    <a:pt x="28" y="0"/>
                    <a:pt x="0" y="24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0" y="48"/>
                    <a:pt x="0" y="48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5"/>
                    <a:pt x="13" y="78"/>
                    <a:pt x="28" y="78"/>
                  </a:cubicBezTo>
                  <a:cubicBezTo>
                    <a:pt x="44" y="78"/>
                    <a:pt x="57" y="65"/>
                    <a:pt x="57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9"/>
                    <a:pt x="57" y="49"/>
                    <a:pt x="57" y="49"/>
                  </a:cubicBezTo>
                  <a:cubicBezTo>
                    <a:pt x="57" y="48"/>
                    <a:pt x="57" y="48"/>
                    <a:pt x="57" y="48"/>
                  </a:cubicBezTo>
                  <a:close/>
                  <a:moveTo>
                    <a:pt x="48" y="49"/>
                  </a:moveTo>
                  <a:cubicBezTo>
                    <a:pt x="48" y="49"/>
                    <a:pt x="48" y="49"/>
                    <a:pt x="48" y="49"/>
                  </a:cubicBezTo>
                  <a:cubicBezTo>
                    <a:pt x="48" y="54"/>
                    <a:pt x="46" y="59"/>
                    <a:pt x="42" y="62"/>
                  </a:cubicBezTo>
                  <a:cubicBezTo>
                    <a:pt x="38" y="66"/>
                    <a:pt x="34" y="68"/>
                    <a:pt x="28" y="68"/>
                  </a:cubicBezTo>
                  <a:cubicBezTo>
                    <a:pt x="28" y="68"/>
                    <a:pt x="27" y="68"/>
                    <a:pt x="26" y="68"/>
                  </a:cubicBezTo>
                  <a:cubicBezTo>
                    <a:pt x="36" y="61"/>
                    <a:pt x="43" y="50"/>
                    <a:pt x="43" y="37"/>
                  </a:cubicBezTo>
                  <a:cubicBezTo>
                    <a:pt x="43" y="35"/>
                    <a:pt x="43" y="34"/>
                    <a:pt x="43" y="33"/>
                  </a:cubicBezTo>
                  <a:cubicBezTo>
                    <a:pt x="46" y="38"/>
                    <a:pt x="48" y="43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48" y="48"/>
                    <a:pt x="48" y="48"/>
                    <a:pt x="48" y="49"/>
                  </a:cubicBezTo>
                  <a:cubicBezTo>
                    <a:pt x="48" y="49"/>
                    <a:pt x="48" y="49"/>
                    <a:pt x="48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922350F0-EBD4-4AC7-B097-8547C0800BAA}"/>
                </a:ext>
              </a:extLst>
            </p:cNvPr>
            <p:cNvSpPr/>
            <p:nvPr/>
          </p:nvSpPr>
          <p:spPr bwMode="auto">
            <a:xfrm>
              <a:off x="11108187" y="1823860"/>
              <a:ext cx="285770" cy="272069"/>
            </a:xfrm>
            <a:custGeom>
              <a:avLst/>
              <a:gdLst>
                <a:gd name="T0" fmla="*/ 52 w 89"/>
                <a:gd name="T1" fmla="*/ 3 h 85"/>
                <a:gd name="T2" fmla="*/ 4 w 89"/>
                <a:gd name="T3" fmla="*/ 36 h 85"/>
                <a:gd name="T4" fmla="*/ 3 w 89"/>
                <a:gd name="T5" fmla="*/ 45 h 85"/>
                <a:gd name="T6" fmla="*/ 28 w 89"/>
                <a:gd name="T7" fmla="*/ 82 h 85"/>
                <a:gd name="T8" fmla="*/ 37 w 89"/>
                <a:gd name="T9" fmla="*/ 83 h 85"/>
                <a:gd name="T10" fmla="*/ 85 w 89"/>
                <a:gd name="T11" fmla="*/ 50 h 85"/>
                <a:gd name="T12" fmla="*/ 87 w 89"/>
                <a:gd name="T13" fmla="*/ 41 h 85"/>
                <a:gd name="T14" fmla="*/ 61 w 89"/>
                <a:gd name="T15" fmla="*/ 4 h 85"/>
                <a:gd name="T16" fmla="*/ 52 w 89"/>
                <a:gd name="T17" fmla="*/ 3 h 85"/>
                <a:gd name="T18" fmla="*/ 38 w 89"/>
                <a:gd name="T19" fmla="*/ 48 h 85"/>
                <a:gd name="T20" fmla="*/ 31 w 89"/>
                <a:gd name="T21" fmla="*/ 71 h 85"/>
                <a:gd name="T22" fmla="*/ 11 w 89"/>
                <a:gd name="T23" fmla="*/ 42 h 85"/>
                <a:gd name="T24" fmla="*/ 38 w 89"/>
                <a:gd name="T25" fmla="*/ 48 h 85"/>
                <a:gd name="T26" fmla="*/ 14 w 89"/>
                <a:gd name="T27" fmla="*/ 40 h 85"/>
                <a:gd name="T28" fmla="*/ 52 w 89"/>
                <a:gd name="T29" fmla="*/ 13 h 85"/>
                <a:gd name="T30" fmla="*/ 43 w 89"/>
                <a:gd name="T31" fmla="*/ 41 h 85"/>
                <a:gd name="T32" fmla="*/ 14 w 89"/>
                <a:gd name="T33" fmla="*/ 40 h 85"/>
                <a:gd name="T34" fmla="*/ 39 w 89"/>
                <a:gd name="T35" fmla="*/ 48 h 85"/>
                <a:gd name="T36" fmla="*/ 50 w 89"/>
                <a:gd name="T37" fmla="*/ 50 h 85"/>
                <a:gd name="T38" fmla="*/ 51 w 89"/>
                <a:gd name="T39" fmla="*/ 40 h 85"/>
                <a:gd name="T40" fmla="*/ 74 w 89"/>
                <a:gd name="T41" fmla="*/ 47 h 85"/>
                <a:gd name="T42" fmla="*/ 38 w 89"/>
                <a:gd name="T43" fmla="*/ 72 h 85"/>
                <a:gd name="T44" fmla="*/ 39 w 89"/>
                <a:gd name="T45" fmla="*/ 48 h 85"/>
                <a:gd name="T46" fmla="*/ 51 w 89"/>
                <a:gd name="T47" fmla="*/ 39 h 85"/>
                <a:gd name="T48" fmla="*/ 55 w 89"/>
                <a:gd name="T49" fmla="*/ 11 h 85"/>
                <a:gd name="T50" fmla="*/ 75 w 89"/>
                <a:gd name="T51" fmla="*/ 40 h 85"/>
                <a:gd name="T52" fmla="*/ 51 w 89"/>
                <a:gd name="T53" fmla="*/ 3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9" h="85">
                  <a:moveTo>
                    <a:pt x="52" y="3"/>
                  </a:moveTo>
                  <a:cubicBezTo>
                    <a:pt x="4" y="36"/>
                    <a:pt x="4" y="36"/>
                    <a:pt x="4" y="36"/>
                  </a:cubicBezTo>
                  <a:cubicBezTo>
                    <a:pt x="1" y="38"/>
                    <a:pt x="0" y="42"/>
                    <a:pt x="3" y="45"/>
                  </a:cubicBezTo>
                  <a:cubicBezTo>
                    <a:pt x="28" y="82"/>
                    <a:pt x="28" y="82"/>
                    <a:pt x="28" y="82"/>
                  </a:cubicBezTo>
                  <a:cubicBezTo>
                    <a:pt x="30" y="85"/>
                    <a:pt x="34" y="85"/>
                    <a:pt x="37" y="83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88" y="48"/>
                    <a:pt x="89" y="44"/>
                    <a:pt x="87" y="41"/>
                  </a:cubicBezTo>
                  <a:cubicBezTo>
                    <a:pt x="61" y="4"/>
                    <a:pt x="61" y="4"/>
                    <a:pt x="61" y="4"/>
                  </a:cubicBezTo>
                  <a:cubicBezTo>
                    <a:pt x="59" y="1"/>
                    <a:pt x="55" y="0"/>
                    <a:pt x="52" y="3"/>
                  </a:cubicBezTo>
                  <a:close/>
                  <a:moveTo>
                    <a:pt x="38" y="48"/>
                  </a:moveTo>
                  <a:cubicBezTo>
                    <a:pt x="31" y="71"/>
                    <a:pt x="31" y="71"/>
                    <a:pt x="31" y="71"/>
                  </a:cubicBezTo>
                  <a:cubicBezTo>
                    <a:pt x="11" y="42"/>
                    <a:pt x="11" y="42"/>
                    <a:pt x="11" y="42"/>
                  </a:cubicBezTo>
                  <a:lnTo>
                    <a:pt x="38" y="48"/>
                  </a:lnTo>
                  <a:close/>
                  <a:moveTo>
                    <a:pt x="14" y="40"/>
                  </a:moveTo>
                  <a:cubicBezTo>
                    <a:pt x="52" y="13"/>
                    <a:pt x="52" y="13"/>
                    <a:pt x="52" y="13"/>
                  </a:cubicBezTo>
                  <a:cubicBezTo>
                    <a:pt x="43" y="41"/>
                    <a:pt x="43" y="41"/>
                    <a:pt x="43" y="41"/>
                  </a:cubicBezTo>
                  <a:lnTo>
                    <a:pt x="14" y="40"/>
                  </a:lnTo>
                  <a:close/>
                  <a:moveTo>
                    <a:pt x="39" y="48"/>
                  </a:moveTo>
                  <a:cubicBezTo>
                    <a:pt x="50" y="50"/>
                    <a:pt x="50" y="50"/>
                    <a:pt x="50" y="50"/>
                  </a:cubicBezTo>
                  <a:cubicBezTo>
                    <a:pt x="51" y="40"/>
                    <a:pt x="51" y="40"/>
                    <a:pt x="51" y="40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38" y="72"/>
                    <a:pt x="38" y="72"/>
                    <a:pt x="38" y="72"/>
                  </a:cubicBezTo>
                  <a:lnTo>
                    <a:pt x="39" y="48"/>
                  </a:lnTo>
                  <a:close/>
                  <a:moveTo>
                    <a:pt x="51" y="39"/>
                  </a:moveTo>
                  <a:cubicBezTo>
                    <a:pt x="55" y="11"/>
                    <a:pt x="55" y="11"/>
                    <a:pt x="55" y="11"/>
                  </a:cubicBezTo>
                  <a:cubicBezTo>
                    <a:pt x="75" y="40"/>
                    <a:pt x="75" y="40"/>
                    <a:pt x="75" y="40"/>
                  </a:cubicBezTo>
                  <a:lnTo>
                    <a:pt x="51" y="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5727F9BD-2115-4F19-BA95-3CA6A54C5BD7}"/>
                </a:ext>
              </a:extLst>
            </p:cNvPr>
            <p:cNvSpPr/>
            <p:nvPr/>
          </p:nvSpPr>
          <p:spPr bwMode="auto">
            <a:xfrm>
              <a:off x="10996620" y="1667274"/>
              <a:ext cx="217264" cy="221178"/>
            </a:xfrm>
            <a:custGeom>
              <a:avLst/>
              <a:gdLst>
                <a:gd name="T0" fmla="*/ 34 w 68"/>
                <a:gd name="T1" fmla="*/ 0 h 69"/>
                <a:gd name="T2" fmla="*/ 0 w 68"/>
                <a:gd name="T3" fmla="*/ 35 h 69"/>
                <a:gd name="T4" fmla="*/ 34 w 68"/>
                <a:gd name="T5" fmla="*/ 69 h 69"/>
                <a:gd name="T6" fmla="*/ 68 w 68"/>
                <a:gd name="T7" fmla="*/ 35 h 69"/>
                <a:gd name="T8" fmla="*/ 34 w 68"/>
                <a:gd name="T9" fmla="*/ 0 h 69"/>
                <a:gd name="T10" fmla="*/ 34 w 68"/>
                <a:gd name="T11" fmla="*/ 62 h 69"/>
                <a:gd name="T12" fmla="*/ 7 w 68"/>
                <a:gd name="T13" fmla="*/ 35 h 69"/>
                <a:gd name="T14" fmla="*/ 34 w 68"/>
                <a:gd name="T15" fmla="*/ 7 h 69"/>
                <a:gd name="T16" fmla="*/ 62 w 68"/>
                <a:gd name="T17" fmla="*/ 35 h 69"/>
                <a:gd name="T18" fmla="*/ 34 w 68"/>
                <a:gd name="T19" fmla="*/ 62 h 69"/>
                <a:gd name="T20" fmla="*/ 22 w 68"/>
                <a:gd name="T21" fmla="*/ 24 h 69"/>
                <a:gd name="T22" fmla="*/ 36 w 68"/>
                <a:gd name="T23" fmla="*/ 35 h 69"/>
                <a:gd name="T24" fmla="*/ 22 w 68"/>
                <a:gd name="T25" fmla="*/ 45 h 69"/>
                <a:gd name="T26" fmla="*/ 22 w 68"/>
                <a:gd name="T27" fmla="*/ 24 h 69"/>
                <a:gd name="T28" fmla="*/ 39 w 68"/>
                <a:gd name="T29" fmla="*/ 24 h 69"/>
                <a:gd name="T30" fmla="*/ 54 w 68"/>
                <a:gd name="T31" fmla="*/ 35 h 69"/>
                <a:gd name="T32" fmla="*/ 39 w 68"/>
                <a:gd name="T33" fmla="*/ 45 h 69"/>
                <a:gd name="T34" fmla="*/ 39 w 68"/>
                <a:gd name="T35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8" h="69">
                  <a:moveTo>
                    <a:pt x="34" y="0"/>
                  </a:moveTo>
                  <a:cubicBezTo>
                    <a:pt x="15" y="0"/>
                    <a:pt x="0" y="16"/>
                    <a:pt x="0" y="35"/>
                  </a:cubicBezTo>
                  <a:cubicBezTo>
                    <a:pt x="0" y="53"/>
                    <a:pt x="15" y="69"/>
                    <a:pt x="34" y="69"/>
                  </a:cubicBezTo>
                  <a:cubicBezTo>
                    <a:pt x="53" y="69"/>
                    <a:pt x="68" y="53"/>
                    <a:pt x="68" y="35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62"/>
                  </a:moveTo>
                  <a:cubicBezTo>
                    <a:pt x="19" y="62"/>
                    <a:pt x="7" y="50"/>
                    <a:pt x="7" y="35"/>
                  </a:cubicBezTo>
                  <a:cubicBezTo>
                    <a:pt x="7" y="19"/>
                    <a:pt x="19" y="7"/>
                    <a:pt x="34" y="7"/>
                  </a:cubicBezTo>
                  <a:cubicBezTo>
                    <a:pt x="50" y="7"/>
                    <a:pt x="62" y="19"/>
                    <a:pt x="62" y="35"/>
                  </a:cubicBezTo>
                  <a:cubicBezTo>
                    <a:pt x="62" y="50"/>
                    <a:pt x="50" y="62"/>
                    <a:pt x="34" y="62"/>
                  </a:cubicBezTo>
                  <a:close/>
                  <a:moveTo>
                    <a:pt x="22" y="24"/>
                  </a:moveTo>
                  <a:cubicBezTo>
                    <a:pt x="36" y="35"/>
                    <a:pt x="36" y="35"/>
                    <a:pt x="36" y="35"/>
                  </a:cubicBezTo>
                  <a:cubicBezTo>
                    <a:pt x="22" y="45"/>
                    <a:pt x="22" y="45"/>
                    <a:pt x="22" y="45"/>
                  </a:cubicBezTo>
                  <a:lnTo>
                    <a:pt x="22" y="24"/>
                  </a:lnTo>
                  <a:close/>
                  <a:moveTo>
                    <a:pt x="39" y="24"/>
                  </a:moveTo>
                  <a:cubicBezTo>
                    <a:pt x="54" y="35"/>
                    <a:pt x="54" y="35"/>
                    <a:pt x="54" y="35"/>
                  </a:cubicBezTo>
                  <a:cubicBezTo>
                    <a:pt x="39" y="45"/>
                    <a:pt x="39" y="45"/>
                    <a:pt x="39" y="45"/>
                  </a:cubicBezTo>
                  <a:lnTo>
                    <a:pt x="3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78D73C46-3AED-4DC4-97B6-B7CDAD862FDE}"/>
                </a:ext>
              </a:extLst>
            </p:cNvPr>
            <p:cNvSpPr/>
            <p:nvPr/>
          </p:nvSpPr>
          <p:spPr bwMode="auto">
            <a:xfrm>
              <a:off x="11096443" y="2135076"/>
              <a:ext cx="172244" cy="197690"/>
            </a:xfrm>
            <a:custGeom>
              <a:avLst/>
              <a:gdLst>
                <a:gd name="T0" fmla="*/ 50 w 54"/>
                <a:gd name="T1" fmla="*/ 12 h 62"/>
                <a:gd name="T2" fmla="*/ 42 w 54"/>
                <a:gd name="T3" fmla="*/ 5 h 62"/>
                <a:gd name="T4" fmla="*/ 33 w 54"/>
                <a:gd name="T5" fmla="*/ 0 h 62"/>
                <a:gd name="T6" fmla="*/ 6 w 54"/>
                <a:gd name="T7" fmla="*/ 0 h 62"/>
                <a:gd name="T8" fmla="*/ 0 w 54"/>
                <a:gd name="T9" fmla="*/ 6 h 62"/>
                <a:gd name="T10" fmla="*/ 0 w 54"/>
                <a:gd name="T11" fmla="*/ 56 h 62"/>
                <a:gd name="T12" fmla="*/ 6 w 54"/>
                <a:gd name="T13" fmla="*/ 62 h 62"/>
                <a:gd name="T14" fmla="*/ 48 w 54"/>
                <a:gd name="T15" fmla="*/ 62 h 62"/>
                <a:gd name="T16" fmla="*/ 54 w 54"/>
                <a:gd name="T17" fmla="*/ 56 h 62"/>
                <a:gd name="T18" fmla="*/ 54 w 54"/>
                <a:gd name="T19" fmla="*/ 21 h 62"/>
                <a:gd name="T20" fmla="*/ 50 w 54"/>
                <a:gd name="T21" fmla="*/ 12 h 62"/>
                <a:gd name="T22" fmla="*/ 35 w 54"/>
                <a:gd name="T23" fmla="*/ 9 h 62"/>
                <a:gd name="T24" fmla="*/ 35 w 54"/>
                <a:gd name="T25" fmla="*/ 9 h 62"/>
                <a:gd name="T26" fmla="*/ 37 w 54"/>
                <a:gd name="T27" fmla="*/ 10 h 62"/>
                <a:gd name="T28" fmla="*/ 44 w 54"/>
                <a:gd name="T29" fmla="*/ 17 h 62"/>
                <a:gd name="T30" fmla="*/ 45 w 54"/>
                <a:gd name="T31" fmla="*/ 19 h 62"/>
                <a:gd name="T32" fmla="*/ 46 w 54"/>
                <a:gd name="T33" fmla="*/ 20 h 62"/>
                <a:gd name="T34" fmla="*/ 35 w 54"/>
                <a:gd name="T35" fmla="*/ 20 h 62"/>
                <a:gd name="T36" fmla="*/ 35 w 54"/>
                <a:gd name="T37" fmla="*/ 9 h 62"/>
                <a:gd name="T38" fmla="*/ 46 w 54"/>
                <a:gd name="T39" fmla="*/ 54 h 62"/>
                <a:gd name="T40" fmla="*/ 8 w 54"/>
                <a:gd name="T41" fmla="*/ 54 h 62"/>
                <a:gd name="T42" fmla="*/ 8 w 54"/>
                <a:gd name="T43" fmla="*/ 8 h 62"/>
                <a:gd name="T44" fmla="*/ 31 w 54"/>
                <a:gd name="T45" fmla="*/ 8 h 62"/>
                <a:gd name="T46" fmla="*/ 31 w 54"/>
                <a:gd name="T47" fmla="*/ 23 h 62"/>
                <a:gd name="T48" fmla="*/ 46 w 54"/>
                <a:gd name="T49" fmla="*/ 23 h 62"/>
                <a:gd name="T50" fmla="*/ 46 w 54"/>
                <a:gd name="T51" fmla="*/ 5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4" h="62">
                  <a:moveTo>
                    <a:pt x="50" y="12"/>
                  </a:moveTo>
                  <a:cubicBezTo>
                    <a:pt x="42" y="5"/>
                    <a:pt x="42" y="5"/>
                    <a:pt x="42" y="5"/>
                  </a:cubicBezTo>
                  <a:cubicBezTo>
                    <a:pt x="40" y="2"/>
                    <a:pt x="36" y="0"/>
                    <a:pt x="33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9"/>
                    <a:pt x="3" y="62"/>
                    <a:pt x="6" y="62"/>
                  </a:cubicBezTo>
                  <a:cubicBezTo>
                    <a:pt x="48" y="62"/>
                    <a:pt x="48" y="62"/>
                    <a:pt x="48" y="62"/>
                  </a:cubicBezTo>
                  <a:cubicBezTo>
                    <a:pt x="51" y="62"/>
                    <a:pt x="54" y="59"/>
                    <a:pt x="54" y="56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4" y="18"/>
                    <a:pt x="52" y="14"/>
                    <a:pt x="50" y="12"/>
                  </a:cubicBezTo>
                  <a:close/>
                  <a:moveTo>
                    <a:pt x="35" y="9"/>
                  </a:moveTo>
                  <a:cubicBezTo>
                    <a:pt x="35" y="9"/>
                    <a:pt x="35" y="9"/>
                    <a:pt x="35" y="9"/>
                  </a:cubicBezTo>
                  <a:cubicBezTo>
                    <a:pt x="36" y="9"/>
                    <a:pt x="37" y="10"/>
                    <a:pt x="37" y="10"/>
                  </a:cubicBezTo>
                  <a:cubicBezTo>
                    <a:pt x="44" y="17"/>
                    <a:pt x="44" y="17"/>
                    <a:pt x="44" y="17"/>
                  </a:cubicBezTo>
                  <a:cubicBezTo>
                    <a:pt x="45" y="17"/>
                    <a:pt x="45" y="18"/>
                    <a:pt x="45" y="19"/>
                  </a:cubicBezTo>
                  <a:cubicBezTo>
                    <a:pt x="46" y="19"/>
                    <a:pt x="46" y="19"/>
                    <a:pt x="46" y="20"/>
                  </a:cubicBezTo>
                  <a:cubicBezTo>
                    <a:pt x="35" y="20"/>
                    <a:pt x="35" y="20"/>
                    <a:pt x="35" y="20"/>
                  </a:cubicBezTo>
                  <a:lnTo>
                    <a:pt x="35" y="9"/>
                  </a:lnTo>
                  <a:close/>
                  <a:moveTo>
                    <a:pt x="46" y="54"/>
                  </a:moveTo>
                  <a:cubicBezTo>
                    <a:pt x="8" y="54"/>
                    <a:pt x="8" y="54"/>
                    <a:pt x="8" y="54"/>
                  </a:cubicBezTo>
                  <a:cubicBezTo>
                    <a:pt x="8" y="8"/>
                    <a:pt x="8" y="8"/>
                    <a:pt x="8" y="8"/>
                  </a:cubicBezTo>
                  <a:cubicBezTo>
                    <a:pt x="31" y="8"/>
                    <a:pt x="31" y="8"/>
                    <a:pt x="31" y="8"/>
                  </a:cubicBezTo>
                  <a:cubicBezTo>
                    <a:pt x="31" y="23"/>
                    <a:pt x="31" y="23"/>
                    <a:pt x="31" y="23"/>
                  </a:cubicBezTo>
                  <a:cubicBezTo>
                    <a:pt x="46" y="23"/>
                    <a:pt x="46" y="23"/>
                    <a:pt x="46" y="23"/>
                  </a:cubicBezTo>
                  <a:lnTo>
                    <a:pt x="46" y="5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E2C310C7-8A26-4848-AA28-C40D3AB7690D}"/>
                </a:ext>
              </a:extLst>
            </p:cNvPr>
            <p:cNvSpPr/>
            <p:nvPr/>
          </p:nvSpPr>
          <p:spPr bwMode="auto">
            <a:xfrm>
              <a:off x="11082743" y="2730106"/>
              <a:ext cx="279899" cy="297514"/>
            </a:xfrm>
            <a:custGeom>
              <a:avLst/>
              <a:gdLst>
                <a:gd name="T0" fmla="*/ 78 w 87"/>
                <a:gd name="T1" fmla="*/ 0 h 93"/>
                <a:gd name="T2" fmla="*/ 9 w 87"/>
                <a:gd name="T3" fmla="*/ 0 h 93"/>
                <a:gd name="T4" fmla="*/ 0 w 87"/>
                <a:gd name="T5" fmla="*/ 9 h 93"/>
                <a:gd name="T6" fmla="*/ 0 w 87"/>
                <a:gd name="T7" fmla="*/ 84 h 93"/>
                <a:gd name="T8" fmla="*/ 9 w 87"/>
                <a:gd name="T9" fmla="*/ 93 h 93"/>
                <a:gd name="T10" fmla="*/ 78 w 87"/>
                <a:gd name="T11" fmla="*/ 93 h 93"/>
                <a:gd name="T12" fmla="*/ 87 w 87"/>
                <a:gd name="T13" fmla="*/ 84 h 93"/>
                <a:gd name="T14" fmla="*/ 87 w 87"/>
                <a:gd name="T15" fmla="*/ 9 h 93"/>
                <a:gd name="T16" fmla="*/ 78 w 87"/>
                <a:gd name="T17" fmla="*/ 0 h 93"/>
                <a:gd name="T18" fmla="*/ 75 w 87"/>
                <a:gd name="T19" fmla="*/ 81 h 93"/>
                <a:gd name="T20" fmla="*/ 12 w 87"/>
                <a:gd name="T21" fmla="*/ 81 h 93"/>
                <a:gd name="T22" fmla="*/ 12 w 87"/>
                <a:gd name="T23" fmla="*/ 12 h 93"/>
                <a:gd name="T24" fmla="*/ 75 w 87"/>
                <a:gd name="T25" fmla="*/ 12 h 93"/>
                <a:gd name="T26" fmla="*/ 75 w 87"/>
                <a:gd name="T27" fmla="*/ 81 h 93"/>
                <a:gd name="T28" fmla="*/ 23 w 87"/>
                <a:gd name="T29" fmla="*/ 41 h 93"/>
                <a:gd name="T30" fmla="*/ 64 w 87"/>
                <a:gd name="T31" fmla="*/ 41 h 93"/>
                <a:gd name="T32" fmla="*/ 64 w 87"/>
                <a:gd name="T33" fmla="*/ 46 h 93"/>
                <a:gd name="T34" fmla="*/ 23 w 87"/>
                <a:gd name="T35" fmla="*/ 46 h 93"/>
                <a:gd name="T36" fmla="*/ 23 w 87"/>
                <a:gd name="T37" fmla="*/ 41 h 93"/>
                <a:gd name="T38" fmla="*/ 23 w 87"/>
                <a:gd name="T39" fmla="*/ 52 h 93"/>
                <a:gd name="T40" fmla="*/ 64 w 87"/>
                <a:gd name="T41" fmla="*/ 52 h 93"/>
                <a:gd name="T42" fmla="*/ 64 w 87"/>
                <a:gd name="T43" fmla="*/ 58 h 93"/>
                <a:gd name="T44" fmla="*/ 23 w 87"/>
                <a:gd name="T45" fmla="*/ 58 h 93"/>
                <a:gd name="T46" fmla="*/ 23 w 87"/>
                <a:gd name="T47" fmla="*/ 52 h 93"/>
                <a:gd name="T48" fmla="*/ 23 w 87"/>
                <a:gd name="T49" fmla="*/ 64 h 93"/>
                <a:gd name="T50" fmla="*/ 64 w 87"/>
                <a:gd name="T51" fmla="*/ 64 h 93"/>
                <a:gd name="T52" fmla="*/ 64 w 87"/>
                <a:gd name="T53" fmla="*/ 69 h 93"/>
                <a:gd name="T54" fmla="*/ 23 w 87"/>
                <a:gd name="T55" fmla="*/ 69 h 93"/>
                <a:gd name="T56" fmla="*/ 23 w 87"/>
                <a:gd name="T57" fmla="*/ 64 h 93"/>
                <a:gd name="T58" fmla="*/ 23 w 87"/>
                <a:gd name="T59" fmla="*/ 29 h 93"/>
                <a:gd name="T60" fmla="*/ 64 w 87"/>
                <a:gd name="T61" fmla="*/ 29 h 93"/>
                <a:gd name="T62" fmla="*/ 64 w 87"/>
                <a:gd name="T63" fmla="*/ 35 h 93"/>
                <a:gd name="T64" fmla="*/ 23 w 87"/>
                <a:gd name="T65" fmla="*/ 35 h 93"/>
                <a:gd name="T66" fmla="*/ 23 w 87"/>
                <a:gd name="T67" fmla="*/ 2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7" h="93">
                  <a:moveTo>
                    <a:pt x="78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9"/>
                    <a:pt x="4" y="93"/>
                    <a:pt x="9" y="93"/>
                  </a:cubicBezTo>
                  <a:cubicBezTo>
                    <a:pt x="78" y="93"/>
                    <a:pt x="78" y="93"/>
                    <a:pt x="78" y="93"/>
                  </a:cubicBezTo>
                  <a:cubicBezTo>
                    <a:pt x="83" y="93"/>
                    <a:pt x="87" y="89"/>
                    <a:pt x="87" y="84"/>
                  </a:cubicBezTo>
                  <a:cubicBezTo>
                    <a:pt x="87" y="9"/>
                    <a:pt x="87" y="9"/>
                    <a:pt x="87" y="9"/>
                  </a:cubicBezTo>
                  <a:cubicBezTo>
                    <a:pt x="87" y="4"/>
                    <a:pt x="83" y="0"/>
                    <a:pt x="78" y="0"/>
                  </a:cubicBezTo>
                  <a:close/>
                  <a:moveTo>
                    <a:pt x="75" y="81"/>
                  </a:moveTo>
                  <a:cubicBezTo>
                    <a:pt x="12" y="81"/>
                    <a:pt x="12" y="81"/>
                    <a:pt x="12" y="8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75" y="12"/>
                    <a:pt x="75" y="12"/>
                    <a:pt x="75" y="12"/>
                  </a:cubicBezTo>
                  <a:lnTo>
                    <a:pt x="75" y="81"/>
                  </a:lnTo>
                  <a:close/>
                  <a:moveTo>
                    <a:pt x="23" y="41"/>
                  </a:moveTo>
                  <a:cubicBezTo>
                    <a:pt x="64" y="41"/>
                    <a:pt x="64" y="41"/>
                    <a:pt x="64" y="41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23" y="46"/>
                    <a:pt x="23" y="46"/>
                    <a:pt x="23" y="46"/>
                  </a:cubicBezTo>
                  <a:lnTo>
                    <a:pt x="23" y="41"/>
                  </a:lnTo>
                  <a:close/>
                  <a:moveTo>
                    <a:pt x="23" y="52"/>
                  </a:moveTo>
                  <a:cubicBezTo>
                    <a:pt x="64" y="52"/>
                    <a:pt x="64" y="52"/>
                    <a:pt x="64" y="52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23" y="58"/>
                    <a:pt x="23" y="58"/>
                    <a:pt x="23" y="58"/>
                  </a:cubicBezTo>
                  <a:lnTo>
                    <a:pt x="23" y="52"/>
                  </a:lnTo>
                  <a:close/>
                  <a:moveTo>
                    <a:pt x="23" y="64"/>
                  </a:moveTo>
                  <a:cubicBezTo>
                    <a:pt x="64" y="64"/>
                    <a:pt x="64" y="64"/>
                    <a:pt x="64" y="64"/>
                  </a:cubicBezTo>
                  <a:cubicBezTo>
                    <a:pt x="64" y="69"/>
                    <a:pt x="64" y="69"/>
                    <a:pt x="64" y="69"/>
                  </a:cubicBezTo>
                  <a:cubicBezTo>
                    <a:pt x="23" y="69"/>
                    <a:pt x="23" y="69"/>
                    <a:pt x="23" y="69"/>
                  </a:cubicBezTo>
                  <a:lnTo>
                    <a:pt x="23" y="64"/>
                  </a:lnTo>
                  <a:close/>
                  <a:moveTo>
                    <a:pt x="23" y="29"/>
                  </a:moveTo>
                  <a:cubicBezTo>
                    <a:pt x="64" y="29"/>
                    <a:pt x="64" y="29"/>
                    <a:pt x="64" y="29"/>
                  </a:cubicBezTo>
                  <a:cubicBezTo>
                    <a:pt x="64" y="35"/>
                    <a:pt x="64" y="35"/>
                    <a:pt x="64" y="35"/>
                  </a:cubicBezTo>
                  <a:cubicBezTo>
                    <a:pt x="23" y="35"/>
                    <a:pt x="23" y="35"/>
                    <a:pt x="23" y="35"/>
                  </a:cubicBezTo>
                  <a:lnTo>
                    <a:pt x="23" y="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020FF4AB-BA6C-4615-BCA6-032266A3E173}"/>
                </a:ext>
              </a:extLst>
            </p:cNvPr>
            <p:cNvSpPr/>
            <p:nvPr/>
          </p:nvSpPr>
          <p:spPr bwMode="auto">
            <a:xfrm>
              <a:off x="11031852" y="3084384"/>
              <a:ext cx="262283" cy="197690"/>
            </a:xfrm>
            <a:custGeom>
              <a:avLst/>
              <a:gdLst>
                <a:gd name="T0" fmla="*/ 0 w 134"/>
                <a:gd name="T1" fmla="*/ 0 h 101"/>
                <a:gd name="T2" fmla="*/ 0 w 134"/>
                <a:gd name="T3" fmla="*/ 101 h 101"/>
                <a:gd name="T4" fmla="*/ 134 w 134"/>
                <a:gd name="T5" fmla="*/ 101 h 101"/>
                <a:gd name="T6" fmla="*/ 134 w 134"/>
                <a:gd name="T7" fmla="*/ 0 h 101"/>
                <a:gd name="T8" fmla="*/ 0 w 134"/>
                <a:gd name="T9" fmla="*/ 0 h 101"/>
                <a:gd name="T10" fmla="*/ 25 w 134"/>
                <a:gd name="T11" fmla="*/ 93 h 101"/>
                <a:gd name="T12" fmla="*/ 8 w 134"/>
                <a:gd name="T13" fmla="*/ 93 h 101"/>
                <a:gd name="T14" fmla="*/ 8 w 134"/>
                <a:gd name="T15" fmla="*/ 77 h 101"/>
                <a:gd name="T16" fmla="*/ 25 w 134"/>
                <a:gd name="T17" fmla="*/ 77 h 101"/>
                <a:gd name="T18" fmla="*/ 25 w 134"/>
                <a:gd name="T19" fmla="*/ 93 h 101"/>
                <a:gd name="T20" fmla="*/ 25 w 134"/>
                <a:gd name="T21" fmla="*/ 59 h 101"/>
                <a:gd name="T22" fmla="*/ 8 w 134"/>
                <a:gd name="T23" fmla="*/ 59 h 101"/>
                <a:gd name="T24" fmla="*/ 8 w 134"/>
                <a:gd name="T25" fmla="*/ 43 h 101"/>
                <a:gd name="T26" fmla="*/ 25 w 134"/>
                <a:gd name="T27" fmla="*/ 43 h 101"/>
                <a:gd name="T28" fmla="*/ 25 w 134"/>
                <a:gd name="T29" fmla="*/ 59 h 101"/>
                <a:gd name="T30" fmla="*/ 25 w 134"/>
                <a:gd name="T31" fmla="*/ 26 h 101"/>
                <a:gd name="T32" fmla="*/ 8 w 134"/>
                <a:gd name="T33" fmla="*/ 26 h 101"/>
                <a:gd name="T34" fmla="*/ 8 w 134"/>
                <a:gd name="T35" fmla="*/ 8 h 101"/>
                <a:gd name="T36" fmla="*/ 25 w 134"/>
                <a:gd name="T37" fmla="*/ 8 h 101"/>
                <a:gd name="T38" fmla="*/ 25 w 134"/>
                <a:gd name="T39" fmla="*/ 26 h 101"/>
                <a:gd name="T40" fmla="*/ 102 w 134"/>
                <a:gd name="T41" fmla="*/ 93 h 101"/>
                <a:gd name="T42" fmla="*/ 35 w 134"/>
                <a:gd name="T43" fmla="*/ 93 h 101"/>
                <a:gd name="T44" fmla="*/ 35 w 134"/>
                <a:gd name="T45" fmla="*/ 8 h 101"/>
                <a:gd name="T46" fmla="*/ 102 w 134"/>
                <a:gd name="T47" fmla="*/ 8 h 101"/>
                <a:gd name="T48" fmla="*/ 102 w 134"/>
                <a:gd name="T49" fmla="*/ 93 h 101"/>
                <a:gd name="T50" fmla="*/ 126 w 134"/>
                <a:gd name="T51" fmla="*/ 93 h 101"/>
                <a:gd name="T52" fmla="*/ 110 w 134"/>
                <a:gd name="T53" fmla="*/ 93 h 101"/>
                <a:gd name="T54" fmla="*/ 110 w 134"/>
                <a:gd name="T55" fmla="*/ 77 h 101"/>
                <a:gd name="T56" fmla="*/ 126 w 134"/>
                <a:gd name="T57" fmla="*/ 77 h 101"/>
                <a:gd name="T58" fmla="*/ 126 w 134"/>
                <a:gd name="T59" fmla="*/ 93 h 101"/>
                <a:gd name="T60" fmla="*/ 126 w 134"/>
                <a:gd name="T61" fmla="*/ 59 h 101"/>
                <a:gd name="T62" fmla="*/ 110 w 134"/>
                <a:gd name="T63" fmla="*/ 59 h 101"/>
                <a:gd name="T64" fmla="*/ 110 w 134"/>
                <a:gd name="T65" fmla="*/ 43 h 101"/>
                <a:gd name="T66" fmla="*/ 126 w 134"/>
                <a:gd name="T67" fmla="*/ 43 h 101"/>
                <a:gd name="T68" fmla="*/ 126 w 134"/>
                <a:gd name="T69" fmla="*/ 59 h 101"/>
                <a:gd name="T70" fmla="*/ 126 w 134"/>
                <a:gd name="T71" fmla="*/ 26 h 101"/>
                <a:gd name="T72" fmla="*/ 110 w 134"/>
                <a:gd name="T73" fmla="*/ 26 h 101"/>
                <a:gd name="T74" fmla="*/ 110 w 134"/>
                <a:gd name="T75" fmla="*/ 8 h 101"/>
                <a:gd name="T76" fmla="*/ 126 w 134"/>
                <a:gd name="T77" fmla="*/ 8 h 101"/>
                <a:gd name="T78" fmla="*/ 126 w 134"/>
                <a:gd name="T79" fmla="*/ 26 h 101"/>
                <a:gd name="T80" fmla="*/ 51 w 134"/>
                <a:gd name="T81" fmla="*/ 26 h 101"/>
                <a:gd name="T82" fmla="*/ 51 w 134"/>
                <a:gd name="T83" fmla="*/ 77 h 101"/>
                <a:gd name="T84" fmla="*/ 84 w 134"/>
                <a:gd name="T85" fmla="*/ 51 h 101"/>
                <a:gd name="T86" fmla="*/ 51 w 134"/>
                <a:gd name="T87" fmla="*/ 26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4" h="101">
                  <a:moveTo>
                    <a:pt x="0" y="0"/>
                  </a:moveTo>
                  <a:lnTo>
                    <a:pt x="0" y="101"/>
                  </a:lnTo>
                  <a:lnTo>
                    <a:pt x="134" y="101"/>
                  </a:lnTo>
                  <a:lnTo>
                    <a:pt x="134" y="0"/>
                  </a:lnTo>
                  <a:lnTo>
                    <a:pt x="0" y="0"/>
                  </a:lnTo>
                  <a:close/>
                  <a:moveTo>
                    <a:pt x="25" y="93"/>
                  </a:moveTo>
                  <a:lnTo>
                    <a:pt x="8" y="93"/>
                  </a:lnTo>
                  <a:lnTo>
                    <a:pt x="8" y="77"/>
                  </a:lnTo>
                  <a:lnTo>
                    <a:pt x="25" y="77"/>
                  </a:lnTo>
                  <a:lnTo>
                    <a:pt x="25" y="93"/>
                  </a:lnTo>
                  <a:close/>
                  <a:moveTo>
                    <a:pt x="25" y="59"/>
                  </a:moveTo>
                  <a:lnTo>
                    <a:pt x="8" y="59"/>
                  </a:lnTo>
                  <a:lnTo>
                    <a:pt x="8" y="43"/>
                  </a:lnTo>
                  <a:lnTo>
                    <a:pt x="25" y="43"/>
                  </a:lnTo>
                  <a:lnTo>
                    <a:pt x="25" y="59"/>
                  </a:lnTo>
                  <a:close/>
                  <a:moveTo>
                    <a:pt x="25" y="26"/>
                  </a:moveTo>
                  <a:lnTo>
                    <a:pt x="8" y="26"/>
                  </a:lnTo>
                  <a:lnTo>
                    <a:pt x="8" y="8"/>
                  </a:lnTo>
                  <a:lnTo>
                    <a:pt x="25" y="8"/>
                  </a:lnTo>
                  <a:lnTo>
                    <a:pt x="25" y="26"/>
                  </a:lnTo>
                  <a:close/>
                  <a:moveTo>
                    <a:pt x="102" y="93"/>
                  </a:moveTo>
                  <a:lnTo>
                    <a:pt x="35" y="93"/>
                  </a:lnTo>
                  <a:lnTo>
                    <a:pt x="35" y="8"/>
                  </a:lnTo>
                  <a:lnTo>
                    <a:pt x="102" y="8"/>
                  </a:lnTo>
                  <a:lnTo>
                    <a:pt x="102" y="93"/>
                  </a:lnTo>
                  <a:close/>
                  <a:moveTo>
                    <a:pt x="126" y="93"/>
                  </a:moveTo>
                  <a:lnTo>
                    <a:pt x="110" y="93"/>
                  </a:lnTo>
                  <a:lnTo>
                    <a:pt x="110" y="77"/>
                  </a:lnTo>
                  <a:lnTo>
                    <a:pt x="126" y="77"/>
                  </a:lnTo>
                  <a:lnTo>
                    <a:pt x="126" y="93"/>
                  </a:lnTo>
                  <a:close/>
                  <a:moveTo>
                    <a:pt x="126" y="59"/>
                  </a:moveTo>
                  <a:lnTo>
                    <a:pt x="110" y="59"/>
                  </a:lnTo>
                  <a:lnTo>
                    <a:pt x="110" y="43"/>
                  </a:lnTo>
                  <a:lnTo>
                    <a:pt x="126" y="43"/>
                  </a:lnTo>
                  <a:lnTo>
                    <a:pt x="126" y="59"/>
                  </a:lnTo>
                  <a:close/>
                  <a:moveTo>
                    <a:pt x="126" y="26"/>
                  </a:moveTo>
                  <a:lnTo>
                    <a:pt x="110" y="26"/>
                  </a:lnTo>
                  <a:lnTo>
                    <a:pt x="110" y="8"/>
                  </a:lnTo>
                  <a:lnTo>
                    <a:pt x="126" y="8"/>
                  </a:lnTo>
                  <a:lnTo>
                    <a:pt x="126" y="26"/>
                  </a:lnTo>
                  <a:close/>
                  <a:moveTo>
                    <a:pt x="51" y="26"/>
                  </a:moveTo>
                  <a:lnTo>
                    <a:pt x="51" y="77"/>
                  </a:lnTo>
                  <a:lnTo>
                    <a:pt x="84" y="51"/>
                  </a:lnTo>
                  <a:lnTo>
                    <a:pt x="51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2A0292BA-67A2-41AB-BD20-5A334F931692}"/>
                </a:ext>
              </a:extLst>
            </p:cNvPr>
            <p:cNvSpPr/>
            <p:nvPr/>
          </p:nvSpPr>
          <p:spPr bwMode="auto">
            <a:xfrm>
              <a:off x="11333278" y="3027619"/>
              <a:ext cx="156586" cy="146800"/>
            </a:xfrm>
            <a:custGeom>
              <a:avLst/>
              <a:gdLst>
                <a:gd name="T0" fmla="*/ 80 w 80"/>
                <a:gd name="T1" fmla="*/ 29 h 75"/>
                <a:gd name="T2" fmla="*/ 52 w 80"/>
                <a:gd name="T3" fmla="*/ 24 h 75"/>
                <a:gd name="T4" fmla="*/ 41 w 80"/>
                <a:gd name="T5" fmla="*/ 0 h 75"/>
                <a:gd name="T6" fmla="*/ 28 w 80"/>
                <a:gd name="T7" fmla="*/ 24 h 75"/>
                <a:gd name="T8" fmla="*/ 0 w 80"/>
                <a:gd name="T9" fmla="*/ 29 h 75"/>
                <a:gd name="T10" fmla="*/ 19 w 80"/>
                <a:gd name="T11" fmla="*/ 49 h 75"/>
                <a:gd name="T12" fmla="*/ 15 w 80"/>
                <a:gd name="T13" fmla="*/ 75 h 75"/>
                <a:gd name="T14" fmla="*/ 41 w 80"/>
                <a:gd name="T15" fmla="*/ 62 h 75"/>
                <a:gd name="T16" fmla="*/ 65 w 80"/>
                <a:gd name="T17" fmla="*/ 75 h 75"/>
                <a:gd name="T18" fmla="*/ 60 w 80"/>
                <a:gd name="T19" fmla="*/ 49 h 75"/>
                <a:gd name="T20" fmla="*/ 80 w 80"/>
                <a:gd name="T21" fmla="*/ 29 h 75"/>
                <a:gd name="T22" fmla="*/ 41 w 80"/>
                <a:gd name="T23" fmla="*/ 57 h 75"/>
                <a:gd name="T24" fmla="*/ 23 w 80"/>
                <a:gd name="T25" fmla="*/ 65 h 75"/>
                <a:gd name="T26" fmla="*/ 26 w 80"/>
                <a:gd name="T27" fmla="*/ 45 h 75"/>
                <a:gd name="T28" fmla="*/ 11 w 80"/>
                <a:gd name="T29" fmla="*/ 32 h 75"/>
                <a:gd name="T30" fmla="*/ 31 w 80"/>
                <a:gd name="T31" fmla="*/ 29 h 75"/>
                <a:gd name="T32" fmla="*/ 41 w 80"/>
                <a:gd name="T33" fmla="*/ 11 h 75"/>
                <a:gd name="T34" fmla="*/ 49 w 80"/>
                <a:gd name="T35" fmla="*/ 29 h 75"/>
                <a:gd name="T36" fmla="*/ 68 w 80"/>
                <a:gd name="T37" fmla="*/ 32 h 75"/>
                <a:gd name="T38" fmla="*/ 54 w 80"/>
                <a:gd name="T39" fmla="*/ 45 h 75"/>
                <a:gd name="T40" fmla="*/ 57 w 80"/>
                <a:gd name="T41" fmla="*/ 65 h 75"/>
                <a:gd name="T42" fmla="*/ 41 w 80"/>
                <a:gd name="T43" fmla="*/ 57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0" h="75">
                  <a:moveTo>
                    <a:pt x="80" y="29"/>
                  </a:moveTo>
                  <a:lnTo>
                    <a:pt x="52" y="24"/>
                  </a:lnTo>
                  <a:lnTo>
                    <a:pt x="41" y="0"/>
                  </a:lnTo>
                  <a:lnTo>
                    <a:pt x="28" y="24"/>
                  </a:lnTo>
                  <a:lnTo>
                    <a:pt x="0" y="29"/>
                  </a:lnTo>
                  <a:lnTo>
                    <a:pt x="19" y="49"/>
                  </a:lnTo>
                  <a:lnTo>
                    <a:pt x="15" y="75"/>
                  </a:lnTo>
                  <a:lnTo>
                    <a:pt x="41" y="62"/>
                  </a:lnTo>
                  <a:lnTo>
                    <a:pt x="65" y="75"/>
                  </a:lnTo>
                  <a:lnTo>
                    <a:pt x="60" y="49"/>
                  </a:lnTo>
                  <a:lnTo>
                    <a:pt x="80" y="29"/>
                  </a:lnTo>
                  <a:close/>
                  <a:moveTo>
                    <a:pt x="41" y="57"/>
                  </a:moveTo>
                  <a:lnTo>
                    <a:pt x="23" y="65"/>
                  </a:lnTo>
                  <a:lnTo>
                    <a:pt x="26" y="45"/>
                  </a:lnTo>
                  <a:lnTo>
                    <a:pt x="11" y="32"/>
                  </a:lnTo>
                  <a:lnTo>
                    <a:pt x="31" y="29"/>
                  </a:lnTo>
                  <a:lnTo>
                    <a:pt x="41" y="11"/>
                  </a:lnTo>
                  <a:lnTo>
                    <a:pt x="49" y="29"/>
                  </a:lnTo>
                  <a:lnTo>
                    <a:pt x="68" y="32"/>
                  </a:lnTo>
                  <a:lnTo>
                    <a:pt x="54" y="45"/>
                  </a:lnTo>
                  <a:lnTo>
                    <a:pt x="57" y="65"/>
                  </a:lnTo>
                  <a:lnTo>
                    <a:pt x="41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762C59A6-1CFB-4BC2-94D8-E509319B67CF}"/>
                </a:ext>
              </a:extLst>
            </p:cNvPr>
            <p:cNvSpPr/>
            <p:nvPr/>
          </p:nvSpPr>
          <p:spPr bwMode="auto">
            <a:xfrm>
              <a:off x="10818501" y="1526346"/>
              <a:ext cx="191818" cy="207478"/>
            </a:xfrm>
            <a:custGeom>
              <a:avLst/>
              <a:gdLst>
                <a:gd name="T0" fmla="*/ 48 w 60"/>
                <a:gd name="T1" fmla="*/ 11 h 65"/>
                <a:gd name="T2" fmla="*/ 60 w 60"/>
                <a:gd name="T3" fmla="*/ 6 h 65"/>
                <a:gd name="T4" fmla="*/ 60 w 60"/>
                <a:gd name="T5" fmla="*/ 44 h 65"/>
                <a:gd name="T6" fmla="*/ 48 w 60"/>
                <a:gd name="T7" fmla="*/ 48 h 65"/>
                <a:gd name="T8" fmla="*/ 36 w 60"/>
                <a:gd name="T9" fmla="*/ 45 h 65"/>
                <a:gd name="T10" fmla="*/ 24 w 60"/>
                <a:gd name="T11" fmla="*/ 41 h 65"/>
                <a:gd name="T12" fmla="*/ 12 w 60"/>
                <a:gd name="T13" fmla="*/ 46 h 65"/>
                <a:gd name="T14" fmla="*/ 12 w 60"/>
                <a:gd name="T15" fmla="*/ 8 h 65"/>
                <a:gd name="T16" fmla="*/ 24 w 60"/>
                <a:gd name="T17" fmla="*/ 4 h 65"/>
                <a:gd name="T18" fmla="*/ 36 w 60"/>
                <a:gd name="T19" fmla="*/ 7 h 65"/>
                <a:gd name="T20" fmla="*/ 48 w 60"/>
                <a:gd name="T21" fmla="*/ 11 h 65"/>
                <a:gd name="T22" fmla="*/ 4 w 60"/>
                <a:gd name="T23" fmla="*/ 0 h 65"/>
                <a:gd name="T24" fmla="*/ 8 w 60"/>
                <a:gd name="T25" fmla="*/ 4 h 65"/>
                <a:gd name="T26" fmla="*/ 8 w 60"/>
                <a:gd name="T27" fmla="*/ 65 h 65"/>
                <a:gd name="T28" fmla="*/ 0 w 60"/>
                <a:gd name="T29" fmla="*/ 65 h 65"/>
                <a:gd name="T30" fmla="*/ 0 w 60"/>
                <a:gd name="T31" fmla="*/ 4 h 65"/>
                <a:gd name="T32" fmla="*/ 4 w 60"/>
                <a:gd name="T33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65">
                  <a:moveTo>
                    <a:pt x="48" y="11"/>
                  </a:moveTo>
                  <a:cubicBezTo>
                    <a:pt x="53" y="11"/>
                    <a:pt x="58" y="8"/>
                    <a:pt x="60" y="6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58" y="46"/>
                    <a:pt x="53" y="48"/>
                    <a:pt x="48" y="48"/>
                  </a:cubicBezTo>
                  <a:cubicBezTo>
                    <a:pt x="43" y="48"/>
                    <a:pt x="39" y="47"/>
                    <a:pt x="36" y="45"/>
                  </a:cubicBezTo>
                  <a:cubicBezTo>
                    <a:pt x="33" y="43"/>
                    <a:pt x="29" y="41"/>
                    <a:pt x="24" y="41"/>
                  </a:cubicBezTo>
                  <a:cubicBezTo>
                    <a:pt x="19" y="41"/>
                    <a:pt x="15" y="44"/>
                    <a:pt x="12" y="46"/>
                  </a:cubicBezTo>
                  <a:cubicBezTo>
                    <a:pt x="12" y="8"/>
                    <a:pt x="12" y="8"/>
                    <a:pt x="12" y="8"/>
                  </a:cubicBezTo>
                  <a:cubicBezTo>
                    <a:pt x="15" y="6"/>
                    <a:pt x="19" y="4"/>
                    <a:pt x="24" y="4"/>
                  </a:cubicBezTo>
                  <a:cubicBezTo>
                    <a:pt x="29" y="4"/>
                    <a:pt x="33" y="5"/>
                    <a:pt x="36" y="7"/>
                  </a:cubicBezTo>
                  <a:cubicBezTo>
                    <a:pt x="39" y="9"/>
                    <a:pt x="43" y="11"/>
                    <a:pt x="48" y="11"/>
                  </a:cubicBezTo>
                  <a:close/>
                  <a:moveTo>
                    <a:pt x="4" y="0"/>
                  </a:moveTo>
                  <a:cubicBezTo>
                    <a:pt x="6" y="0"/>
                    <a:pt x="8" y="1"/>
                    <a:pt x="8" y="4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0" y="1"/>
                    <a:pt x="1" y="0"/>
                    <a:pt x="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DE8F4550-957D-4B57-B220-EFF43BC6FD3F}"/>
                </a:ext>
              </a:extLst>
            </p:cNvPr>
            <p:cNvSpPr/>
            <p:nvPr/>
          </p:nvSpPr>
          <p:spPr bwMode="auto">
            <a:xfrm>
              <a:off x="10575792" y="1424564"/>
              <a:ext cx="203562" cy="207478"/>
            </a:xfrm>
            <a:custGeom>
              <a:avLst/>
              <a:gdLst>
                <a:gd name="T0" fmla="*/ 54 w 64"/>
                <a:gd name="T1" fmla="*/ 0 h 65"/>
                <a:gd name="T2" fmla="*/ 44 w 64"/>
                <a:gd name="T3" fmla="*/ 11 h 65"/>
                <a:gd name="T4" fmla="*/ 44 w 64"/>
                <a:gd name="T5" fmla="*/ 41 h 65"/>
                <a:gd name="T6" fmla="*/ 52 w 64"/>
                <a:gd name="T7" fmla="*/ 41 h 65"/>
                <a:gd name="T8" fmla="*/ 52 w 64"/>
                <a:gd name="T9" fmla="*/ 65 h 65"/>
                <a:gd name="T10" fmla="*/ 64 w 64"/>
                <a:gd name="T11" fmla="*/ 65 h 65"/>
                <a:gd name="T12" fmla="*/ 64 w 64"/>
                <a:gd name="T13" fmla="*/ 11 h 65"/>
                <a:gd name="T14" fmla="*/ 54 w 64"/>
                <a:gd name="T15" fmla="*/ 0 h 65"/>
                <a:gd name="T16" fmla="*/ 26 w 64"/>
                <a:gd name="T17" fmla="*/ 0 h 65"/>
                <a:gd name="T18" fmla="*/ 24 w 64"/>
                <a:gd name="T19" fmla="*/ 2 h 65"/>
                <a:gd name="T20" fmla="*/ 24 w 64"/>
                <a:gd name="T21" fmla="*/ 17 h 65"/>
                <a:gd name="T22" fmla="*/ 22 w 64"/>
                <a:gd name="T23" fmla="*/ 18 h 65"/>
                <a:gd name="T24" fmla="*/ 20 w 64"/>
                <a:gd name="T25" fmla="*/ 17 h 65"/>
                <a:gd name="T26" fmla="*/ 20 w 64"/>
                <a:gd name="T27" fmla="*/ 2 h 65"/>
                <a:gd name="T28" fmla="*/ 18 w 64"/>
                <a:gd name="T29" fmla="*/ 0 h 65"/>
                <a:gd name="T30" fmla="*/ 16 w 64"/>
                <a:gd name="T31" fmla="*/ 2 h 65"/>
                <a:gd name="T32" fmla="*/ 16 w 64"/>
                <a:gd name="T33" fmla="*/ 17 h 65"/>
                <a:gd name="T34" fmla="*/ 14 w 64"/>
                <a:gd name="T35" fmla="*/ 18 h 65"/>
                <a:gd name="T36" fmla="*/ 12 w 64"/>
                <a:gd name="T37" fmla="*/ 17 h 65"/>
                <a:gd name="T38" fmla="*/ 12 w 64"/>
                <a:gd name="T39" fmla="*/ 2 h 65"/>
                <a:gd name="T40" fmla="*/ 10 w 64"/>
                <a:gd name="T41" fmla="*/ 0 h 65"/>
                <a:gd name="T42" fmla="*/ 8 w 64"/>
                <a:gd name="T43" fmla="*/ 2 h 65"/>
                <a:gd name="T44" fmla="*/ 8 w 64"/>
                <a:gd name="T45" fmla="*/ 17 h 65"/>
                <a:gd name="T46" fmla="*/ 6 w 64"/>
                <a:gd name="T47" fmla="*/ 18 h 65"/>
                <a:gd name="T48" fmla="*/ 4 w 64"/>
                <a:gd name="T49" fmla="*/ 17 h 65"/>
                <a:gd name="T50" fmla="*/ 4 w 64"/>
                <a:gd name="T51" fmla="*/ 2 h 65"/>
                <a:gd name="T52" fmla="*/ 2 w 64"/>
                <a:gd name="T53" fmla="*/ 0 h 65"/>
                <a:gd name="T54" fmla="*/ 0 w 64"/>
                <a:gd name="T55" fmla="*/ 2 h 65"/>
                <a:gd name="T56" fmla="*/ 0 w 64"/>
                <a:gd name="T57" fmla="*/ 17 h 65"/>
                <a:gd name="T58" fmla="*/ 0 w 64"/>
                <a:gd name="T59" fmla="*/ 21 h 65"/>
                <a:gd name="T60" fmla="*/ 3 w 64"/>
                <a:gd name="T61" fmla="*/ 25 h 65"/>
                <a:gd name="T62" fmla="*/ 8 w 64"/>
                <a:gd name="T63" fmla="*/ 33 h 65"/>
                <a:gd name="T64" fmla="*/ 8 w 64"/>
                <a:gd name="T65" fmla="*/ 65 h 65"/>
                <a:gd name="T66" fmla="*/ 20 w 64"/>
                <a:gd name="T67" fmla="*/ 65 h 65"/>
                <a:gd name="T68" fmla="*/ 20 w 64"/>
                <a:gd name="T69" fmla="*/ 33 h 65"/>
                <a:gd name="T70" fmla="*/ 25 w 64"/>
                <a:gd name="T71" fmla="*/ 25 h 65"/>
                <a:gd name="T72" fmla="*/ 28 w 64"/>
                <a:gd name="T73" fmla="*/ 21 h 65"/>
                <a:gd name="T74" fmla="*/ 28 w 64"/>
                <a:gd name="T75" fmla="*/ 17 h 65"/>
                <a:gd name="T76" fmla="*/ 28 w 64"/>
                <a:gd name="T77" fmla="*/ 2 h 65"/>
                <a:gd name="T78" fmla="*/ 26 w 64"/>
                <a:gd name="T79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64" h="65">
                  <a:moveTo>
                    <a:pt x="54" y="0"/>
                  </a:moveTo>
                  <a:cubicBezTo>
                    <a:pt x="49" y="0"/>
                    <a:pt x="44" y="5"/>
                    <a:pt x="44" y="11"/>
                  </a:cubicBezTo>
                  <a:cubicBezTo>
                    <a:pt x="44" y="41"/>
                    <a:pt x="44" y="41"/>
                    <a:pt x="44" y="41"/>
                  </a:cubicBezTo>
                  <a:cubicBezTo>
                    <a:pt x="52" y="41"/>
                    <a:pt x="52" y="41"/>
                    <a:pt x="52" y="41"/>
                  </a:cubicBezTo>
                  <a:cubicBezTo>
                    <a:pt x="52" y="65"/>
                    <a:pt x="52" y="65"/>
                    <a:pt x="52" y="65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64" y="11"/>
                    <a:pt x="64" y="11"/>
                    <a:pt x="64" y="11"/>
                  </a:cubicBezTo>
                  <a:cubicBezTo>
                    <a:pt x="64" y="5"/>
                    <a:pt x="60" y="0"/>
                    <a:pt x="54" y="0"/>
                  </a:cubicBezTo>
                  <a:close/>
                  <a:moveTo>
                    <a:pt x="26" y="0"/>
                  </a:moveTo>
                  <a:cubicBezTo>
                    <a:pt x="25" y="0"/>
                    <a:pt x="24" y="1"/>
                    <a:pt x="24" y="2"/>
                  </a:cubicBezTo>
                  <a:cubicBezTo>
                    <a:pt x="24" y="17"/>
                    <a:pt x="24" y="17"/>
                    <a:pt x="24" y="17"/>
                  </a:cubicBezTo>
                  <a:cubicBezTo>
                    <a:pt x="24" y="17"/>
                    <a:pt x="23" y="18"/>
                    <a:pt x="22" y="18"/>
                  </a:cubicBezTo>
                  <a:cubicBezTo>
                    <a:pt x="21" y="18"/>
                    <a:pt x="20" y="17"/>
                    <a:pt x="20" y="17"/>
                  </a:cubicBezTo>
                  <a:cubicBezTo>
                    <a:pt x="20" y="2"/>
                    <a:pt x="20" y="2"/>
                    <a:pt x="20" y="2"/>
                  </a:cubicBezTo>
                  <a:cubicBezTo>
                    <a:pt x="20" y="1"/>
                    <a:pt x="19" y="0"/>
                    <a:pt x="18" y="0"/>
                  </a:cubicBezTo>
                  <a:cubicBezTo>
                    <a:pt x="17" y="0"/>
                    <a:pt x="16" y="1"/>
                    <a:pt x="16" y="2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5" y="18"/>
                    <a:pt x="14" y="18"/>
                  </a:cubicBezTo>
                  <a:cubicBezTo>
                    <a:pt x="13" y="18"/>
                    <a:pt x="12" y="17"/>
                    <a:pt x="12" y="17"/>
                  </a:cubicBezTo>
                  <a:cubicBezTo>
                    <a:pt x="12" y="2"/>
                    <a:pt x="12" y="2"/>
                    <a:pt x="12" y="2"/>
                  </a:cubicBezTo>
                  <a:cubicBezTo>
                    <a:pt x="12" y="1"/>
                    <a:pt x="11" y="0"/>
                    <a:pt x="10" y="0"/>
                  </a:cubicBezTo>
                  <a:cubicBezTo>
                    <a:pt x="9" y="0"/>
                    <a:pt x="8" y="1"/>
                    <a:pt x="8" y="2"/>
                  </a:cubicBezTo>
                  <a:cubicBezTo>
                    <a:pt x="8" y="17"/>
                    <a:pt x="8" y="17"/>
                    <a:pt x="8" y="17"/>
                  </a:cubicBezTo>
                  <a:cubicBezTo>
                    <a:pt x="8" y="17"/>
                    <a:pt x="7" y="18"/>
                    <a:pt x="6" y="18"/>
                  </a:cubicBezTo>
                  <a:cubicBezTo>
                    <a:pt x="5" y="18"/>
                    <a:pt x="4" y="17"/>
                    <a:pt x="4" y="17"/>
                  </a:cubicBezTo>
                  <a:cubicBezTo>
                    <a:pt x="4" y="2"/>
                    <a:pt x="4" y="2"/>
                    <a:pt x="4" y="2"/>
                  </a:cubicBezTo>
                  <a:cubicBezTo>
                    <a:pt x="4" y="1"/>
                    <a:pt x="3" y="0"/>
                    <a:pt x="2" y="0"/>
                  </a:cubicBezTo>
                  <a:cubicBezTo>
                    <a:pt x="0" y="0"/>
                    <a:pt x="0" y="1"/>
                    <a:pt x="0" y="2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2"/>
                    <a:pt x="1" y="23"/>
                    <a:pt x="3" y="25"/>
                  </a:cubicBezTo>
                  <a:cubicBezTo>
                    <a:pt x="5" y="26"/>
                    <a:pt x="8" y="28"/>
                    <a:pt x="8" y="33"/>
                  </a:cubicBezTo>
                  <a:cubicBezTo>
                    <a:pt x="8" y="65"/>
                    <a:pt x="8" y="65"/>
                    <a:pt x="8" y="65"/>
                  </a:cubicBezTo>
                  <a:cubicBezTo>
                    <a:pt x="20" y="65"/>
                    <a:pt x="20" y="65"/>
                    <a:pt x="20" y="65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20" y="28"/>
                    <a:pt x="22" y="26"/>
                    <a:pt x="25" y="25"/>
                  </a:cubicBezTo>
                  <a:cubicBezTo>
                    <a:pt x="26" y="23"/>
                    <a:pt x="28" y="22"/>
                    <a:pt x="28" y="21"/>
                  </a:cubicBezTo>
                  <a:cubicBezTo>
                    <a:pt x="28" y="17"/>
                    <a:pt x="28" y="17"/>
                    <a:pt x="28" y="17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B197ACE2-6189-4A0B-B582-6E671FDD498B}"/>
                </a:ext>
              </a:extLst>
            </p:cNvPr>
            <p:cNvSpPr/>
            <p:nvPr/>
          </p:nvSpPr>
          <p:spPr bwMode="auto">
            <a:xfrm>
              <a:off x="10977046" y="3327092"/>
              <a:ext cx="236837" cy="266198"/>
            </a:xfrm>
            <a:custGeom>
              <a:avLst/>
              <a:gdLst>
                <a:gd name="T0" fmla="*/ 58 w 74"/>
                <a:gd name="T1" fmla="*/ 25 h 83"/>
                <a:gd name="T2" fmla="*/ 63 w 74"/>
                <a:gd name="T3" fmla="*/ 22 h 83"/>
                <a:gd name="T4" fmla="*/ 68 w 74"/>
                <a:gd name="T5" fmla="*/ 12 h 83"/>
                <a:gd name="T6" fmla="*/ 65 w 74"/>
                <a:gd name="T7" fmla="*/ 3 h 83"/>
                <a:gd name="T8" fmla="*/ 58 w 74"/>
                <a:gd name="T9" fmla="*/ 0 h 83"/>
                <a:gd name="T10" fmla="*/ 46 w 74"/>
                <a:gd name="T11" fmla="*/ 6 h 83"/>
                <a:gd name="T12" fmla="*/ 36 w 74"/>
                <a:gd name="T13" fmla="*/ 24 h 83"/>
                <a:gd name="T14" fmla="*/ 27 w 74"/>
                <a:gd name="T15" fmla="*/ 6 h 83"/>
                <a:gd name="T16" fmla="*/ 18 w 74"/>
                <a:gd name="T17" fmla="*/ 2 h 83"/>
                <a:gd name="T18" fmla="*/ 11 w 74"/>
                <a:gd name="T19" fmla="*/ 5 h 83"/>
                <a:gd name="T20" fmla="*/ 12 w 74"/>
                <a:gd name="T21" fmla="*/ 21 h 83"/>
                <a:gd name="T22" fmla="*/ 18 w 74"/>
                <a:gd name="T23" fmla="*/ 25 h 83"/>
                <a:gd name="T24" fmla="*/ 0 w 74"/>
                <a:gd name="T25" fmla="*/ 25 h 83"/>
                <a:gd name="T26" fmla="*/ 0 w 74"/>
                <a:gd name="T27" fmla="*/ 47 h 83"/>
                <a:gd name="T28" fmla="*/ 6 w 74"/>
                <a:gd name="T29" fmla="*/ 47 h 83"/>
                <a:gd name="T30" fmla="*/ 6 w 74"/>
                <a:gd name="T31" fmla="*/ 83 h 83"/>
                <a:gd name="T32" fmla="*/ 69 w 74"/>
                <a:gd name="T33" fmla="*/ 83 h 83"/>
                <a:gd name="T34" fmla="*/ 69 w 74"/>
                <a:gd name="T35" fmla="*/ 47 h 83"/>
                <a:gd name="T36" fmla="*/ 74 w 74"/>
                <a:gd name="T37" fmla="*/ 47 h 83"/>
                <a:gd name="T38" fmla="*/ 74 w 74"/>
                <a:gd name="T39" fmla="*/ 25 h 83"/>
                <a:gd name="T40" fmla="*/ 58 w 74"/>
                <a:gd name="T41" fmla="*/ 25 h 83"/>
                <a:gd name="T42" fmla="*/ 50 w 74"/>
                <a:gd name="T43" fmla="*/ 10 h 83"/>
                <a:gd name="T44" fmla="*/ 58 w 74"/>
                <a:gd name="T45" fmla="*/ 6 h 83"/>
                <a:gd name="T46" fmla="*/ 61 w 74"/>
                <a:gd name="T47" fmla="*/ 7 h 83"/>
                <a:gd name="T48" fmla="*/ 59 w 74"/>
                <a:gd name="T49" fmla="*/ 18 h 83"/>
                <a:gd name="T50" fmla="*/ 46 w 74"/>
                <a:gd name="T51" fmla="*/ 25 h 83"/>
                <a:gd name="T52" fmla="*/ 42 w 74"/>
                <a:gd name="T53" fmla="*/ 25 h 83"/>
                <a:gd name="T54" fmla="*/ 50 w 74"/>
                <a:gd name="T55" fmla="*/ 10 h 83"/>
                <a:gd name="T56" fmla="*/ 14 w 74"/>
                <a:gd name="T57" fmla="*/ 12 h 83"/>
                <a:gd name="T58" fmla="*/ 15 w 74"/>
                <a:gd name="T59" fmla="*/ 9 h 83"/>
                <a:gd name="T60" fmla="*/ 18 w 74"/>
                <a:gd name="T61" fmla="*/ 8 h 83"/>
                <a:gd name="T62" fmla="*/ 18 w 74"/>
                <a:gd name="T63" fmla="*/ 8 h 83"/>
                <a:gd name="T64" fmla="*/ 23 w 74"/>
                <a:gd name="T65" fmla="*/ 10 h 83"/>
                <a:gd name="T66" fmla="*/ 30 w 74"/>
                <a:gd name="T67" fmla="*/ 23 h 83"/>
                <a:gd name="T68" fmla="*/ 30 w 74"/>
                <a:gd name="T69" fmla="*/ 24 h 83"/>
                <a:gd name="T70" fmla="*/ 29 w 74"/>
                <a:gd name="T71" fmla="*/ 24 h 83"/>
                <a:gd name="T72" fmla="*/ 17 w 74"/>
                <a:gd name="T73" fmla="*/ 17 h 83"/>
                <a:gd name="T74" fmla="*/ 14 w 74"/>
                <a:gd name="T75" fmla="*/ 12 h 83"/>
                <a:gd name="T76" fmla="*/ 32 w 74"/>
                <a:gd name="T77" fmla="*/ 78 h 83"/>
                <a:gd name="T78" fmla="*/ 11 w 74"/>
                <a:gd name="T79" fmla="*/ 78 h 83"/>
                <a:gd name="T80" fmla="*/ 11 w 74"/>
                <a:gd name="T81" fmla="*/ 44 h 83"/>
                <a:gd name="T82" fmla="*/ 32 w 74"/>
                <a:gd name="T83" fmla="*/ 44 h 83"/>
                <a:gd name="T84" fmla="*/ 32 w 74"/>
                <a:gd name="T85" fmla="*/ 78 h 83"/>
                <a:gd name="T86" fmla="*/ 32 w 74"/>
                <a:gd name="T87" fmla="*/ 41 h 83"/>
                <a:gd name="T88" fmla="*/ 6 w 74"/>
                <a:gd name="T89" fmla="*/ 41 h 83"/>
                <a:gd name="T90" fmla="*/ 6 w 74"/>
                <a:gd name="T91" fmla="*/ 31 h 83"/>
                <a:gd name="T92" fmla="*/ 32 w 74"/>
                <a:gd name="T93" fmla="*/ 31 h 83"/>
                <a:gd name="T94" fmla="*/ 32 w 74"/>
                <a:gd name="T95" fmla="*/ 41 h 83"/>
                <a:gd name="T96" fmla="*/ 63 w 74"/>
                <a:gd name="T97" fmla="*/ 78 h 83"/>
                <a:gd name="T98" fmla="*/ 42 w 74"/>
                <a:gd name="T99" fmla="*/ 78 h 83"/>
                <a:gd name="T100" fmla="*/ 42 w 74"/>
                <a:gd name="T101" fmla="*/ 44 h 83"/>
                <a:gd name="T102" fmla="*/ 63 w 74"/>
                <a:gd name="T103" fmla="*/ 44 h 83"/>
                <a:gd name="T104" fmla="*/ 63 w 74"/>
                <a:gd name="T105" fmla="*/ 78 h 83"/>
                <a:gd name="T106" fmla="*/ 69 w 74"/>
                <a:gd name="T107" fmla="*/ 41 h 83"/>
                <a:gd name="T108" fmla="*/ 42 w 74"/>
                <a:gd name="T109" fmla="*/ 41 h 83"/>
                <a:gd name="T110" fmla="*/ 42 w 74"/>
                <a:gd name="T111" fmla="*/ 31 h 83"/>
                <a:gd name="T112" fmla="*/ 69 w 74"/>
                <a:gd name="T113" fmla="*/ 31 h 83"/>
                <a:gd name="T114" fmla="*/ 69 w 74"/>
                <a:gd name="T115" fmla="*/ 41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74" h="83">
                  <a:moveTo>
                    <a:pt x="58" y="25"/>
                  </a:moveTo>
                  <a:cubicBezTo>
                    <a:pt x="60" y="24"/>
                    <a:pt x="61" y="23"/>
                    <a:pt x="63" y="22"/>
                  </a:cubicBezTo>
                  <a:cubicBezTo>
                    <a:pt x="65" y="19"/>
                    <a:pt x="67" y="16"/>
                    <a:pt x="68" y="12"/>
                  </a:cubicBezTo>
                  <a:cubicBezTo>
                    <a:pt x="69" y="9"/>
                    <a:pt x="68" y="5"/>
                    <a:pt x="65" y="3"/>
                  </a:cubicBezTo>
                  <a:cubicBezTo>
                    <a:pt x="63" y="1"/>
                    <a:pt x="61" y="0"/>
                    <a:pt x="58" y="0"/>
                  </a:cubicBezTo>
                  <a:cubicBezTo>
                    <a:pt x="54" y="0"/>
                    <a:pt x="50" y="2"/>
                    <a:pt x="46" y="6"/>
                  </a:cubicBezTo>
                  <a:cubicBezTo>
                    <a:pt x="41" y="11"/>
                    <a:pt x="38" y="19"/>
                    <a:pt x="36" y="24"/>
                  </a:cubicBezTo>
                  <a:cubicBezTo>
                    <a:pt x="35" y="19"/>
                    <a:pt x="32" y="11"/>
                    <a:pt x="27" y="6"/>
                  </a:cubicBezTo>
                  <a:cubicBezTo>
                    <a:pt x="25" y="4"/>
                    <a:pt x="21" y="2"/>
                    <a:pt x="18" y="2"/>
                  </a:cubicBezTo>
                  <a:cubicBezTo>
                    <a:pt x="15" y="2"/>
                    <a:pt x="13" y="3"/>
                    <a:pt x="11" y="5"/>
                  </a:cubicBezTo>
                  <a:cubicBezTo>
                    <a:pt x="7" y="9"/>
                    <a:pt x="8" y="16"/>
                    <a:pt x="12" y="21"/>
                  </a:cubicBezTo>
                  <a:cubicBezTo>
                    <a:pt x="14" y="23"/>
                    <a:pt x="16" y="24"/>
                    <a:pt x="18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6" y="47"/>
                    <a:pt x="6" y="47"/>
                    <a:pt x="6" y="47"/>
                  </a:cubicBezTo>
                  <a:cubicBezTo>
                    <a:pt x="6" y="83"/>
                    <a:pt x="6" y="83"/>
                    <a:pt x="6" y="83"/>
                  </a:cubicBezTo>
                  <a:cubicBezTo>
                    <a:pt x="69" y="83"/>
                    <a:pt x="69" y="83"/>
                    <a:pt x="69" y="83"/>
                  </a:cubicBezTo>
                  <a:cubicBezTo>
                    <a:pt x="69" y="47"/>
                    <a:pt x="69" y="47"/>
                    <a:pt x="69" y="47"/>
                  </a:cubicBezTo>
                  <a:cubicBezTo>
                    <a:pt x="74" y="47"/>
                    <a:pt x="74" y="47"/>
                    <a:pt x="74" y="47"/>
                  </a:cubicBezTo>
                  <a:cubicBezTo>
                    <a:pt x="74" y="25"/>
                    <a:pt x="74" y="25"/>
                    <a:pt x="74" y="25"/>
                  </a:cubicBezTo>
                  <a:lnTo>
                    <a:pt x="58" y="25"/>
                  </a:lnTo>
                  <a:close/>
                  <a:moveTo>
                    <a:pt x="50" y="10"/>
                  </a:moveTo>
                  <a:cubicBezTo>
                    <a:pt x="53" y="7"/>
                    <a:pt x="56" y="6"/>
                    <a:pt x="58" y="6"/>
                  </a:cubicBezTo>
                  <a:cubicBezTo>
                    <a:pt x="59" y="6"/>
                    <a:pt x="60" y="6"/>
                    <a:pt x="61" y="7"/>
                  </a:cubicBezTo>
                  <a:cubicBezTo>
                    <a:pt x="63" y="9"/>
                    <a:pt x="62" y="14"/>
                    <a:pt x="59" y="18"/>
                  </a:cubicBezTo>
                  <a:cubicBezTo>
                    <a:pt x="55" y="21"/>
                    <a:pt x="50" y="24"/>
                    <a:pt x="46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3" y="21"/>
                    <a:pt x="46" y="14"/>
                    <a:pt x="50" y="10"/>
                  </a:cubicBezTo>
                  <a:close/>
                  <a:moveTo>
                    <a:pt x="14" y="12"/>
                  </a:moveTo>
                  <a:cubicBezTo>
                    <a:pt x="14" y="12"/>
                    <a:pt x="14" y="10"/>
                    <a:pt x="15" y="9"/>
                  </a:cubicBezTo>
                  <a:cubicBezTo>
                    <a:pt x="16" y="8"/>
                    <a:pt x="17" y="8"/>
                    <a:pt x="18" y="8"/>
                  </a:cubicBezTo>
                  <a:cubicBezTo>
                    <a:pt x="18" y="8"/>
                    <a:pt x="18" y="8"/>
                    <a:pt x="18" y="8"/>
                  </a:cubicBezTo>
                  <a:cubicBezTo>
                    <a:pt x="20" y="8"/>
                    <a:pt x="22" y="9"/>
                    <a:pt x="23" y="10"/>
                  </a:cubicBezTo>
                  <a:cubicBezTo>
                    <a:pt x="26" y="13"/>
                    <a:pt x="28" y="18"/>
                    <a:pt x="30" y="23"/>
                  </a:cubicBezTo>
                  <a:cubicBezTo>
                    <a:pt x="30" y="23"/>
                    <a:pt x="30" y="24"/>
                    <a:pt x="30" y="24"/>
                  </a:cubicBezTo>
                  <a:cubicBezTo>
                    <a:pt x="30" y="24"/>
                    <a:pt x="29" y="24"/>
                    <a:pt x="29" y="24"/>
                  </a:cubicBezTo>
                  <a:cubicBezTo>
                    <a:pt x="24" y="22"/>
                    <a:pt x="19" y="20"/>
                    <a:pt x="17" y="17"/>
                  </a:cubicBezTo>
                  <a:cubicBezTo>
                    <a:pt x="15" y="16"/>
                    <a:pt x="14" y="14"/>
                    <a:pt x="14" y="12"/>
                  </a:cubicBezTo>
                  <a:close/>
                  <a:moveTo>
                    <a:pt x="32" y="78"/>
                  </a:moveTo>
                  <a:cubicBezTo>
                    <a:pt x="11" y="78"/>
                    <a:pt x="11" y="78"/>
                    <a:pt x="11" y="78"/>
                  </a:cubicBezTo>
                  <a:cubicBezTo>
                    <a:pt x="11" y="44"/>
                    <a:pt x="11" y="44"/>
                    <a:pt x="11" y="44"/>
                  </a:cubicBezTo>
                  <a:cubicBezTo>
                    <a:pt x="32" y="44"/>
                    <a:pt x="32" y="44"/>
                    <a:pt x="32" y="44"/>
                  </a:cubicBezTo>
                  <a:lnTo>
                    <a:pt x="32" y="78"/>
                  </a:lnTo>
                  <a:close/>
                  <a:moveTo>
                    <a:pt x="32" y="41"/>
                  </a:moveTo>
                  <a:cubicBezTo>
                    <a:pt x="6" y="41"/>
                    <a:pt x="6" y="41"/>
                    <a:pt x="6" y="4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2" y="31"/>
                    <a:pt x="32" y="31"/>
                    <a:pt x="32" y="31"/>
                  </a:cubicBezTo>
                  <a:lnTo>
                    <a:pt x="32" y="41"/>
                  </a:lnTo>
                  <a:close/>
                  <a:moveTo>
                    <a:pt x="63" y="78"/>
                  </a:moveTo>
                  <a:cubicBezTo>
                    <a:pt x="42" y="78"/>
                    <a:pt x="42" y="78"/>
                    <a:pt x="42" y="78"/>
                  </a:cubicBezTo>
                  <a:cubicBezTo>
                    <a:pt x="42" y="44"/>
                    <a:pt x="42" y="44"/>
                    <a:pt x="42" y="44"/>
                  </a:cubicBezTo>
                  <a:cubicBezTo>
                    <a:pt x="63" y="44"/>
                    <a:pt x="63" y="44"/>
                    <a:pt x="63" y="44"/>
                  </a:cubicBezTo>
                  <a:lnTo>
                    <a:pt x="63" y="78"/>
                  </a:lnTo>
                  <a:close/>
                  <a:moveTo>
                    <a:pt x="69" y="41"/>
                  </a:moveTo>
                  <a:cubicBezTo>
                    <a:pt x="42" y="41"/>
                    <a:pt x="42" y="41"/>
                    <a:pt x="42" y="41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69" y="31"/>
                    <a:pt x="69" y="31"/>
                    <a:pt x="69" y="31"/>
                  </a:cubicBezTo>
                  <a:lnTo>
                    <a:pt x="69" y="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C2387776-29A3-47EA-A9F4-32BB43330244}"/>
                </a:ext>
              </a:extLst>
            </p:cNvPr>
            <p:cNvSpPr/>
            <p:nvPr/>
          </p:nvSpPr>
          <p:spPr bwMode="auto">
            <a:xfrm>
              <a:off x="10906582" y="4526937"/>
              <a:ext cx="246623" cy="201604"/>
            </a:xfrm>
            <a:custGeom>
              <a:avLst/>
              <a:gdLst>
                <a:gd name="T0" fmla="*/ 1 w 77"/>
                <a:gd name="T1" fmla="*/ 42 h 63"/>
                <a:gd name="T2" fmla="*/ 8 w 77"/>
                <a:gd name="T3" fmla="*/ 55 h 63"/>
                <a:gd name="T4" fmla="*/ 21 w 77"/>
                <a:gd name="T5" fmla="*/ 61 h 63"/>
                <a:gd name="T6" fmla="*/ 38 w 77"/>
                <a:gd name="T7" fmla="*/ 63 h 63"/>
                <a:gd name="T8" fmla="*/ 56 w 77"/>
                <a:gd name="T9" fmla="*/ 61 h 63"/>
                <a:gd name="T10" fmla="*/ 69 w 77"/>
                <a:gd name="T11" fmla="*/ 55 h 63"/>
                <a:gd name="T12" fmla="*/ 76 w 77"/>
                <a:gd name="T13" fmla="*/ 42 h 63"/>
                <a:gd name="T14" fmla="*/ 71 w 77"/>
                <a:gd name="T15" fmla="*/ 16 h 63"/>
                <a:gd name="T16" fmla="*/ 72 w 77"/>
                <a:gd name="T17" fmla="*/ 11 h 63"/>
                <a:gd name="T18" fmla="*/ 70 w 77"/>
                <a:gd name="T19" fmla="*/ 0 h 63"/>
                <a:gd name="T20" fmla="*/ 67 w 77"/>
                <a:gd name="T21" fmla="*/ 0 h 63"/>
                <a:gd name="T22" fmla="*/ 60 w 77"/>
                <a:gd name="T23" fmla="*/ 3 h 63"/>
                <a:gd name="T24" fmla="*/ 38 w 77"/>
                <a:gd name="T25" fmla="*/ 5 h 63"/>
                <a:gd name="T26" fmla="*/ 17 w 77"/>
                <a:gd name="T27" fmla="*/ 3 h 63"/>
                <a:gd name="T28" fmla="*/ 9 w 77"/>
                <a:gd name="T29" fmla="*/ 0 h 63"/>
                <a:gd name="T30" fmla="*/ 7 w 77"/>
                <a:gd name="T31" fmla="*/ 0 h 63"/>
                <a:gd name="T32" fmla="*/ 5 w 77"/>
                <a:gd name="T33" fmla="*/ 11 h 63"/>
                <a:gd name="T34" fmla="*/ 6 w 77"/>
                <a:gd name="T35" fmla="*/ 16 h 63"/>
                <a:gd name="T36" fmla="*/ 9 w 77"/>
                <a:gd name="T37" fmla="*/ 42 h 63"/>
                <a:gd name="T38" fmla="*/ 18 w 77"/>
                <a:gd name="T39" fmla="*/ 30 h 63"/>
                <a:gd name="T40" fmla="*/ 27 w 77"/>
                <a:gd name="T41" fmla="*/ 29 h 63"/>
                <a:gd name="T42" fmla="*/ 38 w 77"/>
                <a:gd name="T43" fmla="*/ 30 h 63"/>
                <a:gd name="T44" fmla="*/ 49 w 77"/>
                <a:gd name="T45" fmla="*/ 29 h 63"/>
                <a:gd name="T46" fmla="*/ 59 w 77"/>
                <a:gd name="T47" fmla="*/ 30 h 63"/>
                <a:gd name="T48" fmla="*/ 67 w 77"/>
                <a:gd name="T49" fmla="*/ 42 h 63"/>
                <a:gd name="T50" fmla="*/ 64 w 77"/>
                <a:gd name="T51" fmla="*/ 52 h 63"/>
                <a:gd name="T52" fmla="*/ 56 w 77"/>
                <a:gd name="T53" fmla="*/ 57 h 63"/>
                <a:gd name="T54" fmla="*/ 45 w 77"/>
                <a:gd name="T55" fmla="*/ 58 h 63"/>
                <a:gd name="T56" fmla="*/ 31 w 77"/>
                <a:gd name="T57" fmla="*/ 58 h 63"/>
                <a:gd name="T58" fmla="*/ 20 w 77"/>
                <a:gd name="T59" fmla="*/ 57 h 63"/>
                <a:gd name="T60" fmla="*/ 12 w 77"/>
                <a:gd name="T61" fmla="*/ 52 h 63"/>
                <a:gd name="T62" fmla="*/ 9 w 77"/>
                <a:gd name="T63" fmla="*/ 42 h 63"/>
                <a:gd name="T64" fmla="*/ 53 w 77"/>
                <a:gd name="T65" fmla="*/ 48 h 63"/>
                <a:gd name="T66" fmla="*/ 53 w 77"/>
                <a:gd name="T67" fmla="*/ 34 h 63"/>
                <a:gd name="T68" fmla="*/ 19 w 77"/>
                <a:gd name="T69" fmla="*/ 41 h 63"/>
                <a:gd name="T70" fmla="*/ 29 w 77"/>
                <a:gd name="T71" fmla="*/ 41 h 63"/>
                <a:gd name="T72" fmla="*/ 19 w 77"/>
                <a:gd name="T73" fmla="*/ 4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7" h="63">
                  <a:moveTo>
                    <a:pt x="0" y="33"/>
                  </a:moveTo>
                  <a:cubicBezTo>
                    <a:pt x="0" y="36"/>
                    <a:pt x="0" y="39"/>
                    <a:pt x="1" y="42"/>
                  </a:cubicBezTo>
                  <a:cubicBezTo>
                    <a:pt x="1" y="45"/>
                    <a:pt x="2" y="47"/>
                    <a:pt x="3" y="49"/>
                  </a:cubicBezTo>
                  <a:cubicBezTo>
                    <a:pt x="5" y="51"/>
                    <a:pt x="6" y="53"/>
                    <a:pt x="8" y="55"/>
                  </a:cubicBezTo>
                  <a:cubicBezTo>
                    <a:pt x="10" y="56"/>
                    <a:pt x="12" y="58"/>
                    <a:pt x="14" y="59"/>
                  </a:cubicBezTo>
                  <a:cubicBezTo>
                    <a:pt x="16" y="60"/>
                    <a:pt x="18" y="61"/>
                    <a:pt x="21" y="61"/>
                  </a:cubicBezTo>
                  <a:cubicBezTo>
                    <a:pt x="23" y="62"/>
                    <a:pt x="26" y="62"/>
                    <a:pt x="29" y="63"/>
                  </a:cubicBezTo>
                  <a:cubicBezTo>
                    <a:pt x="32" y="63"/>
                    <a:pt x="35" y="63"/>
                    <a:pt x="38" y="63"/>
                  </a:cubicBezTo>
                  <a:cubicBezTo>
                    <a:pt x="42" y="63"/>
                    <a:pt x="45" y="63"/>
                    <a:pt x="47" y="63"/>
                  </a:cubicBezTo>
                  <a:cubicBezTo>
                    <a:pt x="50" y="62"/>
                    <a:pt x="53" y="62"/>
                    <a:pt x="56" y="61"/>
                  </a:cubicBezTo>
                  <a:cubicBezTo>
                    <a:pt x="58" y="61"/>
                    <a:pt x="61" y="60"/>
                    <a:pt x="63" y="59"/>
                  </a:cubicBezTo>
                  <a:cubicBezTo>
                    <a:pt x="65" y="58"/>
                    <a:pt x="67" y="56"/>
                    <a:pt x="69" y="55"/>
                  </a:cubicBezTo>
                  <a:cubicBezTo>
                    <a:pt x="71" y="53"/>
                    <a:pt x="72" y="51"/>
                    <a:pt x="73" y="49"/>
                  </a:cubicBezTo>
                  <a:cubicBezTo>
                    <a:pt x="74" y="47"/>
                    <a:pt x="75" y="45"/>
                    <a:pt x="76" y="42"/>
                  </a:cubicBezTo>
                  <a:cubicBezTo>
                    <a:pt x="77" y="39"/>
                    <a:pt x="77" y="36"/>
                    <a:pt x="77" y="33"/>
                  </a:cubicBezTo>
                  <a:cubicBezTo>
                    <a:pt x="77" y="26"/>
                    <a:pt x="75" y="21"/>
                    <a:pt x="71" y="16"/>
                  </a:cubicBezTo>
                  <a:cubicBezTo>
                    <a:pt x="71" y="16"/>
                    <a:pt x="71" y="15"/>
                    <a:pt x="71" y="14"/>
                  </a:cubicBezTo>
                  <a:cubicBezTo>
                    <a:pt x="71" y="13"/>
                    <a:pt x="72" y="12"/>
                    <a:pt x="72" y="11"/>
                  </a:cubicBezTo>
                  <a:cubicBezTo>
                    <a:pt x="72" y="10"/>
                    <a:pt x="72" y="8"/>
                    <a:pt x="72" y="6"/>
                  </a:cubicBezTo>
                  <a:cubicBezTo>
                    <a:pt x="71" y="4"/>
                    <a:pt x="71" y="2"/>
                    <a:pt x="70" y="0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69" y="0"/>
                    <a:pt x="68" y="0"/>
                    <a:pt x="67" y="0"/>
                  </a:cubicBezTo>
                  <a:cubicBezTo>
                    <a:pt x="67" y="0"/>
                    <a:pt x="65" y="1"/>
                    <a:pt x="64" y="1"/>
                  </a:cubicBezTo>
                  <a:cubicBezTo>
                    <a:pt x="63" y="1"/>
                    <a:pt x="61" y="2"/>
                    <a:pt x="60" y="3"/>
                  </a:cubicBezTo>
                  <a:cubicBezTo>
                    <a:pt x="58" y="4"/>
                    <a:pt x="56" y="5"/>
                    <a:pt x="53" y="7"/>
                  </a:cubicBezTo>
                  <a:cubicBezTo>
                    <a:pt x="50" y="6"/>
                    <a:pt x="45" y="5"/>
                    <a:pt x="38" y="5"/>
                  </a:cubicBezTo>
                  <a:cubicBezTo>
                    <a:pt x="32" y="5"/>
                    <a:pt x="27" y="6"/>
                    <a:pt x="23" y="7"/>
                  </a:cubicBezTo>
                  <a:cubicBezTo>
                    <a:pt x="21" y="5"/>
                    <a:pt x="19" y="4"/>
                    <a:pt x="17" y="3"/>
                  </a:cubicBezTo>
                  <a:cubicBezTo>
                    <a:pt x="15" y="2"/>
                    <a:pt x="14" y="1"/>
                    <a:pt x="12" y="1"/>
                  </a:cubicBezTo>
                  <a:cubicBezTo>
                    <a:pt x="11" y="1"/>
                    <a:pt x="10" y="0"/>
                    <a:pt x="9" y="0"/>
                  </a:cubicBezTo>
                  <a:cubicBezTo>
                    <a:pt x="8" y="0"/>
                    <a:pt x="8" y="0"/>
                    <a:pt x="7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6" y="2"/>
                    <a:pt x="5" y="4"/>
                    <a:pt x="5" y="6"/>
                  </a:cubicBezTo>
                  <a:cubicBezTo>
                    <a:pt x="5" y="8"/>
                    <a:pt x="5" y="10"/>
                    <a:pt x="5" y="11"/>
                  </a:cubicBezTo>
                  <a:cubicBezTo>
                    <a:pt x="5" y="12"/>
                    <a:pt x="5" y="13"/>
                    <a:pt x="5" y="14"/>
                  </a:cubicBezTo>
                  <a:cubicBezTo>
                    <a:pt x="6" y="15"/>
                    <a:pt x="6" y="16"/>
                    <a:pt x="6" y="16"/>
                  </a:cubicBezTo>
                  <a:cubicBezTo>
                    <a:pt x="2" y="21"/>
                    <a:pt x="0" y="26"/>
                    <a:pt x="0" y="33"/>
                  </a:cubicBezTo>
                  <a:close/>
                  <a:moveTo>
                    <a:pt x="9" y="42"/>
                  </a:moveTo>
                  <a:cubicBezTo>
                    <a:pt x="9" y="38"/>
                    <a:pt x="11" y="35"/>
                    <a:pt x="14" y="32"/>
                  </a:cubicBezTo>
                  <a:cubicBezTo>
                    <a:pt x="15" y="31"/>
                    <a:pt x="16" y="30"/>
                    <a:pt x="18" y="30"/>
                  </a:cubicBezTo>
                  <a:cubicBezTo>
                    <a:pt x="19" y="30"/>
                    <a:pt x="20" y="29"/>
                    <a:pt x="22" y="29"/>
                  </a:cubicBezTo>
                  <a:cubicBezTo>
                    <a:pt x="24" y="29"/>
                    <a:pt x="25" y="29"/>
                    <a:pt x="27" y="29"/>
                  </a:cubicBezTo>
                  <a:cubicBezTo>
                    <a:pt x="28" y="29"/>
                    <a:pt x="30" y="29"/>
                    <a:pt x="32" y="30"/>
                  </a:cubicBezTo>
                  <a:cubicBezTo>
                    <a:pt x="35" y="30"/>
                    <a:pt x="36" y="30"/>
                    <a:pt x="38" y="30"/>
                  </a:cubicBezTo>
                  <a:cubicBezTo>
                    <a:pt x="40" y="30"/>
                    <a:pt x="42" y="30"/>
                    <a:pt x="44" y="30"/>
                  </a:cubicBezTo>
                  <a:cubicBezTo>
                    <a:pt x="46" y="29"/>
                    <a:pt x="48" y="29"/>
                    <a:pt x="49" y="29"/>
                  </a:cubicBezTo>
                  <a:cubicBezTo>
                    <a:pt x="51" y="29"/>
                    <a:pt x="52" y="29"/>
                    <a:pt x="54" y="29"/>
                  </a:cubicBezTo>
                  <a:cubicBezTo>
                    <a:pt x="56" y="29"/>
                    <a:pt x="57" y="30"/>
                    <a:pt x="59" y="30"/>
                  </a:cubicBezTo>
                  <a:cubicBezTo>
                    <a:pt x="60" y="30"/>
                    <a:pt x="61" y="31"/>
                    <a:pt x="62" y="32"/>
                  </a:cubicBezTo>
                  <a:cubicBezTo>
                    <a:pt x="65" y="35"/>
                    <a:pt x="67" y="38"/>
                    <a:pt x="67" y="42"/>
                  </a:cubicBezTo>
                  <a:cubicBezTo>
                    <a:pt x="67" y="44"/>
                    <a:pt x="67" y="46"/>
                    <a:pt x="66" y="48"/>
                  </a:cubicBezTo>
                  <a:cubicBezTo>
                    <a:pt x="66" y="49"/>
                    <a:pt x="65" y="51"/>
                    <a:pt x="64" y="52"/>
                  </a:cubicBezTo>
                  <a:cubicBezTo>
                    <a:pt x="63" y="53"/>
                    <a:pt x="62" y="54"/>
                    <a:pt x="61" y="55"/>
                  </a:cubicBezTo>
                  <a:cubicBezTo>
                    <a:pt x="59" y="56"/>
                    <a:pt x="58" y="56"/>
                    <a:pt x="56" y="57"/>
                  </a:cubicBezTo>
                  <a:cubicBezTo>
                    <a:pt x="55" y="57"/>
                    <a:pt x="53" y="57"/>
                    <a:pt x="51" y="58"/>
                  </a:cubicBezTo>
                  <a:cubicBezTo>
                    <a:pt x="48" y="58"/>
                    <a:pt x="46" y="58"/>
                    <a:pt x="45" y="58"/>
                  </a:cubicBezTo>
                  <a:cubicBezTo>
                    <a:pt x="43" y="58"/>
                    <a:pt x="41" y="58"/>
                    <a:pt x="38" y="58"/>
                  </a:cubicBezTo>
                  <a:cubicBezTo>
                    <a:pt x="35" y="58"/>
                    <a:pt x="33" y="58"/>
                    <a:pt x="31" y="58"/>
                  </a:cubicBezTo>
                  <a:cubicBezTo>
                    <a:pt x="30" y="58"/>
                    <a:pt x="28" y="58"/>
                    <a:pt x="25" y="58"/>
                  </a:cubicBezTo>
                  <a:cubicBezTo>
                    <a:pt x="23" y="57"/>
                    <a:pt x="21" y="57"/>
                    <a:pt x="20" y="57"/>
                  </a:cubicBezTo>
                  <a:cubicBezTo>
                    <a:pt x="19" y="56"/>
                    <a:pt x="17" y="56"/>
                    <a:pt x="16" y="55"/>
                  </a:cubicBezTo>
                  <a:cubicBezTo>
                    <a:pt x="14" y="54"/>
                    <a:pt x="13" y="53"/>
                    <a:pt x="12" y="52"/>
                  </a:cubicBezTo>
                  <a:cubicBezTo>
                    <a:pt x="11" y="51"/>
                    <a:pt x="11" y="49"/>
                    <a:pt x="10" y="48"/>
                  </a:cubicBezTo>
                  <a:cubicBezTo>
                    <a:pt x="9" y="46"/>
                    <a:pt x="9" y="44"/>
                    <a:pt x="9" y="42"/>
                  </a:cubicBezTo>
                  <a:close/>
                  <a:moveTo>
                    <a:pt x="48" y="41"/>
                  </a:moveTo>
                  <a:cubicBezTo>
                    <a:pt x="48" y="45"/>
                    <a:pt x="50" y="48"/>
                    <a:pt x="53" y="48"/>
                  </a:cubicBezTo>
                  <a:cubicBezTo>
                    <a:pt x="55" y="48"/>
                    <a:pt x="58" y="45"/>
                    <a:pt x="58" y="41"/>
                  </a:cubicBezTo>
                  <a:cubicBezTo>
                    <a:pt x="58" y="37"/>
                    <a:pt x="55" y="34"/>
                    <a:pt x="53" y="34"/>
                  </a:cubicBezTo>
                  <a:cubicBezTo>
                    <a:pt x="50" y="34"/>
                    <a:pt x="48" y="37"/>
                    <a:pt x="48" y="41"/>
                  </a:cubicBezTo>
                  <a:close/>
                  <a:moveTo>
                    <a:pt x="19" y="41"/>
                  </a:moveTo>
                  <a:cubicBezTo>
                    <a:pt x="19" y="45"/>
                    <a:pt x="21" y="48"/>
                    <a:pt x="24" y="48"/>
                  </a:cubicBezTo>
                  <a:cubicBezTo>
                    <a:pt x="27" y="48"/>
                    <a:pt x="29" y="45"/>
                    <a:pt x="29" y="41"/>
                  </a:cubicBezTo>
                  <a:cubicBezTo>
                    <a:pt x="29" y="37"/>
                    <a:pt x="27" y="34"/>
                    <a:pt x="24" y="34"/>
                  </a:cubicBezTo>
                  <a:cubicBezTo>
                    <a:pt x="21" y="34"/>
                    <a:pt x="19" y="37"/>
                    <a:pt x="19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697336E8-EBCE-41B3-85F2-558D25DB65E3}"/>
                </a:ext>
              </a:extLst>
            </p:cNvPr>
            <p:cNvSpPr/>
            <p:nvPr/>
          </p:nvSpPr>
          <p:spPr bwMode="auto">
            <a:xfrm>
              <a:off x="10654085" y="1900196"/>
              <a:ext cx="401254" cy="401253"/>
            </a:xfrm>
            <a:custGeom>
              <a:avLst/>
              <a:gdLst>
                <a:gd name="T0" fmla="*/ 0 w 125"/>
                <a:gd name="T1" fmla="*/ 63 h 125"/>
                <a:gd name="T2" fmla="*/ 125 w 125"/>
                <a:gd name="T3" fmla="*/ 63 h 125"/>
                <a:gd name="T4" fmla="*/ 98 w 125"/>
                <a:gd name="T5" fmla="*/ 83 h 125"/>
                <a:gd name="T6" fmla="*/ 117 w 125"/>
                <a:gd name="T7" fmla="*/ 67 h 125"/>
                <a:gd name="T8" fmla="*/ 98 w 125"/>
                <a:gd name="T9" fmla="*/ 83 h 125"/>
                <a:gd name="T10" fmla="*/ 25 w 125"/>
                <a:gd name="T11" fmla="*/ 59 h 125"/>
                <a:gd name="T12" fmla="*/ 13 w 125"/>
                <a:gd name="T13" fmla="*/ 42 h 125"/>
                <a:gd name="T14" fmla="*/ 90 w 125"/>
                <a:gd name="T15" fmla="*/ 42 h 125"/>
                <a:gd name="T16" fmla="*/ 67 w 125"/>
                <a:gd name="T17" fmla="*/ 59 h 125"/>
                <a:gd name="T18" fmla="*/ 90 w 125"/>
                <a:gd name="T19" fmla="*/ 42 h 125"/>
                <a:gd name="T20" fmla="*/ 67 w 125"/>
                <a:gd name="T21" fmla="*/ 9 h 125"/>
                <a:gd name="T22" fmla="*/ 82 w 125"/>
                <a:gd name="T23" fmla="*/ 23 h 125"/>
                <a:gd name="T24" fmla="*/ 67 w 125"/>
                <a:gd name="T25" fmla="*/ 34 h 125"/>
                <a:gd name="T26" fmla="*/ 53 w 125"/>
                <a:gd name="T27" fmla="*/ 12 h 125"/>
                <a:gd name="T28" fmla="*/ 59 w 125"/>
                <a:gd name="T29" fmla="*/ 34 h 125"/>
                <a:gd name="T30" fmla="*/ 43 w 125"/>
                <a:gd name="T31" fmla="*/ 23 h 125"/>
                <a:gd name="T32" fmla="*/ 59 w 125"/>
                <a:gd name="T33" fmla="*/ 59 h 125"/>
                <a:gd name="T34" fmla="*/ 36 w 125"/>
                <a:gd name="T35" fmla="*/ 42 h 125"/>
                <a:gd name="T36" fmla="*/ 13 w 125"/>
                <a:gd name="T37" fmla="*/ 83 h 125"/>
                <a:gd name="T38" fmla="*/ 25 w 125"/>
                <a:gd name="T39" fmla="*/ 67 h 125"/>
                <a:gd name="T40" fmla="*/ 13 w 125"/>
                <a:gd name="T41" fmla="*/ 83 h 125"/>
                <a:gd name="T42" fmla="*/ 59 w 125"/>
                <a:gd name="T43" fmla="*/ 67 h 125"/>
                <a:gd name="T44" fmla="*/ 36 w 125"/>
                <a:gd name="T45" fmla="*/ 83 h 125"/>
                <a:gd name="T46" fmla="*/ 59 w 125"/>
                <a:gd name="T47" fmla="*/ 92 h 125"/>
                <a:gd name="T48" fmla="*/ 53 w 125"/>
                <a:gd name="T49" fmla="*/ 113 h 125"/>
                <a:gd name="T50" fmla="*/ 38 w 125"/>
                <a:gd name="T51" fmla="*/ 92 h 125"/>
                <a:gd name="T52" fmla="*/ 82 w 125"/>
                <a:gd name="T53" fmla="*/ 102 h 125"/>
                <a:gd name="T54" fmla="*/ 67 w 125"/>
                <a:gd name="T55" fmla="*/ 116 h 125"/>
                <a:gd name="T56" fmla="*/ 87 w 125"/>
                <a:gd name="T57" fmla="*/ 92 h 125"/>
                <a:gd name="T58" fmla="*/ 67 w 125"/>
                <a:gd name="T59" fmla="*/ 83 h 125"/>
                <a:gd name="T60" fmla="*/ 92 w 125"/>
                <a:gd name="T61" fmla="*/ 67 h 125"/>
                <a:gd name="T62" fmla="*/ 67 w 125"/>
                <a:gd name="T63" fmla="*/ 83 h 125"/>
                <a:gd name="T64" fmla="*/ 98 w 125"/>
                <a:gd name="T65" fmla="*/ 42 h 125"/>
                <a:gd name="T66" fmla="*/ 117 w 125"/>
                <a:gd name="T67" fmla="*/ 59 h 125"/>
                <a:gd name="T68" fmla="*/ 108 w 125"/>
                <a:gd name="T69" fmla="*/ 34 h 125"/>
                <a:gd name="T70" fmla="*/ 86 w 125"/>
                <a:gd name="T71" fmla="*/ 14 h 125"/>
                <a:gd name="T72" fmla="*/ 108 w 125"/>
                <a:gd name="T73" fmla="*/ 34 h 125"/>
                <a:gd name="T74" fmla="*/ 39 w 125"/>
                <a:gd name="T75" fmla="*/ 14 h 125"/>
                <a:gd name="T76" fmla="*/ 17 w 125"/>
                <a:gd name="T77" fmla="*/ 34 h 125"/>
                <a:gd name="T78" fmla="*/ 17 w 125"/>
                <a:gd name="T79" fmla="*/ 92 h 125"/>
                <a:gd name="T80" fmla="*/ 39 w 125"/>
                <a:gd name="T81" fmla="*/ 111 h 125"/>
                <a:gd name="T82" fmla="*/ 17 w 125"/>
                <a:gd name="T83" fmla="*/ 92 h 125"/>
                <a:gd name="T84" fmla="*/ 86 w 125"/>
                <a:gd name="T85" fmla="*/ 111 h 125"/>
                <a:gd name="T86" fmla="*/ 108 w 125"/>
                <a:gd name="T87" fmla="*/ 92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5" h="125">
                  <a:moveTo>
                    <a:pt x="63" y="0"/>
                  </a:moveTo>
                  <a:cubicBezTo>
                    <a:pt x="28" y="0"/>
                    <a:pt x="0" y="28"/>
                    <a:pt x="0" y="63"/>
                  </a:cubicBezTo>
                  <a:cubicBezTo>
                    <a:pt x="0" y="97"/>
                    <a:pt x="28" y="125"/>
                    <a:pt x="63" y="125"/>
                  </a:cubicBezTo>
                  <a:cubicBezTo>
                    <a:pt x="97" y="125"/>
                    <a:pt x="125" y="97"/>
                    <a:pt x="125" y="63"/>
                  </a:cubicBezTo>
                  <a:cubicBezTo>
                    <a:pt x="125" y="28"/>
                    <a:pt x="97" y="0"/>
                    <a:pt x="63" y="0"/>
                  </a:cubicBezTo>
                  <a:close/>
                  <a:moveTo>
                    <a:pt x="98" y="83"/>
                  </a:moveTo>
                  <a:cubicBezTo>
                    <a:pt x="99" y="78"/>
                    <a:pt x="100" y="73"/>
                    <a:pt x="100" y="67"/>
                  </a:cubicBezTo>
                  <a:cubicBezTo>
                    <a:pt x="117" y="67"/>
                    <a:pt x="117" y="67"/>
                    <a:pt x="117" y="67"/>
                  </a:cubicBezTo>
                  <a:cubicBezTo>
                    <a:pt x="116" y="73"/>
                    <a:pt x="115" y="78"/>
                    <a:pt x="113" y="83"/>
                  </a:cubicBezTo>
                  <a:lnTo>
                    <a:pt x="98" y="83"/>
                  </a:lnTo>
                  <a:close/>
                  <a:moveTo>
                    <a:pt x="27" y="42"/>
                  </a:moveTo>
                  <a:cubicBezTo>
                    <a:pt x="26" y="47"/>
                    <a:pt x="26" y="53"/>
                    <a:pt x="25" y="59"/>
                  </a:cubicBezTo>
                  <a:cubicBezTo>
                    <a:pt x="9" y="59"/>
                    <a:pt x="9" y="59"/>
                    <a:pt x="9" y="59"/>
                  </a:cubicBezTo>
                  <a:cubicBezTo>
                    <a:pt x="9" y="53"/>
                    <a:pt x="11" y="47"/>
                    <a:pt x="13" y="42"/>
                  </a:cubicBezTo>
                  <a:lnTo>
                    <a:pt x="27" y="42"/>
                  </a:lnTo>
                  <a:close/>
                  <a:moveTo>
                    <a:pt x="90" y="42"/>
                  </a:moveTo>
                  <a:cubicBezTo>
                    <a:pt x="91" y="47"/>
                    <a:pt x="92" y="53"/>
                    <a:pt x="92" y="59"/>
                  </a:cubicBezTo>
                  <a:cubicBezTo>
                    <a:pt x="67" y="59"/>
                    <a:pt x="67" y="59"/>
                    <a:pt x="67" y="59"/>
                  </a:cubicBezTo>
                  <a:cubicBezTo>
                    <a:pt x="67" y="42"/>
                    <a:pt x="67" y="42"/>
                    <a:pt x="67" y="42"/>
                  </a:cubicBezTo>
                  <a:lnTo>
                    <a:pt x="90" y="42"/>
                  </a:lnTo>
                  <a:close/>
                  <a:moveTo>
                    <a:pt x="67" y="34"/>
                  </a:moveTo>
                  <a:cubicBezTo>
                    <a:pt x="67" y="9"/>
                    <a:pt x="67" y="9"/>
                    <a:pt x="67" y="9"/>
                  </a:cubicBezTo>
                  <a:cubicBezTo>
                    <a:pt x="69" y="10"/>
                    <a:pt x="71" y="11"/>
                    <a:pt x="73" y="12"/>
                  </a:cubicBezTo>
                  <a:cubicBezTo>
                    <a:pt x="76" y="14"/>
                    <a:pt x="79" y="18"/>
                    <a:pt x="82" y="23"/>
                  </a:cubicBezTo>
                  <a:cubicBezTo>
                    <a:pt x="84" y="26"/>
                    <a:pt x="86" y="30"/>
                    <a:pt x="87" y="34"/>
                  </a:cubicBezTo>
                  <a:cubicBezTo>
                    <a:pt x="67" y="34"/>
                    <a:pt x="67" y="34"/>
                    <a:pt x="67" y="34"/>
                  </a:cubicBezTo>
                  <a:close/>
                  <a:moveTo>
                    <a:pt x="43" y="23"/>
                  </a:moveTo>
                  <a:cubicBezTo>
                    <a:pt x="46" y="18"/>
                    <a:pt x="50" y="14"/>
                    <a:pt x="53" y="12"/>
                  </a:cubicBezTo>
                  <a:cubicBezTo>
                    <a:pt x="55" y="11"/>
                    <a:pt x="57" y="10"/>
                    <a:pt x="59" y="9"/>
                  </a:cubicBezTo>
                  <a:cubicBezTo>
                    <a:pt x="59" y="34"/>
                    <a:pt x="59" y="34"/>
                    <a:pt x="59" y="34"/>
                  </a:cubicBezTo>
                  <a:cubicBezTo>
                    <a:pt x="38" y="34"/>
                    <a:pt x="38" y="34"/>
                    <a:pt x="38" y="34"/>
                  </a:cubicBezTo>
                  <a:cubicBezTo>
                    <a:pt x="40" y="30"/>
                    <a:pt x="41" y="26"/>
                    <a:pt x="43" y="23"/>
                  </a:cubicBezTo>
                  <a:close/>
                  <a:moveTo>
                    <a:pt x="59" y="42"/>
                  </a:moveTo>
                  <a:cubicBezTo>
                    <a:pt x="59" y="59"/>
                    <a:pt x="59" y="59"/>
                    <a:pt x="59" y="59"/>
                  </a:cubicBezTo>
                  <a:cubicBezTo>
                    <a:pt x="34" y="59"/>
                    <a:pt x="34" y="59"/>
                    <a:pt x="34" y="59"/>
                  </a:cubicBezTo>
                  <a:cubicBezTo>
                    <a:pt x="34" y="53"/>
                    <a:pt x="35" y="47"/>
                    <a:pt x="36" y="42"/>
                  </a:cubicBezTo>
                  <a:lnTo>
                    <a:pt x="59" y="42"/>
                  </a:lnTo>
                  <a:close/>
                  <a:moveTo>
                    <a:pt x="13" y="83"/>
                  </a:moveTo>
                  <a:cubicBezTo>
                    <a:pt x="11" y="78"/>
                    <a:pt x="9" y="73"/>
                    <a:pt x="9" y="67"/>
                  </a:cubicBezTo>
                  <a:cubicBezTo>
                    <a:pt x="25" y="67"/>
                    <a:pt x="25" y="67"/>
                    <a:pt x="25" y="67"/>
                  </a:cubicBezTo>
                  <a:cubicBezTo>
                    <a:pt x="26" y="73"/>
                    <a:pt x="26" y="78"/>
                    <a:pt x="27" y="83"/>
                  </a:cubicBezTo>
                  <a:lnTo>
                    <a:pt x="13" y="83"/>
                  </a:lnTo>
                  <a:close/>
                  <a:moveTo>
                    <a:pt x="34" y="67"/>
                  </a:moveTo>
                  <a:cubicBezTo>
                    <a:pt x="59" y="67"/>
                    <a:pt x="59" y="67"/>
                    <a:pt x="59" y="67"/>
                  </a:cubicBezTo>
                  <a:cubicBezTo>
                    <a:pt x="59" y="83"/>
                    <a:pt x="59" y="83"/>
                    <a:pt x="59" y="83"/>
                  </a:cubicBezTo>
                  <a:cubicBezTo>
                    <a:pt x="36" y="83"/>
                    <a:pt x="36" y="83"/>
                    <a:pt x="36" y="83"/>
                  </a:cubicBezTo>
                  <a:cubicBezTo>
                    <a:pt x="35" y="78"/>
                    <a:pt x="34" y="73"/>
                    <a:pt x="34" y="67"/>
                  </a:cubicBezTo>
                  <a:close/>
                  <a:moveTo>
                    <a:pt x="59" y="92"/>
                  </a:moveTo>
                  <a:cubicBezTo>
                    <a:pt x="59" y="116"/>
                    <a:pt x="59" y="116"/>
                    <a:pt x="59" y="116"/>
                  </a:cubicBezTo>
                  <a:cubicBezTo>
                    <a:pt x="57" y="116"/>
                    <a:pt x="55" y="115"/>
                    <a:pt x="53" y="113"/>
                  </a:cubicBezTo>
                  <a:cubicBezTo>
                    <a:pt x="50" y="111"/>
                    <a:pt x="46" y="107"/>
                    <a:pt x="43" y="102"/>
                  </a:cubicBezTo>
                  <a:cubicBezTo>
                    <a:pt x="41" y="99"/>
                    <a:pt x="40" y="96"/>
                    <a:pt x="38" y="92"/>
                  </a:cubicBezTo>
                  <a:cubicBezTo>
                    <a:pt x="59" y="92"/>
                    <a:pt x="59" y="92"/>
                    <a:pt x="59" y="92"/>
                  </a:cubicBezTo>
                  <a:close/>
                  <a:moveTo>
                    <a:pt x="82" y="102"/>
                  </a:moveTo>
                  <a:cubicBezTo>
                    <a:pt x="79" y="107"/>
                    <a:pt x="76" y="111"/>
                    <a:pt x="73" y="113"/>
                  </a:cubicBezTo>
                  <a:cubicBezTo>
                    <a:pt x="71" y="115"/>
                    <a:pt x="69" y="116"/>
                    <a:pt x="67" y="116"/>
                  </a:cubicBezTo>
                  <a:cubicBezTo>
                    <a:pt x="67" y="92"/>
                    <a:pt x="67" y="92"/>
                    <a:pt x="67" y="92"/>
                  </a:cubicBezTo>
                  <a:cubicBezTo>
                    <a:pt x="87" y="92"/>
                    <a:pt x="87" y="92"/>
                    <a:pt x="87" y="92"/>
                  </a:cubicBezTo>
                  <a:cubicBezTo>
                    <a:pt x="86" y="96"/>
                    <a:pt x="84" y="99"/>
                    <a:pt x="82" y="102"/>
                  </a:cubicBezTo>
                  <a:close/>
                  <a:moveTo>
                    <a:pt x="67" y="83"/>
                  </a:moveTo>
                  <a:cubicBezTo>
                    <a:pt x="67" y="67"/>
                    <a:pt x="67" y="67"/>
                    <a:pt x="67" y="67"/>
                  </a:cubicBezTo>
                  <a:cubicBezTo>
                    <a:pt x="92" y="67"/>
                    <a:pt x="92" y="67"/>
                    <a:pt x="92" y="67"/>
                  </a:cubicBezTo>
                  <a:cubicBezTo>
                    <a:pt x="92" y="73"/>
                    <a:pt x="91" y="78"/>
                    <a:pt x="90" y="83"/>
                  </a:cubicBezTo>
                  <a:lnTo>
                    <a:pt x="67" y="83"/>
                  </a:lnTo>
                  <a:close/>
                  <a:moveTo>
                    <a:pt x="100" y="59"/>
                  </a:moveTo>
                  <a:cubicBezTo>
                    <a:pt x="100" y="53"/>
                    <a:pt x="99" y="47"/>
                    <a:pt x="98" y="42"/>
                  </a:cubicBezTo>
                  <a:cubicBezTo>
                    <a:pt x="113" y="42"/>
                    <a:pt x="113" y="42"/>
                    <a:pt x="113" y="42"/>
                  </a:cubicBezTo>
                  <a:cubicBezTo>
                    <a:pt x="115" y="47"/>
                    <a:pt x="116" y="53"/>
                    <a:pt x="117" y="59"/>
                  </a:cubicBezTo>
                  <a:lnTo>
                    <a:pt x="100" y="59"/>
                  </a:lnTo>
                  <a:close/>
                  <a:moveTo>
                    <a:pt x="108" y="34"/>
                  </a:moveTo>
                  <a:cubicBezTo>
                    <a:pt x="96" y="34"/>
                    <a:pt x="96" y="34"/>
                    <a:pt x="96" y="34"/>
                  </a:cubicBezTo>
                  <a:cubicBezTo>
                    <a:pt x="93" y="26"/>
                    <a:pt x="90" y="19"/>
                    <a:pt x="86" y="14"/>
                  </a:cubicBezTo>
                  <a:cubicBezTo>
                    <a:pt x="92" y="17"/>
                    <a:pt x="97" y="20"/>
                    <a:pt x="101" y="24"/>
                  </a:cubicBezTo>
                  <a:cubicBezTo>
                    <a:pt x="104" y="27"/>
                    <a:pt x="106" y="30"/>
                    <a:pt x="108" y="34"/>
                  </a:cubicBezTo>
                  <a:close/>
                  <a:moveTo>
                    <a:pt x="25" y="24"/>
                  </a:moveTo>
                  <a:cubicBezTo>
                    <a:pt x="29" y="20"/>
                    <a:pt x="34" y="17"/>
                    <a:pt x="39" y="14"/>
                  </a:cubicBezTo>
                  <a:cubicBezTo>
                    <a:pt x="35" y="19"/>
                    <a:pt x="32" y="26"/>
                    <a:pt x="30" y="34"/>
                  </a:cubicBezTo>
                  <a:cubicBezTo>
                    <a:pt x="17" y="34"/>
                    <a:pt x="17" y="34"/>
                    <a:pt x="17" y="34"/>
                  </a:cubicBezTo>
                  <a:cubicBezTo>
                    <a:pt x="19" y="30"/>
                    <a:pt x="22" y="27"/>
                    <a:pt x="25" y="24"/>
                  </a:cubicBezTo>
                  <a:close/>
                  <a:moveTo>
                    <a:pt x="17" y="92"/>
                  </a:moveTo>
                  <a:cubicBezTo>
                    <a:pt x="30" y="92"/>
                    <a:pt x="30" y="92"/>
                    <a:pt x="30" y="92"/>
                  </a:cubicBezTo>
                  <a:cubicBezTo>
                    <a:pt x="32" y="99"/>
                    <a:pt x="35" y="106"/>
                    <a:pt x="39" y="111"/>
                  </a:cubicBezTo>
                  <a:cubicBezTo>
                    <a:pt x="34" y="109"/>
                    <a:pt x="29" y="105"/>
                    <a:pt x="25" y="101"/>
                  </a:cubicBezTo>
                  <a:cubicBezTo>
                    <a:pt x="22" y="98"/>
                    <a:pt x="19" y="95"/>
                    <a:pt x="17" y="92"/>
                  </a:cubicBezTo>
                  <a:close/>
                  <a:moveTo>
                    <a:pt x="101" y="101"/>
                  </a:moveTo>
                  <a:cubicBezTo>
                    <a:pt x="97" y="105"/>
                    <a:pt x="92" y="109"/>
                    <a:pt x="86" y="111"/>
                  </a:cubicBezTo>
                  <a:cubicBezTo>
                    <a:pt x="90" y="106"/>
                    <a:pt x="93" y="99"/>
                    <a:pt x="96" y="92"/>
                  </a:cubicBezTo>
                  <a:cubicBezTo>
                    <a:pt x="108" y="92"/>
                    <a:pt x="108" y="92"/>
                    <a:pt x="108" y="92"/>
                  </a:cubicBezTo>
                  <a:cubicBezTo>
                    <a:pt x="106" y="95"/>
                    <a:pt x="104" y="98"/>
                    <a:pt x="101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FFA79B3A-F3A1-4E33-8FC3-44CDCE037E85}"/>
                </a:ext>
              </a:extLst>
            </p:cNvPr>
            <p:cNvSpPr/>
            <p:nvPr/>
          </p:nvSpPr>
          <p:spPr bwMode="auto">
            <a:xfrm>
              <a:off x="10577751" y="1690762"/>
              <a:ext cx="189861" cy="187905"/>
            </a:xfrm>
            <a:custGeom>
              <a:avLst/>
              <a:gdLst>
                <a:gd name="T0" fmla="*/ 49 w 59"/>
                <a:gd name="T1" fmla="*/ 0 h 59"/>
                <a:gd name="T2" fmla="*/ 9 w 59"/>
                <a:gd name="T3" fmla="*/ 0 h 59"/>
                <a:gd name="T4" fmla="*/ 0 w 59"/>
                <a:gd name="T5" fmla="*/ 10 h 59"/>
                <a:gd name="T6" fmla="*/ 0 w 59"/>
                <a:gd name="T7" fmla="*/ 49 h 59"/>
                <a:gd name="T8" fmla="*/ 9 w 59"/>
                <a:gd name="T9" fmla="*/ 59 h 59"/>
                <a:gd name="T10" fmla="*/ 49 w 59"/>
                <a:gd name="T11" fmla="*/ 59 h 59"/>
                <a:gd name="T12" fmla="*/ 59 w 59"/>
                <a:gd name="T13" fmla="*/ 49 h 59"/>
                <a:gd name="T14" fmla="*/ 59 w 59"/>
                <a:gd name="T15" fmla="*/ 10 h 59"/>
                <a:gd name="T16" fmla="*/ 49 w 59"/>
                <a:gd name="T17" fmla="*/ 0 h 59"/>
                <a:gd name="T18" fmla="*/ 40 w 59"/>
                <a:gd name="T19" fmla="*/ 2 h 59"/>
                <a:gd name="T20" fmla="*/ 40 w 59"/>
                <a:gd name="T21" fmla="*/ 11 h 59"/>
                <a:gd name="T22" fmla="*/ 31 w 59"/>
                <a:gd name="T23" fmla="*/ 11 h 59"/>
                <a:gd name="T24" fmla="*/ 31 w 59"/>
                <a:gd name="T25" fmla="*/ 2 h 59"/>
                <a:gd name="T26" fmla="*/ 40 w 59"/>
                <a:gd name="T27" fmla="*/ 2 h 59"/>
                <a:gd name="T28" fmla="*/ 27 w 59"/>
                <a:gd name="T29" fmla="*/ 2 h 59"/>
                <a:gd name="T30" fmla="*/ 27 w 59"/>
                <a:gd name="T31" fmla="*/ 11 h 59"/>
                <a:gd name="T32" fmla="*/ 18 w 59"/>
                <a:gd name="T33" fmla="*/ 11 h 59"/>
                <a:gd name="T34" fmla="*/ 18 w 59"/>
                <a:gd name="T35" fmla="*/ 2 h 59"/>
                <a:gd name="T36" fmla="*/ 27 w 59"/>
                <a:gd name="T37" fmla="*/ 2 h 59"/>
                <a:gd name="T38" fmla="*/ 1 w 59"/>
                <a:gd name="T39" fmla="*/ 11 h 59"/>
                <a:gd name="T40" fmla="*/ 1 w 59"/>
                <a:gd name="T41" fmla="*/ 10 h 59"/>
                <a:gd name="T42" fmla="*/ 9 w 59"/>
                <a:gd name="T43" fmla="*/ 2 h 59"/>
                <a:gd name="T44" fmla="*/ 14 w 59"/>
                <a:gd name="T45" fmla="*/ 2 h 59"/>
                <a:gd name="T46" fmla="*/ 14 w 59"/>
                <a:gd name="T47" fmla="*/ 11 h 59"/>
                <a:gd name="T48" fmla="*/ 1 w 59"/>
                <a:gd name="T49" fmla="*/ 11 h 59"/>
                <a:gd name="T50" fmla="*/ 44 w 59"/>
                <a:gd name="T51" fmla="*/ 37 h 59"/>
                <a:gd name="T52" fmla="*/ 33 w 59"/>
                <a:gd name="T53" fmla="*/ 37 h 59"/>
                <a:gd name="T54" fmla="*/ 33 w 59"/>
                <a:gd name="T55" fmla="*/ 48 h 59"/>
                <a:gd name="T56" fmla="*/ 25 w 59"/>
                <a:gd name="T57" fmla="*/ 48 h 59"/>
                <a:gd name="T58" fmla="*/ 25 w 59"/>
                <a:gd name="T59" fmla="*/ 37 h 59"/>
                <a:gd name="T60" fmla="*/ 14 w 59"/>
                <a:gd name="T61" fmla="*/ 37 h 59"/>
                <a:gd name="T62" fmla="*/ 14 w 59"/>
                <a:gd name="T63" fmla="*/ 30 h 59"/>
                <a:gd name="T64" fmla="*/ 25 w 59"/>
                <a:gd name="T65" fmla="*/ 30 h 59"/>
                <a:gd name="T66" fmla="*/ 25 w 59"/>
                <a:gd name="T67" fmla="*/ 18 h 59"/>
                <a:gd name="T68" fmla="*/ 33 w 59"/>
                <a:gd name="T69" fmla="*/ 18 h 59"/>
                <a:gd name="T70" fmla="*/ 33 w 59"/>
                <a:gd name="T71" fmla="*/ 30 h 59"/>
                <a:gd name="T72" fmla="*/ 44 w 59"/>
                <a:gd name="T73" fmla="*/ 30 h 59"/>
                <a:gd name="T74" fmla="*/ 44 w 59"/>
                <a:gd name="T75" fmla="*/ 37 h 59"/>
                <a:gd name="T76" fmla="*/ 57 w 59"/>
                <a:gd name="T77" fmla="*/ 11 h 59"/>
                <a:gd name="T78" fmla="*/ 44 w 59"/>
                <a:gd name="T79" fmla="*/ 11 h 59"/>
                <a:gd name="T80" fmla="*/ 44 w 59"/>
                <a:gd name="T81" fmla="*/ 2 h 59"/>
                <a:gd name="T82" fmla="*/ 49 w 59"/>
                <a:gd name="T83" fmla="*/ 2 h 59"/>
                <a:gd name="T84" fmla="*/ 57 w 59"/>
                <a:gd name="T85" fmla="*/ 10 h 59"/>
                <a:gd name="T86" fmla="*/ 57 w 59"/>
                <a:gd name="T87" fmla="*/ 11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9" h="59">
                  <a:moveTo>
                    <a:pt x="49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10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55"/>
                    <a:pt x="4" y="59"/>
                    <a:pt x="9" y="59"/>
                  </a:cubicBezTo>
                  <a:cubicBezTo>
                    <a:pt x="49" y="59"/>
                    <a:pt x="49" y="59"/>
                    <a:pt x="49" y="59"/>
                  </a:cubicBezTo>
                  <a:cubicBezTo>
                    <a:pt x="54" y="59"/>
                    <a:pt x="59" y="55"/>
                    <a:pt x="59" y="49"/>
                  </a:cubicBezTo>
                  <a:cubicBezTo>
                    <a:pt x="59" y="10"/>
                    <a:pt x="59" y="10"/>
                    <a:pt x="59" y="10"/>
                  </a:cubicBezTo>
                  <a:cubicBezTo>
                    <a:pt x="59" y="4"/>
                    <a:pt x="54" y="0"/>
                    <a:pt x="49" y="0"/>
                  </a:cubicBezTo>
                  <a:close/>
                  <a:moveTo>
                    <a:pt x="40" y="2"/>
                  </a:moveTo>
                  <a:cubicBezTo>
                    <a:pt x="40" y="11"/>
                    <a:pt x="40" y="11"/>
                    <a:pt x="40" y="11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31" y="2"/>
                    <a:pt x="31" y="2"/>
                    <a:pt x="31" y="2"/>
                  </a:cubicBezTo>
                  <a:lnTo>
                    <a:pt x="40" y="2"/>
                  </a:lnTo>
                  <a:close/>
                  <a:moveTo>
                    <a:pt x="27" y="2"/>
                  </a:moveTo>
                  <a:cubicBezTo>
                    <a:pt x="27" y="11"/>
                    <a:pt x="27" y="11"/>
                    <a:pt x="27" y="11"/>
                  </a:cubicBezTo>
                  <a:cubicBezTo>
                    <a:pt x="18" y="11"/>
                    <a:pt x="18" y="11"/>
                    <a:pt x="18" y="11"/>
                  </a:cubicBezTo>
                  <a:cubicBezTo>
                    <a:pt x="18" y="2"/>
                    <a:pt x="18" y="2"/>
                    <a:pt x="18" y="2"/>
                  </a:cubicBezTo>
                  <a:lnTo>
                    <a:pt x="27" y="2"/>
                  </a:lnTo>
                  <a:close/>
                  <a:moveTo>
                    <a:pt x="1" y="11"/>
                  </a:moveTo>
                  <a:cubicBezTo>
                    <a:pt x="1" y="10"/>
                    <a:pt x="1" y="10"/>
                    <a:pt x="1" y="10"/>
                  </a:cubicBezTo>
                  <a:cubicBezTo>
                    <a:pt x="1" y="5"/>
                    <a:pt x="5" y="2"/>
                    <a:pt x="9" y="2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4" y="11"/>
                    <a:pt x="14" y="11"/>
                    <a:pt x="14" y="11"/>
                  </a:cubicBezTo>
                  <a:lnTo>
                    <a:pt x="1" y="11"/>
                  </a:lnTo>
                  <a:close/>
                  <a:moveTo>
                    <a:pt x="44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14" y="37"/>
                    <a:pt x="14" y="37"/>
                    <a:pt x="14" y="37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5" y="30"/>
                    <a:pt x="25" y="30"/>
                    <a:pt x="25" y="30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33" y="18"/>
                    <a:pt x="33" y="18"/>
                    <a:pt x="33" y="18"/>
                  </a:cubicBezTo>
                  <a:cubicBezTo>
                    <a:pt x="33" y="30"/>
                    <a:pt x="33" y="30"/>
                    <a:pt x="33" y="30"/>
                  </a:cubicBezTo>
                  <a:cubicBezTo>
                    <a:pt x="44" y="30"/>
                    <a:pt x="44" y="30"/>
                    <a:pt x="44" y="30"/>
                  </a:cubicBezTo>
                  <a:lnTo>
                    <a:pt x="44" y="37"/>
                  </a:lnTo>
                  <a:close/>
                  <a:moveTo>
                    <a:pt x="57" y="11"/>
                  </a:moveTo>
                  <a:cubicBezTo>
                    <a:pt x="44" y="11"/>
                    <a:pt x="44" y="11"/>
                    <a:pt x="44" y="11"/>
                  </a:cubicBezTo>
                  <a:cubicBezTo>
                    <a:pt x="44" y="2"/>
                    <a:pt x="44" y="2"/>
                    <a:pt x="44" y="2"/>
                  </a:cubicBezTo>
                  <a:cubicBezTo>
                    <a:pt x="49" y="2"/>
                    <a:pt x="49" y="2"/>
                    <a:pt x="49" y="2"/>
                  </a:cubicBezTo>
                  <a:cubicBezTo>
                    <a:pt x="53" y="2"/>
                    <a:pt x="57" y="5"/>
                    <a:pt x="57" y="10"/>
                  </a:cubicBezTo>
                  <a:lnTo>
                    <a:pt x="57" y="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2CD55501-6D55-4126-B70A-126111F20F80}"/>
                </a:ext>
              </a:extLst>
            </p:cNvPr>
            <p:cNvSpPr/>
            <p:nvPr/>
          </p:nvSpPr>
          <p:spPr bwMode="auto">
            <a:xfrm>
              <a:off x="10793056" y="1731865"/>
              <a:ext cx="176160" cy="137014"/>
            </a:xfrm>
            <a:custGeom>
              <a:avLst/>
              <a:gdLst>
                <a:gd name="T0" fmla="*/ 34 w 90"/>
                <a:gd name="T1" fmla="*/ 70 h 70"/>
                <a:gd name="T2" fmla="*/ 0 w 90"/>
                <a:gd name="T3" fmla="*/ 36 h 70"/>
                <a:gd name="T4" fmla="*/ 18 w 90"/>
                <a:gd name="T5" fmla="*/ 19 h 70"/>
                <a:gd name="T6" fmla="*/ 34 w 90"/>
                <a:gd name="T7" fmla="*/ 36 h 70"/>
                <a:gd name="T8" fmla="*/ 72 w 90"/>
                <a:gd name="T9" fmla="*/ 0 h 70"/>
                <a:gd name="T10" fmla="*/ 90 w 90"/>
                <a:gd name="T11" fmla="*/ 16 h 70"/>
                <a:gd name="T12" fmla="*/ 34 w 90"/>
                <a:gd name="T13" fmla="*/ 70 h 70"/>
                <a:gd name="T14" fmla="*/ 9 w 90"/>
                <a:gd name="T15" fmla="*/ 36 h 70"/>
                <a:gd name="T16" fmla="*/ 34 w 90"/>
                <a:gd name="T17" fmla="*/ 60 h 70"/>
                <a:gd name="T18" fmla="*/ 80 w 90"/>
                <a:gd name="T19" fmla="*/ 16 h 70"/>
                <a:gd name="T20" fmla="*/ 72 w 90"/>
                <a:gd name="T21" fmla="*/ 8 h 70"/>
                <a:gd name="T22" fmla="*/ 34 w 90"/>
                <a:gd name="T23" fmla="*/ 46 h 70"/>
                <a:gd name="T24" fmla="*/ 18 w 90"/>
                <a:gd name="T25" fmla="*/ 28 h 70"/>
                <a:gd name="T26" fmla="*/ 9 w 90"/>
                <a:gd name="T27" fmla="*/ 3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70">
                  <a:moveTo>
                    <a:pt x="34" y="70"/>
                  </a:moveTo>
                  <a:lnTo>
                    <a:pt x="0" y="36"/>
                  </a:lnTo>
                  <a:lnTo>
                    <a:pt x="18" y="19"/>
                  </a:lnTo>
                  <a:lnTo>
                    <a:pt x="34" y="36"/>
                  </a:lnTo>
                  <a:lnTo>
                    <a:pt x="72" y="0"/>
                  </a:lnTo>
                  <a:lnTo>
                    <a:pt x="90" y="16"/>
                  </a:lnTo>
                  <a:lnTo>
                    <a:pt x="34" y="70"/>
                  </a:lnTo>
                  <a:close/>
                  <a:moveTo>
                    <a:pt x="9" y="36"/>
                  </a:moveTo>
                  <a:lnTo>
                    <a:pt x="34" y="60"/>
                  </a:lnTo>
                  <a:lnTo>
                    <a:pt x="80" y="16"/>
                  </a:lnTo>
                  <a:lnTo>
                    <a:pt x="72" y="8"/>
                  </a:lnTo>
                  <a:lnTo>
                    <a:pt x="34" y="46"/>
                  </a:lnTo>
                  <a:lnTo>
                    <a:pt x="18" y="28"/>
                  </a:lnTo>
                  <a:lnTo>
                    <a:pt x="9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9014EC1E-1809-41AB-B1DA-22D5556D5ACD}"/>
                </a:ext>
              </a:extLst>
            </p:cNvPr>
            <p:cNvSpPr/>
            <p:nvPr/>
          </p:nvSpPr>
          <p:spPr bwMode="auto">
            <a:xfrm>
              <a:off x="10789142" y="4738329"/>
              <a:ext cx="252496" cy="258368"/>
            </a:xfrm>
            <a:custGeom>
              <a:avLst/>
              <a:gdLst>
                <a:gd name="T0" fmla="*/ 69 w 79"/>
                <a:gd name="T1" fmla="*/ 22 h 81"/>
                <a:gd name="T2" fmla="*/ 22 w 79"/>
                <a:gd name="T3" fmla="*/ 14 h 81"/>
                <a:gd name="T4" fmla="*/ 19 w 79"/>
                <a:gd name="T5" fmla="*/ 3 h 81"/>
                <a:gd name="T6" fmla="*/ 0 w 79"/>
                <a:gd name="T7" fmla="*/ 5 h 81"/>
                <a:gd name="T8" fmla="*/ 12 w 79"/>
                <a:gd name="T9" fmla="*/ 12 h 81"/>
                <a:gd name="T10" fmla="*/ 14 w 79"/>
                <a:gd name="T11" fmla="*/ 54 h 81"/>
                <a:gd name="T12" fmla="*/ 61 w 79"/>
                <a:gd name="T13" fmla="*/ 59 h 81"/>
                <a:gd name="T14" fmla="*/ 76 w 79"/>
                <a:gd name="T15" fmla="*/ 20 h 81"/>
                <a:gd name="T16" fmla="*/ 36 w 79"/>
                <a:gd name="T17" fmla="*/ 32 h 81"/>
                <a:gd name="T18" fmla="*/ 45 w 79"/>
                <a:gd name="T19" fmla="*/ 39 h 81"/>
                <a:gd name="T20" fmla="*/ 44 w 79"/>
                <a:gd name="T21" fmla="*/ 44 h 81"/>
                <a:gd name="T22" fmla="*/ 33 w 79"/>
                <a:gd name="T23" fmla="*/ 47 h 81"/>
                <a:gd name="T24" fmla="*/ 44 w 79"/>
                <a:gd name="T25" fmla="*/ 44 h 81"/>
                <a:gd name="T26" fmla="*/ 38 w 79"/>
                <a:gd name="T27" fmla="*/ 23 h 81"/>
                <a:gd name="T28" fmla="*/ 47 w 79"/>
                <a:gd name="T29" fmla="*/ 29 h 81"/>
                <a:gd name="T30" fmla="*/ 22 w 79"/>
                <a:gd name="T31" fmla="*/ 19 h 81"/>
                <a:gd name="T32" fmla="*/ 32 w 79"/>
                <a:gd name="T33" fmla="*/ 27 h 81"/>
                <a:gd name="T34" fmla="*/ 22 w 79"/>
                <a:gd name="T35" fmla="*/ 19 h 81"/>
                <a:gd name="T36" fmla="*/ 31 w 79"/>
                <a:gd name="T37" fmla="*/ 32 h 81"/>
                <a:gd name="T38" fmla="*/ 21 w 79"/>
                <a:gd name="T39" fmla="*/ 35 h 81"/>
                <a:gd name="T40" fmla="*/ 20 w 79"/>
                <a:gd name="T41" fmla="*/ 40 h 81"/>
                <a:gd name="T42" fmla="*/ 28 w 79"/>
                <a:gd name="T43" fmla="*/ 46 h 81"/>
                <a:gd name="T44" fmla="*/ 20 w 79"/>
                <a:gd name="T45" fmla="*/ 40 h 81"/>
                <a:gd name="T46" fmla="*/ 48 w 79"/>
                <a:gd name="T47" fmla="*/ 50 h 81"/>
                <a:gd name="T48" fmla="*/ 57 w 79"/>
                <a:gd name="T49" fmla="*/ 47 h 81"/>
                <a:gd name="T50" fmla="*/ 59 w 79"/>
                <a:gd name="T51" fmla="*/ 42 h 81"/>
                <a:gd name="T52" fmla="*/ 51 w 79"/>
                <a:gd name="T53" fmla="*/ 35 h 81"/>
                <a:gd name="T54" fmla="*/ 59 w 79"/>
                <a:gd name="T55" fmla="*/ 42 h 81"/>
                <a:gd name="T56" fmla="*/ 52 w 79"/>
                <a:gd name="T57" fmla="*/ 30 h 81"/>
                <a:gd name="T58" fmla="*/ 66 w 79"/>
                <a:gd name="T59" fmla="*/ 28 h 81"/>
                <a:gd name="T60" fmla="*/ 9 w 79"/>
                <a:gd name="T61" fmla="*/ 66 h 81"/>
                <a:gd name="T62" fmla="*/ 24 w 79"/>
                <a:gd name="T63" fmla="*/ 69 h 81"/>
                <a:gd name="T64" fmla="*/ 18 w 79"/>
                <a:gd name="T65" fmla="*/ 60 h 81"/>
                <a:gd name="T66" fmla="*/ 39 w 79"/>
                <a:gd name="T67" fmla="*/ 72 h 81"/>
                <a:gd name="T68" fmla="*/ 54 w 79"/>
                <a:gd name="T69" fmla="*/ 75 h 81"/>
                <a:gd name="T70" fmla="*/ 48 w 79"/>
                <a:gd name="T71" fmla="*/ 6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9" h="81">
                  <a:moveTo>
                    <a:pt x="76" y="20"/>
                  </a:moveTo>
                  <a:cubicBezTo>
                    <a:pt x="73" y="19"/>
                    <a:pt x="70" y="20"/>
                    <a:pt x="69" y="22"/>
                  </a:cubicBezTo>
                  <a:cubicBezTo>
                    <a:pt x="68" y="23"/>
                    <a:pt x="68" y="23"/>
                    <a:pt x="68" y="23"/>
                  </a:cubicBezTo>
                  <a:cubicBezTo>
                    <a:pt x="22" y="14"/>
                    <a:pt x="22" y="14"/>
                    <a:pt x="22" y="14"/>
                  </a:cubicBezTo>
                  <a:cubicBezTo>
                    <a:pt x="23" y="9"/>
                    <a:pt x="23" y="9"/>
                    <a:pt x="23" y="9"/>
                  </a:cubicBezTo>
                  <a:cubicBezTo>
                    <a:pt x="23" y="6"/>
                    <a:pt x="21" y="4"/>
                    <a:pt x="19" y="3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1" y="2"/>
                    <a:pt x="0" y="5"/>
                  </a:cubicBezTo>
                  <a:cubicBezTo>
                    <a:pt x="0" y="8"/>
                    <a:pt x="1" y="10"/>
                    <a:pt x="4" y="11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0" y="49"/>
                    <a:pt x="10" y="49"/>
                    <a:pt x="10" y="49"/>
                  </a:cubicBezTo>
                  <a:cubicBezTo>
                    <a:pt x="10" y="51"/>
                    <a:pt x="11" y="53"/>
                    <a:pt x="14" y="54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8" y="63"/>
                    <a:pt x="60" y="62"/>
                    <a:pt x="61" y="59"/>
                  </a:cubicBezTo>
                  <a:cubicBezTo>
                    <a:pt x="78" y="27"/>
                    <a:pt x="78" y="27"/>
                    <a:pt x="78" y="27"/>
                  </a:cubicBezTo>
                  <a:cubicBezTo>
                    <a:pt x="79" y="24"/>
                    <a:pt x="78" y="21"/>
                    <a:pt x="76" y="20"/>
                  </a:cubicBezTo>
                  <a:close/>
                  <a:moveTo>
                    <a:pt x="35" y="37"/>
                  </a:moveTo>
                  <a:cubicBezTo>
                    <a:pt x="36" y="32"/>
                    <a:pt x="36" y="32"/>
                    <a:pt x="36" y="32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45" y="39"/>
                    <a:pt x="45" y="39"/>
                    <a:pt x="45" y="39"/>
                  </a:cubicBezTo>
                  <a:lnTo>
                    <a:pt x="35" y="37"/>
                  </a:lnTo>
                  <a:close/>
                  <a:moveTo>
                    <a:pt x="44" y="44"/>
                  </a:moveTo>
                  <a:cubicBezTo>
                    <a:pt x="43" y="49"/>
                    <a:pt x="43" y="49"/>
                    <a:pt x="43" y="49"/>
                  </a:cubicBezTo>
                  <a:cubicBezTo>
                    <a:pt x="33" y="47"/>
                    <a:pt x="33" y="47"/>
                    <a:pt x="33" y="47"/>
                  </a:cubicBezTo>
                  <a:cubicBezTo>
                    <a:pt x="34" y="42"/>
                    <a:pt x="34" y="42"/>
                    <a:pt x="34" y="42"/>
                  </a:cubicBezTo>
                  <a:lnTo>
                    <a:pt x="44" y="44"/>
                  </a:lnTo>
                  <a:close/>
                  <a:moveTo>
                    <a:pt x="37" y="28"/>
                  </a:moveTo>
                  <a:cubicBezTo>
                    <a:pt x="38" y="23"/>
                    <a:pt x="38" y="23"/>
                    <a:pt x="38" y="23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7" y="29"/>
                    <a:pt x="47" y="29"/>
                    <a:pt x="47" y="29"/>
                  </a:cubicBezTo>
                  <a:lnTo>
                    <a:pt x="37" y="28"/>
                  </a:lnTo>
                  <a:close/>
                  <a:moveTo>
                    <a:pt x="22" y="19"/>
                  </a:moveTo>
                  <a:cubicBezTo>
                    <a:pt x="33" y="22"/>
                    <a:pt x="33" y="22"/>
                    <a:pt x="33" y="22"/>
                  </a:cubicBezTo>
                  <a:cubicBezTo>
                    <a:pt x="32" y="27"/>
                    <a:pt x="32" y="27"/>
                    <a:pt x="32" y="27"/>
                  </a:cubicBezTo>
                  <a:cubicBezTo>
                    <a:pt x="21" y="25"/>
                    <a:pt x="21" y="25"/>
                    <a:pt x="21" y="25"/>
                  </a:cubicBezTo>
                  <a:lnTo>
                    <a:pt x="22" y="19"/>
                  </a:lnTo>
                  <a:close/>
                  <a:moveTo>
                    <a:pt x="21" y="30"/>
                  </a:moveTo>
                  <a:cubicBezTo>
                    <a:pt x="31" y="32"/>
                    <a:pt x="31" y="32"/>
                    <a:pt x="31" y="32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1" y="35"/>
                    <a:pt x="21" y="35"/>
                    <a:pt x="21" y="35"/>
                  </a:cubicBezTo>
                  <a:lnTo>
                    <a:pt x="21" y="30"/>
                  </a:lnTo>
                  <a:close/>
                  <a:moveTo>
                    <a:pt x="20" y="40"/>
                  </a:moveTo>
                  <a:cubicBezTo>
                    <a:pt x="29" y="41"/>
                    <a:pt x="29" y="41"/>
                    <a:pt x="29" y="41"/>
                  </a:cubicBezTo>
                  <a:cubicBezTo>
                    <a:pt x="28" y="46"/>
                    <a:pt x="28" y="46"/>
                    <a:pt x="28" y="46"/>
                  </a:cubicBezTo>
                  <a:cubicBezTo>
                    <a:pt x="20" y="45"/>
                    <a:pt x="20" y="45"/>
                    <a:pt x="20" y="45"/>
                  </a:cubicBezTo>
                  <a:lnTo>
                    <a:pt x="20" y="40"/>
                  </a:lnTo>
                  <a:close/>
                  <a:moveTo>
                    <a:pt x="54" y="52"/>
                  </a:moveTo>
                  <a:cubicBezTo>
                    <a:pt x="48" y="50"/>
                    <a:pt x="48" y="50"/>
                    <a:pt x="48" y="50"/>
                  </a:cubicBezTo>
                  <a:cubicBezTo>
                    <a:pt x="49" y="45"/>
                    <a:pt x="49" y="45"/>
                    <a:pt x="49" y="45"/>
                  </a:cubicBezTo>
                  <a:cubicBezTo>
                    <a:pt x="57" y="47"/>
                    <a:pt x="57" y="47"/>
                    <a:pt x="57" y="47"/>
                  </a:cubicBezTo>
                  <a:lnTo>
                    <a:pt x="54" y="52"/>
                  </a:lnTo>
                  <a:close/>
                  <a:moveTo>
                    <a:pt x="59" y="42"/>
                  </a:moveTo>
                  <a:cubicBezTo>
                    <a:pt x="50" y="40"/>
                    <a:pt x="50" y="40"/>
                    <a:pt x="50" y="40"/>
                  </a:cubicBezTo>
                  <a:cubicBezTo>
                    <a:pt x="51" y="35"/>
                    <a:pt x="51" y="35"/>
                    <a:pt x="51" y="35"/>
                  </a:cubicBezTo>
                  <a:cubicBezTo>
                    <a:pt x="61" y="37"/>
                    <a:pt x="61" y="37"/>
                    <a:pt x="61" y="37"/>
                  </a:cubicBezTo>
                  <a:lnTo>
                    <a:pt x="59" y="42"/>
                  </a:lnTo>
                  <a:close/>
                  <a:moveTo>
                    <a:pt x="64" y="33"/>
                  </a:moveTo>
                  <a:cubicBezTo>
                    <a:pt x="52" y="30"/>
                    <a:pt x="52" y="30"/>
                    <a:pt x="52" y="30"/>
                  </a:cubicBezTo>
                  <a:cubicBezTo>
                    <a:pt x="53" y="25"/>
                    <a:pt x="53" y="25"/>
                    <a:pt x="53" y="25"/>
                  </a:cubicBezTo>
                  <a:cubicBezTo>
                    <a:pt x="66" y="28"/>
                    <a:pt x="66" y="28"/>
                    <a:pt x="66" y="28"/>
                  </a:cubicBezTo>
                  <a:lnTo>
                    <a:pt x="64" y="33"/>
                  </a:lnTo>
                  <a:close/>
                  <a:moveTo>
                    <a:pt x="9" y="66"/>
                  </a:moveTo>
                  <a:cubicBezTo>
                    <a:pt x="8" y="70"/>
                    <a:pt x="11" y="74"/>
                    <a:pt x="15" y="75"/>
                  </a:cubicBezTo>
                  <a:cubicBezTo>
                    <a:pt x="19" y="76"/>
                    <a:pt x="23" y="73"/>
                    <a:pt x="24" y="69"/>
                  </a:cubicBezTo>
                  <a:cubicBezTo>
                    <a:pt x="24" y="69"/>
                    <a:pt x="24" y="69"/>
                    <a:pt x="24" y="69"/>
                  </a:cubicBezTo>
                  <a:cubicBezTo>
                    <a:pt x="25" y="65"/>
                    <a:pt x="22" y="61"/>
                    <a:pt x="18" y="60"/>
                  </a:cubicBezTo>
                  <a:cubicBezTo>
                    <a:pt x="14" y="59"/>
                    <a:pt x="10" y="62"/>
                    <a:pt x="9" y="66"/>
                  </a:cubicBezTo>
                  <a:close/>
                  <a:moveTo>
                    <a:pt x="39" y="72"/>
                  </a:moveTo>
                  <a:cubicBezTo>
                    <a:pt x="38" y="76"/>
                    <a:pt x="41" y="80"/>
                    <a:pt x="45" y="81"/>
                  </a:cubicBezTo>
                  <a:cubicBezTo>
                    <a:pt x="49" y="81"/>
                    <a:pt x="53" y="79"/>
                    <a:pt x="54" y="75"/>
                  </a:cubicBezTo>
                  <a:cubicBezTo>
                    <a:pt x="54" y="75"/>
                    <a:pt x="54" y="75"/>
                    <a:pt x="54" y="75"/>
                  </a:cubicBezTo>
                  <a:cubicBezTo>
                    <a:pt x="54" y="70"/>
                    <a:pt x="52" y="66"/>
                    <a:pt x="48" y="66"/>
                  </a:cubicBezTo>
                  <a:cubicBezTo>
                    <a:pt x="43" y="65"/>
                    <a:pt x="39" y="68"/>
                    <a:pt x="39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DBF3C2F4-BB3E-4DE3-AE09-0F2AED9F2D33}"/>
                </a:ext>
              </a:extLst>
            </p:cNvPr>
            <p:cNvSpPr/>
            <p:nvPr/>
          </p:nvSpPr>
          <p:spPr bwMode="auto">
            <a:xfrm>
              <a:off x="10975087" y="4354691"/>
              <a:ext cx="150715" cy="152673"/>
            </a:xfrm>
            <a:custGeom>
              <a:avLst/>
              <a:gdLst>
                <a:gd name="T0" fmla="*/ 24 w 47"/>
                <a:gd name="T1" fmla="*/ 0 h 48"/>
                <a:gd name="T2" fmla="*/ 0 w 47"/>
                <a:gd name="T3" fmla="*/ 24 h 48"/>
                <a:gd name="T4" fmla="*/ 24 w 47"/>
                <a:gd name="T5" fmla="*/ 48 h 48"/>
                <a:gd name="T6" fmla="*/ 47 w 47"/>
                <a:gd name="T7" fmla="*/ 24 h 48"/>
                <a:gd name="T8" fmla="*/ 24 w 47"/>
                <a:gd name="T9" fmla="*/ 0 h 48"/>
                <a:gd name="T10" fmla="*/ 6 w 47"/>
                <a:gd name="T11" fmla="*/ 24 h 48"/>
                <a:gd name="T12" fmla="*/ 24 w 47"/>
                <a:gd name="T13" fmla="*/ 6 h 48"/>
                <a:gd name="T14" fmla="*/ 24 w 47"/>
                <a:gd name="T15" fmla="*/ 42 h 48"/>
                <a:gd name="T16" fmla="*/ 6 w 47"/>
                <a:gd name="T17" fmla="*/ 2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48">
                  <a:moveTo>
                    <a:pt x="24" y="0"/>
                  </a:move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ubicBezTo>
                    <a:pt x="37" y="48"/>
                    <a:pt x="47" y="37"/>
                    <a:pt x="47" y="24"/>
                  </a:cubicBezTo>
                  <a:cubicBezTo>
                    <a:pt x="47" y="11"/>
                    <a:pt x="37" y="0"/>
                    <a:pt x="24" y="0"/>
                  </a:cubicBezTo>
                  <a:close/>
                  <a:moveTo>
                    <a:pt x="6" y="24"/>
                  </a:moveTo>
                  <a:cubicBezTo>
                    <a:pt x="6" y="14"/>
                    <a:pt x="14" y="6"/>
                    <a:pt x="24" y="6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14" y="42"/>
                    <a:pt x="6" y="34"/>
                    <a:pt x="6" y="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DC799078-DACE-4A94-AD49-FBDB8F8B9B55}"/>
                </a:ext>
              </a:extLst>
            </p:cNvPr>
            <p:cNvSpPr/>
            <p:nvPr/>
          </p:nvSpPr>
          <p:spPr bwMode="auto">
            <a:xfrm>
              <a:off x="10642342" y="3839913"/>
              <a:ext cx="379722" cy="369934"/>
            </a:xfrm>
            <a:custGeom>
              <a:avLst/>
              <a:gdLst>
                <a:gd name="T0" fmla="*/ 22 w 119"/>
                <a:gd name="T1" fmla="*/ 19 h 116"/>
                <a:gd name="T2" fmla="*/ 58 w 119"/>
                <a:gd name="T3" fmla="*/ 33 h 116"/>
                <a:gd name="T4" fmla="*/ 62 w 119"/>
                <a:gd name="T5" fmla="*/ 12 h 116"/>
                <a:gd name="T6" fmla="*/ 82 w 119"/>
                <a:gd name="T7" fmla="*/ 3 h 116"/>
                <a:gd name="T8" fmla="*/ 91 w 119"/>
                <a:gd name="T9" fmla="*/ 23 h 116"/>
                <a:gd name="T10" fmla="*/ 95 w 119"/>
                <a:gd name="T11" fmla="*/ 49 h 116"/>
                <a:gd name="T12" fmla="*/ 95 w 119"/>
                <a:gd name="T13" fmla="*/ 50 h 116"/>
                <a:gd name="T14" fmla="*/ 99 w 119"/>
                <a:gd name="T15" fmla="*/ 41 h 116"/>
                <a:gd name="T16" fmla="*/ 119 w 119"/>
                <a:gd name="T17" fmla="*/ 49 h 116"/>
                <a:gd name="T18" fmla="*/ 93 w 119"/>
                <a:gd name="T19" fmla="*/ 116 h 116"/>
                <a:gd name="T20" fmla="*/ 73 w 119"/>
                <a:gd name="T21" fmla="*/ 109 h 116"/>
                <a:gd name="T22" fmla="*/ 75 w 119"/>
                <a:gd name="T23" fmla="*/ 103 h 116"/>
                <a:gd name="T24" fmla="*/ 63 w 119"/>
                <a:gd name="T25" fmla="*/ 103 h 116"/>
                <a:gd name="T26" fmla="*/ 53 w 119"/>
                <a:gd name="T27" fmla="*/ 106 h 116"/>
                <a:gd name="T28" fmla="*/ 35 w 119"/>
                <a:gd name="T29" fmla="*/ 102 h 116"/>
                <a:gd name="T30" fmla="*/ 30 w 119"/>
                <a:gd name="T31" fmla="*/ 100 h 116"/>
                <a:gd name="T32" fmla="*/ 28 w 119"/>
                <a:gd name="T33" fmla="*/ 99 h 116"/>
                <a:gd name="T34" fmla="*/ 21 w 119"/>
                <a:gd name="T35" fmla="*/ 83 h 116"/>
                <a:gd name="T36" fmla="*/ 22 w 119"/>
                <a:gd name="T37" fmla="*/ 80 h 116"/>
                <a:gd name="T38" fmla="*/ 22 w 119"/>
                <a:gd name="T39" fmla="*/ 70 h 116"/>
                <a:gd name="T40" fmla="*/ 24 w 119"/>
                <a:gd name="T41" fmla="*/ 67 h 116"/>
                <a:gd name="T42" fmla="*/ 24 w 119"/>
                <a:gd name="T43" fmla="*/ 57 h 116"/>
                <a:gd name="T44" fmla="*/ 27 w 119"/>
                <a:gd name="T45" fmla="*/ 52 h 116"/>
                <a:gd name="T46" fmla="*/ 11 w 119"/>
                <a:gd name="T47" fmla="*/ 46 h 116"/>
                <a:gd name="T48" fmla="*/ 3 w 119"/>
                <a:gd name="T49" fmla="*/ 28 h 116"/>
                <a:gd name="T50" fmla="*/ 22 w 119"/>
                <a:gd name="T51" fmla="*/ 19 h 116"/>
                <a:gd name="T52" fmla="*/ 86 w 119"/>
                <a:gd name="T53" fmla="*/ 106 h 116"/>
                <a:gd name="T54" fmla="*/ 90 w 119"/>
                <a:gd name="T55" fmla="*/ 104 h 116"/>
                <a:gd name="T56" fmla="*/ 88 w 119"/>
                <a:gd name="T57" fmla="*/ 99 h 116"/>
                <a:gd name="T58" fmla="*/ 84 w 119"/>
                <a:gd name="T59" fmla="*/ 101 h 116"/>
                <a:gd name="T60" fmla="*/ 86 w 119"/>
                <a:gd name="T61" fmla="*/ 106 h 116"/>
                <a:gd name="T62" fmla="*/ 15 w 119"/>
                <a:gd name="T63" fmla="*/ 40 h 116"/>
                <a:gd name="T64" fmla="*/ 41 w 119"/>
                <a:gd name="T65" fmla="*/ 50 h 116"/>
                <a:gd name="T66" fmla="*/ 42 w 119"/>
                <a:gd name="T67" fmla="*/ 50 h 116"/>
                <a:gd name="T68" fmla="*/ 39 w 119"/>
                <a:gd name="T69" fmla="*/ 57 h 116"/>
                <a:gd name="T70" fmla="*/ 38 w 119"/>
                <a:gd name="T71" fmla="*/ 57 h 116"/>
                <a:gd name="T72" fmla="*/ 31 w 119"/>
                <a:gd name="T73" fmla="*/ 60 h 116"/>
                <a:gd name="T74" fmla="*/ 32 w 119"/>
                <a:gd name="T75" fmla="*/ 66 h 116"/>
                <a:gd name="T76" fmla="*/ 34 w 119"/>
                <a:gd name="T77" fmla="*/ 68 h 116"/>
                <a:gd name="T78" fmla="*/ 31 w 119"/>
                <a:gd name="T79" fmla="*/ 70 h 116"/>
                <a:gd name="T80" fmla="*/ 30 w 119"/>
                <a:gd name="T81" fmla="*/ 73 h 116"/>
                <a:gd name="T82" fmla="*/ 30 w 119"/>
                <a:gd name="T83" fmla="*/ 78 h 116"/>
                <a:gd name="T84" fmla="*/ 32 w 119"/>
                <a:gd name="T85" fmla="*/ 81 h 116"/>
                <a:gd name="T86" fmla="*/ 30 w 119"/>
                <a:gd name="T87" fmla="*/ 83 h 116"/>
                <a:gd name="T88" fmla="*/ 28 w 119"/>
                <a:gd name="T89" fmla="*/ 85 h 116"/>
                <a:gd name="T90" fmla="*/ 31 w 119"/>
                <a:gd name="T91" fmla="*/ 93 h 116"/>
                <a:gd name="T92" fmla="*/ 33 w 119"/>
                <a:gd name="T93" fmla="*/ 93 h 116"/>
                <a:gd name="T94" fmla="*/ 38 w 119"/>
                <a:gd name="T95" fmla="*/ 95 h 116"/>
                <a:gd name="T96" fmla="*/ 60 w 119"/>
                <a:gd name="T97" fmla="*/ 96 h 116"/>
                <a:gd name="T98" fmla="*/ 78 w 119"/>
                <a:gd name="T99" fmla="*/ 95 h 116"/>
                <a:gd name="T100" fmla="*/ 92 w 119"/>
                <a:gd name="T101" fmla="*/ 59 h 116"/>
                <a:gd name="T102" fmla="*/ 88 w 119"/>
                <a:gd name="T103" fmla="*/ 55 h 116"/>
                <a:gd name="T104" fmla="*/ 83 w 119"/>
                <a:gd name="T105" fmla="*/ 20 h 116"/>
                <a:gd name="T106" fmla="*/ 79 w 119"/>
                <a:gd name="T107" fmla="*/ 12 h 116"/>
                <a:gd name="T108" fmla="*/ 70 w 119"/>
                <a:gd name="T109" fmla="*/ 15 h 116"/>
                <a:gd name="T110" fmla="*/ 67 w 119"/>
                <a:gd name="T111" fmla="*/ 37 h 116"/>
                <a:gd name="T112" fmla="*/ 66 w 119"/>
                <a:gd name="T113" fmla="*/ 44 h 116"/>
                <a:gd name="T114" fmla="*/ 20 w 119"/>
                <a:gd name="T115" fmla="*/ 26 h 116"/>
                <a:gd name="T116" fmla="*/ 10 w 119"/>
                <a:gd name="T117" fmla="*/ 31 h 116"/>
                <a:gd name="T118" fmla="*/ 15 w 119"/>
                <a:gd name="T119" fmla="*/ 4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9" h="116">
                  <a:moveTo>
                    <a:pt x="22" y="19"/>
                  </a:moveTo>
                  <a:cubicBezTo>
                    <a:pt x="58" y="33"/>
                    <a:pt x="58" y="33"/>
                    <a:pt x="58" y="33"/>
                  </a:cubicBezTo>
                  <a:cubicBezTo>
                    <a:pt x="59" y="24"/>
                    <a:pt x="59" y="21"/>
                    <a:pt x="62" y="12"/>
                  </a:cubicBezTo>
                  <a:cubicBezTo>
                    <a:pt x="65" y="4"/>
                    <a:pt x="74" y="0"/>
                    <a:pt x="82" y="3"/>
                  </a:cubicBezTo>
                  <a:cubicBezTo>
                    <a:pt x="90" y="6"/>
                    <a:pt x="94" y="15"/>
                    <a:pt x="91" y="23"/>
                  </a:cubicBezTo>
                  <a:cubicBezTo>
                    <a:pt x="87" y="34"/>
                    <a:pt x="89" y="41"/>
                    <a:pt x="95" y="49"/>
                  </a:cubicBezTo>
                  <a:cubicBezTo>
                    <a:pt x="95" y="50"/>
                    <a:pt x="95" y="50"/>
                    <a:pt x="95" y="50"/>
                  </a:cubicBezTo>
                  <a:cubicBezTo>
                    <a:pt x="99" y="41"/>
                    <a:pt x="99" y="41"/>
                    <a:pt x="99" y="41"/>
                  </a:cubicBezTo>
                  <a:cubicBezTo>
                    <a:pt x="119" y="49"/>
                    <a:pt x="119" y="49"/>
                    <a:pt x="119" y="49"/>
                  </a:cubicBezTo>
                  <a:cubicBezTo>
                    <a:pt x="93" y="116"/>
                    <a:pt x="93" y="116"/>
                    <a:pt x="93" y="116"/>
                  </a:cubicBezTo>
                  <a:cubicBezTo>
                    <a:pt x="73" y="109"/>
                    <a:pt x="73" y="109"/>
                    <a:pt x="73" y="109"/>
                  </a:cubicBezTo>
                  <a:cubicBezTo>
                    <a:pt x="75" y="103"/>
                    <a:pt x="75" y="103"/>
                    <a:pt x="75" y="103"/>
                  </a:cubicBezTo>
                  <a:cubicBezTo>
                    <a:pt x="68" y="101"/>
                    <a:pt x="66" y="102"/>
                    <a:pt x="63" y="103"/>
                  </a:cubicBezTo>
                  <a:cubicBezTo>
                    <a:pt x="60" y="104"/>
                    <a:pt x="57" y="106"/>
                    <a:pt x="53" y="106"/>
                  </a:cubicBezTo>
                  <a:cubicBezTo>
                    <a:pt x="48" y="106"/>
                    <a:pt x="42" y="105"/>
                    <a:pt x="35" y="102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21" y="97"/>
                    <a:pt x="18" y="89"/>
                    <a:pt x="21" y="83"/>
                  </a:cubicBezTo>
                  <a:cubicBezTo>
                    <a:pt x="21" y="82"/>
                    <a:pt x="22" y="81"/>
                    <a:pt x="22" y="80"/>
                  </a:cubicBezTo>
                  <a:cubicBezTo>
                    <a:pt x="21" y="77"/>
                    <a:pt x="21" y="73"/>
                    <a:pt x="22" y="70"/>
                  </a:cubicBezTo>
                  <a:cubicBezTo>
                    <a:pt x="23" y="69"/>
                    <a:pt x="23" y="68"/>
                    <a:pt x="24" y="67"/>
                  </a:cubicBezTo>
                  <a:cubicBezTo>
                    <a:pt x="23" y="64"/>
                    <a:pt x="23" y="60"/>
                    <a:pt x="24" y="57"/>
                  </a:cubicBezTo>
                  <a:cubicBezTo>
                    <a:pt x="25" y="55"/>
                    <a:pt x="26" y="54"/>
                    <a:pt x="27" y="52"/>
                  </a:cubicBezTo>
                  <a:cubicBezTo>
                    <a:pt x="11" y="46"/>
                    <a:pt x="11" y="46"/>
                    <a:pt x="11" y="46"/>
                  </a:cubicBezTo>
                  <a:cubicBezTo>
                    <a:pt x="4" y="44"/>
                    <a:pt x="0" y="35"/>
                    <a:pt x="3" y="28"/>
                  </a:cubicBezTo>
                  <a:cubicBezTo>
                    <a:pt x="6" y="20"/>
                    <a:pt x="14" y="16"/>
                    <a:pt x="22" y="19"/>
                  </a:cubicBezTo>
                  <a:close/>
                  <a:moveTo>
                    <a:pt x="86" y="106"/>
                  </a:moveTo>
                  <a:cubicBezTo>
                    <a:pt x="88" y="106"/>
                    <a:pt x="90" y="106"/>
                    <a:pt x="90" y="104"/>
                  </a:cubicBezTo>
                  <a:cubicBezTo>
                    <a:pt x="91" y="102"/>
                    <a:pt x="90" y="100"/>
                    <a:pt x="88" y="99"/>
                  </a:cubicBezTo>
                  <a:cubicBezTo>
                    <a:pt x="86" y="98"/>
                    <a:pt x="84" y="99"/>
                    <a:pt x="84" y="101"/>
                  </a:cubicBezTo>
                  <a:cubicBezTo>
                    <a:pt x="83" y="103"/>
                    <a:pt x="84" y="105"/>
                    <a:pt x="86" y="106"/>
                  </a:cubicBezTo>
                  <a:close/>
                  <a:moveTo>
                    <a:pt x="15" y="40"/>
                  </a:moveTo>
                  <a:cubicBezTo>
                    <a:pt x="41" y="50"/>
                    <a:pt x="41" y="50"/>
                    <a:pt x="41" y="50"/>
                  </a:cubicBezTo>
                  <a:cubicBezTo>
                    <a:pt x="42" y="50"/>
                    <a:pt x="42" y="50"/>
                    <a:pt x="42" y="50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8" y="57"/>
                    <a:pt x="38" y="57"/>
                    <a:pt x="38" y="57"/>
                  </a:cubicBezTo>
                  <a:cubicBezTo>
                    <a:pt x="36" y="56"/>
                    <a:pt x="32" y="57"/>
                    <a:pt x="31" y="60"/>
                  </a:cubicBezTo>
                  <a:cubicBezTo>
                    <a:pt x="31" y="62"/>
                    <a:pt x="31" y="64"/>
                    <a:pt x="32" y="66"/>
                  </a:cubicBezTo>
                  <a:cubicBezTo>
                    <a:pt x="34" y="68"/>
                    <a:pt x="34" y="68"/>
                    <a:pt x="34" y="68"/>
                  </a:cubicBezTo>
                  <a:cubicBezTo>
                    <a:pt x="31" y="70"/>
                    <a:pt x="31" y="70"/>
                    <a:pt x="31" y="70"/>
                  </a:cubicBezTo>
                  <a:cubicBezTo>
                    <a:pt x="31" y="71"/>
                    <a:pt x="30" y="72"/>
                    <a:pt x="30" y="73"/>
                  </a:cubicBezTo>
                  <a:cubicBezTo>
                    <a:pt x="29" y="75"/>
                    <a:pt x="29" y="77"/>
                    <a:pt x="30" y="78"/>
                  </a:cubicBezTo>
                  <a:cubicBezTo>
                    <a:pt x="32" y="81"/>
                    <a:pt x="32" y="81"/>
                    <a:pt x="32" y="81"/>
                  </a:cubicBezTo>
                  <a:cubicBezTo>
                    <a:pt x="30" y="83"/>
                    <a:pt x="30" y="83"/>
                    <a:pt x="30" y="83"/>
                  </a:cubicBezTo>
                  <a:cubicBezTo>
                    <a:pt x="29" y="84"/>
                    <a:pt x="28" y="85"/>
                    <a:pt x="28" y="85"/>
                  </a:cubicBezTo>
                  <a:cubicBezTo>
                    <a:pt x="27" y="88"/>
                    <a:pt x="28" y="92"/>
                    <a:pt x="31" y="93"/>
                  </a:cubicBezTo>
                  <a:cubicBezTo>
                    <a:pt x="33" y="93"/>
                    <a:pt x="33" y="93"/>
                    <a:pt x="33" y="93"/>
                  </a:cubicBezTo>
                  <a:cubicBezTo>
                    <a:pt x="38" y="95"/>
                    <a:pt x="38" y="95"/>
                    <a:pt x="38" y="95"/>
                  </a:cubicBezTo>
                  <a:cubicBezTo>
                    <a:pt x="51" y="100"/>
                    <a:pt x="56" y="97"/>
                    <a:pt x="60" y="96"/>
                  </a:cubicBezTo>
                  <a:cubicBezTo>
                    <a:pt x="64" y="94"/>
                    <a:pt x="68" y="92"/>
                    <a:pt x="78" y="95"/>
                  </a:cubicBezTo>
                  <a:cubicBezTo>
                    <a:pt x="92" y="59"/>
                    <a:pt x="92" y="59"/>
                    <a:pt x="92" y="59"/>
                  </a:cubicBezTo>
                  <a:cubicBezTo>
                    <a:pt x="90" y="58"/>
                    <a:pt x="89" y="56"/>
                    <a:pt x="88" y="55"/>
                  </a:cubicBezTo>
                  <a:cubicBezTo>
                    <a:pt x="81" y="43"/>
                    <a:pt x="78" y="34"/>
                    <a:pt x="83" y="20"/>
                  </a:cubicBezTo>
                  <a:cubicBezTo>
                    <a:pt x="85" y="17"/>
                    <a:pt x="83" y="13"/>
                    <a:pt x="79" y="12"/>
                  </a:cubicBezTo>
                  <a:cubicBezTo>
                    <a:pt x="76" y="10"/>
                    <a:pt x="72" y="12"/>
                    <a:pt x="70" y="15"/>
                  </a:cubicBezTo>
                  <a:cubicBezTo>
                    <a:pt x="67" y="24"/>
                    <a:pt x="67" y="27"/>
                    <a:pt x="67" y="37"/>
                  </a:cubicBezTo>
                  <a:cubicBezTo>
                    <a:pt x="67" y="39"/>
                    <a:pt x="66" y="42"/>
                    <a:pt x="66" y="44"/>
                  </a:cubicBezTo>
                  <a:cubicBezTo>
                    <a:pt x="20" y="26"/>
                    <a:pt x="20" y="26"/>
                    <a:pt x="20" y="26"/>
                  </a:cubicBezTo>
                  <a:cubicBezTo>
                    <a:pt x="16" y="25"/>
                    <a:pt x="12" y="27"/>
                    <a:pt x="10" y="31"/>
                  </a:cubicBezTo>
                  <a:cubicBezTo>
                    <a:pt x="9" y="34"/>
                    <a:pt x="11" y="38"/>
                    <a:pt x="15" y="4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DF92C030-B233-4967-A9D0-BAA039A94ED3}"/>
                </a:ext>
              </a:extLst>
            </p:cNvPr>
            <p:cNvSpPr/>
            <p:nvPr/>
          </p:nvSpPr>
          <p:spPr bwMode="auto">
            <a:xfrm>
              <a:off x="10495543" y="4229422"/>
              <a:ext cx="459973" cy="403210"/>
            </a:xfrm>
            <a:custGeom>
              <a:avLst/>
              <a:gdLst>
                <a:gd name="T0" fmla="*/ 144 w 144"/>
                <a:gd name="T1" fmla="*/ 41 h 126"/>
                <a:gd name="T2" fmla="*/ 102 w 144"/>
                <a:gd name="T3" fmla="*/ 0 h 126"/>
                <a:gd name="T4" fmla="*/ 72 w 144"/>
                <a:gd name="T5" fmla="*/ 14 h 126"/>
                <a:gd name="T6" fmla="*/ 41 w 144"/>
                <a:gd name="T7" fmla="*/ 0 h 126"/>
                <a:gd name="T8" fmla="*/ 0 w 144"/>
                <a:gd name="T9" fmla="*/ 41 h 126"/>
                <a:gd name="T10" fmla="*/ 13 w 144"/>
                <a:gd name="T11" fmla="*/ 72 h 126"/>
                <a:gd name="T12" fmla="*/ 13 w 144"/>
                <a:gd name="T13" fmla="*/ 72 h 126"/>
                <a:gd name="T14" fmla="*/ 58 w 144"/>
                <a:gd name="T15" fmla="*/ 117 h 126"/>
                <a:gd name="T16" fmla="*/ 72 w 144"/>
                <a:gd name="T17" fmla="*/ 126 h 126"/>
                <a:gd name="T18" fmla="*/ 85 w 144"/>
                <a:gd name="T19" fmla="*/ 117 h 126"/>
                <a:gd name="T20" fmla="*/ 130 w 144"/>
                <a:gd name="T21" fmla="*/ 72 h 126"/>
                <a:gd name="T22" fmla="*/ 130 w 144"/>
                <a:gd name="T23" fmla="*/ 72 h 126"/>
                <a:gd name="T24" fmla="*/ 144 w 144"/>
                <a:gd name="T25" fmla="*/ 41 h 126"/>
                <a:gd name="T26" fmla="*/ 118 w 144"/>
                <a:gd name="T27" fmla="*/ 59 h 126"/>
                <a:gd name="T28" fmla="*/ 73 w 144"/>
                <a:gd name="T29" fmla="*/ 104 h 126"/>
                <a:gd name="T30" fmla="*/ 72 w 144"/>
                <a:gd name="T31" fmla="*/ 105 h 126"/>
                <a:gd name="T32" fmla="*/ 71 w 144"/>
                <a:gd name="T33" fmla="*/ 104 h 126"/>
                <a:gd name="T34" fmla="*/ 25 w 144"/>
                <a:gd name="T35" fmla="*/ 59 h 126"/>
                <a:gd name="T36" fmla="*/ 18 w 144"/>
                <a:gd name="T37" fmla="*/ 41 h 126"/>
                <a:gd name="T38" fmla="*/ 41 w 144"/>
                <a:gd name="T39" fmla="*/ 18 h 126"/>
                <a:gd name="T40" fmla="*/ 58 w 144"/>
                <a:gd name="T41" fmla="*/ 26 h 126"/>
                <a:gd name="T42" fmla="*/ 72 w 144"/>
                <a:gd name="T43" fmla="*/ 40 h 126"/>
                <a:gd name="T44" fmla="*/ 85 w 144"/>
                <a:gd name="T45" fmla="*/ 26 h 126"/>
                <a:gd name="T46" fmla="*/ 102 w 144"/>
                <a:gd name="T47" fmla="*/ 18 h 126"/>
                <a:gd name="T48" fmla="*/ 126 w 144"/>
                <a:gd name="T49" fmla="*/ 41 h 126"/>
                <a:gd name="T50" fmla="*/ 118 w 144"/>
                <a:gd name="T51" fmla="*/ 59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126">
                  <a:moveTo>
                    <a:pt x="144" y="41"/>
                  </a:moveTo>
                  <a:cubicBezTo>
                    <a:pt x="144" y="19"/>
                    <a:pt x="125" y="0"/>
                    <a:pt x="102" y="0"/>
                  </a:cubicBezTo>
                  <a:cubicBezTo>
                    <a:pt x="90" y="0"/>
                    <a:pt x="79" y="5"/>
                    <a:pt x="72" y="14"/>
                  </a:cubicBezTo>
                  <a:cubicBezTo>
                    <a:pt x="64" y="5"/>
                    <a:pt x="53" y="0"/>
                    <a:pt x="41" y="0"/>
                  </a:cubicBezTo>
                  <a:cubicBezTo>
                    <a:pt x="18" y="0"/>
                    <a:pt x="0" y="19"/>
                    <a:pt x="0" y="41"/>
                  </a:cubicBezTo>
                  <a:cubicBezTo>
                    <a:pt x="0" y="54"/>
                    <a:pt x="5" y="65"/>
                    <a:pt x="13" y="72"/>
                  </a:cubicBezTo>
                  <a:cubicBezTo>
                    <a:pt x="13" y="72"/>
                    <a:pt x="13" y="72"/>
                    <a:pt x="13" y="72"/>
                  </a:cubicBezTo>
                  <a:cubicBezTo>
                    <a:pt x="58" y="117"/>
                    <a:pt x="58" y="117"/>
                    <a:pt x="58" y="117"/>
                  </a:cubicBezTo>
                  <a:cubicBezTo>
                    <a:pt x="63" y="122"/>
                    <a:pt x="67" y="126"/>
                    <a:pt x="72" y="126"/>
                  </a:cubicBezTo>
                  <a:cubicBezTo>
                    <a:pt x="76" y="126"/>
                    <a:pt x="81" y="122"/>
                    <a:pt x="85" y="117"/>
                  </a:cubicBezTo>
                  <a:cubicBezTo>
                    <a:pt x="130" y="72"/>
                    <a:pt x="130" y="72"/>
                    <a:pt x="130" y="72"/>
                  </a:cubicBezTo>
                  <a:cubicBezTo>
                    <a:pt x="130" y="72"/>
                    <a:pt x="130" y="72"/>
                    <a:pt x="130" y="72"/>
                  </a:cubicBezTo>
                  <a:cubicBezTo>
                    <a:pt x="139" y="65"/>
                    <a:pt x="144" y="54"/>
                    <a:pt x="144" y="41"/>
                  </a:cubicBezTo>
                  <a:close/>
                  <a:moveTo>
                    <a:pt x="118" y="59"/>
                  </a:moveTo>
                  <a:cubicBezTo>
                    <a:pt x="73" y="104"/>
                    <a:pt x="73" y="104"/>
                    <a:pt x="73" y="104"/>
                  </a:cubicBezTo>
                  <a:cubicBezTo>
                    <a:pt x="72" y="105"/>
                    <a:pt x="72" y="105"/>
                    <a:pt x="72" y="105"/>
                  </a:cubicBezTo>
                  <a:cubicBezTo>
                    <a:pt x="72" y="105"/>
                    <a:pt x="71" y="105"/>
                    <a:pt x="71" y="104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0" y="54"/>
                    <a:pt x="18" y="48"/>
                    <a:pt x="18" y="41"/>
                  </a:cubicBezTo>
                  <a:cubicBezTo>
                    <a:pt x="18" y="29"/>
                    <a:pt x="28" y="18"/>
                    <a:pt x="41" y="18"/>
                  </a:cubicBezTo>
                  <a:cubicBezTo>
                    <a:pt x="48" y="18"/>
                    <a:pt x="54" y="21"/>
                    <a:pt x="58" y="26"/>
                  </a:cubicBezTo>
                  <a:cubicBezTo>
                    <a:pt x="72" y="40"/>
                    <a:pt x="72" y="40"/>
                    <a:pt x="72" y="40"/>
                  </a:cubicBezTo>
                  <a:cubicBezTo>
                    <a:pt x="85" y="26"/>
                    <a:pt x="85" y="26"/>
                    <a:pt x="85" y="26"/>
                  </a:cubicBezTo>
                  <a:cubicBezTo>
                    <a:pt x="90" y="21"/>
                    <a:pt x="96" y="18"/>
                    <a:pt x="102" y="18"/>
                  </a:cubicBezTo>
                  <a:cubicBezTo>
                    <a:pt x="115" y="18"/>
                    <a:pt x="126" y="29"/>
                    <a:pt x="126" y="41"/>
                  </a:cubicBezTo>
                  <a:cubicBezTo>
                    <a:pt x="126" y="48"/>
                    <a:pt x="123" y="54"/>
                    <a:pt x="118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142B1220-5ACC-4CF5-A269-73CC91C043C9}"/>
                </a:ext>
              </a:extLst>
            </p:cNvPr>
            <p:cNvSpPr/>
            <p:nvPr/>
          </p:nvSpPr>
          <p:spPr bwMode="auto">
            <a:xfrm>
              <a:off x="10558177" y="4663950"/>
              <a:ext cx="195733" cy="195734"/>
            </a:xfrm>
            <a:custGeom>
              <a:avLst/>
              <a:gdLst>
                <a:gd name="T0" fmla="*/ 31 w 61"/>
                <a:gd name="T1" fmla="*/ 0 h 61"/>
                <a:gd name="T2" fmla="*/ 0 w 61"/>
                <a:gd name="T3" fmla="*/ 30 h 61"/>
                <a:gd name="T4" fmla="*/ 31 w 61"/>
                <a:gd name="T5" fmla="*/ 61 h 61"/>
                <a:gd name="T6" fmla="*/ 61 w 61"/>
                <a:gd name="T7" fmla="*/ 30 h 61"/>
                <a:gd name="T8" fmla="*/ 31 w 61"/>
                <a:gd name="T9" fmla="*/ 0 h 61"/>
                <a:gd name="T10" fmla="*/ 31 w 61"/>
                <a:gd name="T11" fmla="*/ 55 h 61"/>
                <a:gd name="T12" fmla="*/ 6 w 61"/>
                <a:gd name="T13" fmla="*/ 30 h 61"/>
                <a:gd name="T14" fmla="*/ 31 w 61"/>
                <a:gd name="T15" fmla="*/ 6 h 61"/>
                <a:gd name="T16" fmla="*/ 55 w 61"/>
                <a:gd name="T17" fmla="*/ 30 h 61"/>
                <a:gd name="T18" fmla="*/ 31 w 61"/>
                <a:gd name="T19" fmla="*/ 55 h 61"/>
                <a:gd name="T20" fmla="*/ 27 w 61"/>
                <a:gd name="T21" fmla="*/ 15 h 61"/>
                <a:gd name="T22" fmla="*/ 34 w 61"/>
                <a:gd name="T23" fmla="*/ 15 h 61"/>
                <a:gd name="T24" fmla="*/ 34 w 61"/>
                <a:gd name="T25" fmla="*/ 23 h 61"/>
                <a:gd name="T26" fmla="*/ 27 w 61"/>
                <a:gd name="T27" fmla="*/ 23 h 61"/>
                <a:gd name="T28" fmla="*/ 27 w 61"/>
                <a:gd name="T29" fmla="*/ 15 h 61"/>
                <a:gd name="T30" fmla="*/ 38 w 61"/>
                <a:gd name="T31" fmla="*/ 46 h 61"/>
                <a:gd name="T32" fmla="*/ 23 w 61"/>
                <a:gd name="T33" fmla="*/ 46 h 61"/>
                <a:gd name="T34" fmla="*/ 23 w 61"/>
                <a:gd name="T35" fmla="*/ 42 h 61"/>
                <a:gd name="T36" fmla="*/ 27 w 61"/>
                <a:gd name="T37" fmla="*/ 42 h 61"/>
                <a:gd name="T38" fmla="*/ 27 w 61"/>
                <a:gd name="T39" fmla="*/ 30 h 61"/>
                <a:gd name="T40" fmla="*/ 23 w 61"/>
                <a:gd name="T41" fmla="*/ 30 h 61"/>
                <a:gd name="T42" fmla="*/ 23 w 61"/>
                <a:gd name="T43" fmla="*/ 27 h 61"/>
                <a:gd name="T44" fmla="*/ 34 w 61"/>
                <a:gd name="T45" fmla="*/ 27 h 61"/>
                <a:gd name="T46" fmla="*/ 34 w 61"/>
                <a:gd name="T47" fmla="*/ 42 h 61"/>
                <a:gd name="T48" fmla="*/ 38 w 61"/>
                <a:gd name="T49" fmla="*/ 42 h 61"/>
                <a:gd name="T50" fmla="*/ 38 w 61"/>
                <a:gd name="T51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1" h="61">
                  <a:moveTo>
                    <a:pt x="31" y="0"/>
                  </a:moveTo>
                  <a:cubicBezTo>
                    <a:pt x="14" y="0"/>
                    <a:pt x="0" y="14"/>
                    <a:pt x="0" y="30"/>
                  </a:cubicBezTo>
                  <a:cubicBezTo>
                    <a:pt x="0" y="47"/>
                    <a:pt x="14" y="61"/>
                    <a:pt x="31" y="61"/>
                  </a:cubicBezTo>
                  <a:cubicBezTo>
                    <a:pt x="47" y="61"/>
                    <a:pt x="61" y="47"/>
                    <a:pt x="61" y="30"/>
                  </a:cubicBezTo>
                  <a:cubicBezTo>
                    <a:pt x="61" y="14"/>
                    <a:pt x="47" y="0"/>
                    <a:pt x="31" y="0"/>
                  </a:cubicBezTo>
                  <a:close/>
                  <a:moveTo>
                    <a:pt x="31" y="55"/>
                  </a:moveTo>
                  <a:cubicBezTo>
                    <a:pt x="17" y="55"/>
                    <a:pt x="6" y="44"/>
                    <a:pt x="6" y="30"/>
                  </a:cubicBezTo>
                  <a:cubicBezTo>
                    <a:pt x="6" y="17"/>
                    <a:pt x="17" y="6"/>
                    <a:pt x="31" y="6"/>
                  </a:cubicBezTo>
                  <a:cubicBezTo>
                    <a:pt x="44" y="6"/>
                    <a:pt x="55" y="17"/>
                    <a:pt x="55" y="30"/>
                  </a:cubicBezTo>
                  <a:cubicBezTo>
                    <a:pt x="55" y="44"/>
                    <a:pt x="44" y="55"/>
                    <a:pt x="31" y="55"/>
                  </a:cubicBezTo>
                  <a:close/>
                  <a:moveTo>
                    <a:pt x="27" y="15"/>
                  </a:moveTo>
                  <a:cubicBezTo>
                    <a:pt x="34" y="15"/>
                    <a:pt x="34" y="15"/>
                    <a:pt x="34" y="15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7" y="23"/>
                    <a:pt x="27" y="23"/>
                    <a:pt x="27" y="23"/>
                  </a:cubicBezTo>
                  <a:lnTo>
                    <a:pt x="27" y="15"/>
                  </a:lnTo>
                  <a:close/>
                  <a:moveTo>
                    <a:pt x="38" y="46"/>
                  </a:moveTo>
                  <a:cubicBezTo>
                    <a:pt x="23" y="46"/>
                    <a:pt x="23" y="46"/>
                    <a:pt x="23" y="46"/>
                  </a:cubicBezTo>
                  <a:cubicBezTo>
                    <a:pt x="23" y="42"/>
                    <a:pt x="23" y="42"/>
                    <a:pt x="23" y="42"/>
                  </a:cubicBezTo>
                  <a:cubicBezTo>
                    <a:pt x="27" y="42"/>
                    <a:pt x="27" y="42"/>
                    <a:pt x="27" y="42"/>
                  </a:cubicBezTo>
                  <a:cubicBezTo>
                    <a:pt x="27" y="30"/>
                    <a:pt x="27" y="30"/>
                    <a:pt x="27" y="30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23" y="27"/>
                    <a:pt x="23" y="27"/>
                    <a:pt x="23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8" y="42"/>
                    <a:pt x="38" y="42"/>
                    <a:pt x="38" y="42"/>
                  </a:cubicBezTo>
                  <a:lnTo>
                    <a:pt x="3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F4436828-DE64-42FB-9AEE-E2E5C9751BD1}"/>
                </a:ext>
              </a:extLst>
            </p:cNvPr>
            <p:cNvSpPr/>
            <p:nvPr/>
          </p:nvSpPr>
          <p:spPr bwMode="auto">
            <a:xfrm>
              <a:off x="10607110" y="4990826"/>
              <a:ext cx="299472" cy="301430"/>
            </a:xfrm>
            <a:custGeom>
              <a:avLst/>
              <a:gdLst>
                <a:gd name="T0" fmla="*/ 85 w 94"/>
                <a:gd name="T1" fmla="*/ 20 h 94"/>
                <a:gd name="T2" fmla="*/ 37 w 94"/>
                <a:gd name="T3" fmla="*/ 2 h 94"/>
                <a:gd name="T4" fmla="*/ 20 w 94"/>
                <a:gd name="T5" fmla="*/ 10 h 94"/>
                <a:gd name="T6" fmla="*/ 2 w 94"/>
                <a:gd name="T7" fmla="*/ 57 h 94"/>
                <a:gd name="T8" fmla="*/ 10 w 94"/>
                <a:gd name="T9" fmla="*/ 74 h 94"/>
                <a:gd name="T10" fmla="*/ 57 w 94"/>
                <a:gd name="T11" fmla="*/ 92 h 94"/>
                <a:gd name="T12" fmla="*/ 74 w 94"/>
                <a:gd name="T13" fmla="*/ 84 h 94"/>
                <a:gd name="T14" fmla="*/ 92 w 94"/>
                <a:gd name="T15" fmla="*/ 37 h 94"/>
                <a:gd name="T16" fmla="*/ 85 w 94"/>
                <a:gd name="T17" fmla="*/ 20 h 94"/>
                <a:gd name="T18" fmla="*/ 36 w 94"/>
                <a:gd name="T19" fmla="*/ 38 h 94"/>
                <a:gd name="T20" fmla="*/ 62 w 94"/>
                <a:gd name="T21" fmla="*/ 47 h 94"/>
                <a:gd name="T22" fmla="*/ 61 w 94"/>
                <a:gd name="T23" fmla="*/ 52 h 94"/>
                <a:gd name="T24" fmla="*/ 42 w 94"/>
                <a:gd name="T25" fmla="*/ 61 h 94"/>
                <a:gd name="T26" fmla="*/ 33 w 94"/>
                <a:gd name="T27" fmla="*/ 42 h 94"/>
                <a:gd name="T28" fmla="*/ 36 w 94"/>
                <a:gd name="T29" fmla="*/ 38 h 94"/>
                <a:gd name="T30" fmla="*/ 76 w 94"/>
                <a:gd name="T31" fmla="*/ 53 h 94"/>
                <a:gd name="T32" fmla="*/ 69 w 94"/>
                <a:gd name="T33" fmla="*/ 71 h 94"/>
                <a:gd name="T34" fmla="*/ 66 w 94"/>
                <a:gd name="T35" fmla="*/ 80 h 94"/>
                <a:gd name="T36" fmla="*/ 59 w 94"/>
                <a:gd name="T37" fmla="*/ 82 h 94"/>
                <a:gd name="T38" fmla="*/ 15 w 94"/>
                <a:gd name="T39" fmla="*/ 65 h 94"/>
                <a:gd name="T40" fmla="*/ 12 w 94"/>
                <a:gd name="T41" fmla="*/ 59 h 94"/>
                <a:gd name="T42" fmla="*/ 15 w 94"/>
                <a:gd name="T43" fmla="*/ 50 h 94"/>
                <a:gd name="T44" fmla="*/ 22 w 94"/>
                <a:gd name="T45" fmla="*/ 32 h 94"/>
                <a:gd name="T46" fmla="*/ 22 w 94"/>
                <a:gd name="T47" fmla="*/ 32 h 94"/>
                <a:gd name="T48" fmla="*/ 29 w 94"/>
                <a:gd name="T49" fmla="*/ 35 h 94"/>
                <a:gd name="T50" fmla="*/ 27 w 94"/>
                <a:gd name="T51" fmla="*/ 39 h 94"/>
                <a:gd name="T52" fmla="*/ 39 w 94"/>
                <a:gd name="T53" fmla="*/ 67 h 94"/>
                <a:gd name="T54" fmla="*/ 67 w 94"/>
                <a:gd name="T55" fmla="*/ 55 h 94"/>
                <a:gd name="T56" fmla="*/ 69 w 94"/>
                <a:gd name="T57" fmla="*/ 50 h 94"/>
                <a:gd name="T58" fmla="*/ 76 w 94"/>
                <a:gd name="T59" fmla="*/ 53 h 94"/>
                <a:gd name="T60" fmla="*/ 82 w 94"/>
                <a:gd name="T61" fmla="*/ 37 h 94"/>
                <a:gd name="T62" fmla="*/ 79 w 94"/>
                <a:gd name="T63" fmla="*/ 38 h 94"/>
                <a:gd name="T64" fmla="*/ 74 w 94"/>
                <a:gd name="T65" fmla="*/ 37 h 94"/>
                <a:gd name="T66" fmla="*/ 73 w 94"/>
                <a:gd name="T67" fmla="*/ 34 h 94"/>
                <a:gd name="T68" fmla="*/ 74 w 94"/>
                <a:gd name="T69" fmla="*/ 29 h 94"/>
                <a:gd name="T70" fmla="*/ 77 w 94"/>
                <a:gd name="T71" fmla="*/ 28 h 94"/>
                <a:gd name="T72" fmla="*/ 82 w 94"/>
                <a:gd name="T73" fmla="*/ 29 h 94"/>
                <a:gd name="T74" fmla="*/ 83 w 94"/>
                <a:gd name="T75" fmla="*/ 33 h 94"/>
                <a:gd name="T76" fmla="*/ 82 w 94"/>
                <a:gd name="T77" fmla="*/ 37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94" h="94">
                  <a:moveTo>
                    <a:pt x="85" y="20"/>
                  </a:moveTo>
                  <a:cubicBezTo>
                    <a:pt x="37" y="2"/>
                    <a:pt x="37" y="2"/>
                    <a:pt x="37" y="2"/>
                  </a:cubicBezTo>
                  <a:cubicBezTo>
                    <a:pt x="30" y="0"/>
                    <a:pt x="23" y="3"/>
                    <a:pt x="20" y="10"/>
                  </a:cubicBezTo>
                  <a:cubicBezTo>
                    <a:pt x="2" y="57"/>
                    <a:pt x="2" y="57"/>
                    <a:pt x="2" y="57"/>
                  </a:cubicBezTo>
                  <a:cubicBezTo>
                    <a:pt x="0" y="64"/>
                    <a:pt x="3" y="71"/>
                    <a:pt x="10" y="74"/>
                  </a:cubicBezTo>
                  <a:cubicBezTo>
                    <a:pt x="57" y="92"/>
                    <a:pt x="57" y="92"/>
                    <a:pt x="57" y="92"/>
                  </a:cubicBezTo>
                  <a:cubicBezTo>
                    <a:pt x="64" y="94"/>
                    <a:pt x="71" y="91"/>
                    <a:pt x="74" y="84"/>
                  </a:cubicBezTo>
                  <a:cubicBezTo>
                    <a:pt x="92" y="37"/>
                    <a:pt x="92" y="37"/>
                    <a:pt x="92" y="37"/>
                  </a:cubicBezTo>
                  <a:cubicBezTo>
                    <a:pt x="94" y="30"/>
                    <a:pt x="91" y="23"/>
                    <a:pt x="85" y="20"/>
                  </a:cubicBezTo>
                  <a:close/>
                  <a:moveTo>
                    <a:pt x="36" y="38"/>
                  </a:moveTo>
                  <a:cubicBezTo>
                    <a:pt x="62" y="47"/>
                    <a:pt x="62" y="47"/>
                    <a:pt x="62" y="47"/>
                  </a:cubicBezTo>
                  <a:cubicBezTo>
                    <a:pt x="62" y="49"/>
                    <a:pt x="61" y="51"/>
                    <a:pt x="61" y="52"/>
                  </a:cubicBezTo>
                  <a:cubicBezTo>
                    <a:pt x="58" y="60"/>
                    <a:pt x="49" y="64"/>
                    <a:pt x="42" y="61"/>
                  </a:cubicBezTo>
                  <a:cubicBezTo>
                    <a:pt x="34" y="58"/>
                    <a:pt x="31" y="49"/>
                    <a:pt x="33" y="42"/>
                  </a:cubicBezTo>
                  <a:cubicBezTo>
                    <a:pt x="34" y="40"/>
                    <a:pt x="35" y="39"/>
                    <a:pt x="36" y="38"/>
                  </a:cubicBezTo>
                  <a:close/>
                  <a:moveTo>
                    <a:pt x="76" y="53"/>
                  </a:moveTo>
                  <a:cubicBezTo>
                    <a:pt x="69" y="71"/>
                    <a:pt x="69" y="71"/>
                    <a:pt x="69" y="71"/>
                  </a:cubicBezTo>
                  <a:cubicBezTo>
                    <a:pt x="66" y="80"/>
                    <a:pt x="66" y="80"/>
                    <a:pt x="66" y="80"/>
                  </a:cubicBezTo>
                  <a:cubicBezTo>
                    <a:pt x="65" y="82"/>
                    <a:pt x="62" y="83"/>
                    <a:pt x="59" y="82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2" y="64"/>
                    <a:pt x="11" y="62"/>
                    <a:pt x="12" y="59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2" y="32"/>
                    <a:pt x="22" y="32"/>
                    <a:pt x="22" y="32"/>
                  </a:cubicBezTo>
                  <a:cubicBezTo>
                    <a:pt x="29" y="35"/>
                    <a:pt x="29" y="35"/>
                    <a:pt x="29" y="35"/>
                  </a:cubicBezTo>
                  <a:cubicBezTo>
                    <a:pt x="28" y="36"/>
                    <a:pt x="27" y="38"/>
                    <a:pt x="27" y="39"/>
                  </a:cubicBezTo>
                  <a:cubicBezTo>
                    <a:pt x="23" y="51"/>
                    <a:pt x="28" y="63"/>
                    <a:pt x="39" y="67"/>
                  </a:cubicBezTo>
                  <a:cubicBezTo>
                    <a:pt x="51" y="72"/>
                    <a:pt x="63" y="66"/>
                    <a:pt x="67" y="55"/>
                  </a:cubicBezTo>
                  <a:cubicBezTo>
                    <a:pt x="68" y="53"/>
                    <a:pt x="68" y="52"/>
                    <a:pt x="69" y="50"/>
                  </a:cubicBezTo>
                  <a:cubicBezTo>
                    <a:pt x="76" y="53"/>
                    <a:pt x="76" y="53"/>
                    <a:pt x="76" y="53"/>
                  </a:cubicBezTo>
                  <a:close/>
                  <a:moveTo>
                    <a:pt x="82" y="37"/>
                  </a:moveTo>
                  <a:cubicBezTo>
                    <a:pt x="81" y="38"/>
                    <a:pt x="80" y="39"/>
                    <a:pt x="79" y="38"/>
                  </a:cubicBezTo>
                  <a:cubicBezTo>
                    <a:pt x="74" y="37"/>
                    <a:pt x="74" y="37"/>
                    <a:pt x="74" y="37"/>
                  </a:cubicBezTo>
                  <a:cubicBezTo>
                    <a:pt x="73" y="36"/>
                    <a:pt x="72" y="35"/>
                    <a:pt x="73" y="34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5" y="28"/>
                    <a:pt x="76" y="27"/>
                    <a:pt x="77" y="28"/>
                  </a:cubicBezTo>
                  <a:cubicBezTo>
                    <a:pt x="82" y="29"/>
                    <a:pt x="82" y="29"/>
                    <a:pt x="82" y="29"/>
                  </a:cubicBezTo>
                  <a:cubicBezTo>
                    <a:pt x="83" y="30"/>
                    <a:pt x="84" y="31"/>
                    <a:pt x="83" y="33"/>
                  </a:cubicBezTo>
                  <a:lnTo>
                    <a:pt x="82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155DDADD-0E50-4892-B10F-6168DCB6FCBD}"/>
                </a:ext>
              </a:extLst>
            </p:cNvPr>
            <p:cNvSpPr/>
            <p:nvPr/>
          </p:nvSpPr>
          <p:spPr bwMode="auto">
            <a:xfrm>
              <a:off x="10793056" y="3628522"/>
              <a:ext cx="168330" cy="168330"/>
            </a:xfrm>
            <a:custGeom>
              <a:avLst/>
              <a:gdLst>
                <a:gd name="T0" fmla="*/ 44 w 53"/>
                <a:gd name="T1" fmla="*/ 0 h 53"/>
                <a:gd name="T2" fmla="*/ 9 w 53"/>
                <a:gd name="T3" fmla="*/ 0 h 53"/>
                <a:gd name="T4" fmla="*/ 0 w 53"/>
                <a:gd name="T5" fmla="*/ 9 h 53"/>
                <a:gd name="T6" fmla="*/ 0 w 53"/>
                <a:gd name="T7" fmla="*/ 44 h 53"/>
                <a:gd name="T8" fmla="*/ 9 w 53"/>
                <a:gd name="T9" fmla="*/ 53 h 53"/>
                <a:gd name="T10" fmla="*/ 44 w 53"/>
                <a:gd name="T11" fmla="*/ 53 h 53"/>
                <a:gd name="T12" fmla="*/ 53 w 53"/>
                <a:gd name="T13" fmla="*/ 44 h 53"/>
                <a:gd name="T14" fmla="*/ 53 w 53"/>
                <a:gd name="T15" fmla="*/ 9 h 53"/>
                <a:gd name="T16" fmla="*/ 44 w 53"/>
                <a:gd name="T17" fmla="*/ 0 h 53"/>
                <a:gd name="T18" fmla="*/ 20 w 53"/>
                <a:gd name="T19" fmla="*/ 43 h 53"/>
                <a:gd name="T20" fmla="*/ 13 w 53"/>
                <a:gd name="T21" fmla="*/ 43 h 53"/>
                <a:gd name="T22" fmla="*/ 13 w 53"/>
                <a:gd name="T23" fmla="*/ 20 h 53"/>
                <a:gd name="T24" fmla="*/ 20 w 53"/>
                <a:gd name="T25" fmla="*/ 20 h 53"/>
                <a:gd name="T26" fmla="*/ 20 w 53"/>
                <a:gd name="T27" fmla="*/ 43 h 53"/>
                <a:gd name="T28" fmla="*/ 17 w 53"/>
                <a:gd name="T29" fmla="*/ 16 h 53"/>
                <a:gd name="T30" fmla="*/ 13 w 53"/>
                <a:gd name="T31" fmla="*/ 13 h 53"/>
                <a:gd name="T32" fmla="*/ 17 w 53"/>
                <a:gd name="T33" fmla="*/ 10 h 53"/>
                <a:gd name="T34" fmla="*/ 20 w 53"/>
                <a:gd name="T35" fmla="*/ 13 h 53"/>
                <a:gd name="T36" fmla="*/ 17 w 53"/>
                <a:gd name="T37" fmla="*/ 16 h 53"/>
                <a:gd name="T38" fmla="*/ 43 w 53"/>
                <a:gd name="T39" fmla="*/ 43 h 53"/>
                <a:gd name="T40" fmla="*/ 37 w 53"/>
                <a:gd name="T41" fmla="*/ 43 h 53"/>
                <a:gd name="T42" fmla="*/ 37 w 53"/>
                <a:gd name="T43" fmla="*/ 30 h 53"/>
                <a:gd name="T44" fmla="*/ 33 w 53"/>
                <a:gd name="T45" fmla="*/ 26 h 53"/>
                <a:gd name="T46" fmla="*/ 30 w 53"/>
                <a:gd name="T47" fmla="*/ 30 h 53"/>
                <a:gd name="T48" fmla="*/ 30 w 53"/>
                <a:gd name="T49" fmla="*/ 43 h 53"/>
                <a:gd name="T50" fmla="*/ 23 w 53"/>
                <a:gd name="T51" fmla="*/ 43 h 53"/>
                <a:gd name="T52" fmla="*/ 23 w 53"/>
                <a:gd name="T53" fmla="*/ 20 h 53"/>
                <a:gd name="T54" fmla="*/ 30 w 53"/>
                <a:gd name="T55" fmla="*/ 20 h 53"/>
                <a:gd name="T56" fmla="*/ 30 w 53"/>
                <a:gd name="T57" fmla="*/ 24 h 53"/>
                <a:gd name="T58" fmla="*/ 36 w 53"/>
                <a:gd name="T59" fmla="*/ 20 h 53"/>
                <a:gd name="T60" fmla="*/ 43 w 53"/>
                <a:gd name="T61" fmla="*/ 28 h 53"/>
                <a:gd name="T62" fmla="*/ 43 w 53"/>
                <a:gd name="T63" fmla="*/ 4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3" h="53">
                  <a:moveTo>
                    <a:pt x="44" y="0"/>
                  </a:moveTo>
                  <a:cubicBezTo>
                    <a:pt x="9" y="0"/>
                    <a:pt x="9" y="0"/>
                    <a:pt x="9" y="0"/>
                  </a:cubicBezTo>
                  <a:cubicBezTo>
                    <a:pt x="4" y="0"/>
                    <a:pt x="0" y="4"/>
                    <a:pt x="0" y="9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9"/>
                    <a:pt x="4" y="53"/>
                    <a:pt x="9" y="53"/>
                  </a:cubicBezTo>
                  <a:cubicBezTo>
                    <a:pt x="44" y="53"/>
                    <a:pt x="44" y="53"/>
                    <a:pt x="44" y="53"/>
                  </a:cubicBezTo>
                  <a:cubicBezTo>
                    <a:pt x="49" y="53"/>
                    <a:pt x="53" y="49"/>
                    <a:pt x="53" y="44"/>
                  </a:cubicBezTo>
                  <a:cubicBezTo>
                    <a:pt x="53" y="9"/>
                    <a:pt x="53" y="9"/>
                    <a:pt x="53" y="9"/>
                  </a:cubicBezTo>
                  <a:cubicBezTo>
                    <a:pt x="53" y="4"/>
                    <a:pt x="49" y="0"/>
                    <a:pt x="44" y="0"/>
                  </a:cubicBezTo>
                  <a:close/>
                  <a:moveTo>
                    <a:pt x="20" y="43"/>
                  </a:moveTo>
                  <a:cubicBezTo>
                    <a:pt x="13" y="43"/>
                    <a:pt x="13" y="43"/>
                    <a:pt x="13" y="43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20" y="20"/>
                    <a:pt x="20" y="20"/>
                    <a:pt x="20" y="20"/>
                  </a:cubicBezTo>
                  <a:lnTo>
                    <a:pt x="20" y="43"/>
                  </a:lnTo>
                  <a:close/>
                  <a:moveTo>
                    <a:pt x="17" y="16"/>
                  </a:moveTo>
                  <a:cubicBezTo>
                    <a:pt x="15" y="16"/>
                    <a:pt x="13" y="15"/>
                    <a:pt x="13" y="13"/>
                  </a:cubicBezTo>
                  <a:cubicBezTo>
                    <a:pt x="13" y="11"/>
                    <a:pt x="15" y="10"/>
                    <a:pt x="17" y="10"/>
                  </a:cubicBezTo>
                  <a:cubicBezTo>
                    <a:pt x="18" y="10"/>
                    <a:pt x="20" y="11"/>
                    <a:pt x="20" y="13"/>
                  </a:cubicBezTo>
                  <a:cubicBezTo>
                    <a:pt x="20" y="15"/>
                    <a:pt x="18" y="16"/>
                    <a:pt x="17" y="16"/>
                  </a:cubicBezTo>
                  <a:close/>
                  <a:moveTo>
                    <a:pt x="43" y="43"/>
                  </a:moveTo>
                  <a:cubicBezTo>
                    <a:pt x="37" y="43"/>
                    <a:pt x="37" y="43"/>
                    <a:pt x="37" y="43"/>
                  </a:cubicBezTo>
                  <a:cubicBezTo>
                    <a:pt x="37" y="30"/>
                    <a:pt x="37" y="30"/>
                    <a:pt x="37" y="30"/>
                  </a:cubicBezTo>
                  <a:cubicBezTo>
                    <a:pt x="37" y="28"/>
                    <a:pt x="35" y="26"/>
                    <a:pt x="33" y="26"/>
                  </a:cubicBezTo>
                  <a:cubicBezTo>
                    <a:pt x="31" y="26"/>
                    <a:pt x="30" y="28"/>
                    <a:pt x="30" y="30"/>
                  </a:cubicBezTo>
                  <a:cubicBezTo>
                    <a:pt x="30" y="43"/>
                    <a:pt x="30" y="43"/>
                    <a:pt x="30" y="43"/>
                  </a:cubicBezTo>
                  <a:cubicBezTo>
                    <a:pt x="23" y="43"/>
                    <a:pt x="23" y="43"/>
                    <a:pt x="23" y="43"/>
                  </a:cubicBezTo>
                  <a:cubicBezTo>
                    <a:pt x="23" y="20"/>
                    <a:pt x="23" y="20"/>
                    <a:pt x="23" y="20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0" y="24"/>
                    <a:pt x="30" y="24"/>
                    <a:pt x="30" y="24"/>
                  </a:cubicBezTo>
                  <a:cubicBezTo>
                    <a:pt x="31" y="22"/>
                    <a:pt x="33" y="20"/>
                    <a:pt x="36" y="20"/>
                  </a:cubicBezTo>
                  <a:cubicBezTo>
                    <a:pt x="40" y="20"/>
                    <a:pt x="43" y="23"/>
                    <a:pt x="43" y="28"/>
                  </a:cubicBezTo>
                  <a:lnTo>
                    <a:pt x="43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41E4C6E5-D3B2-47E6-B4C1-AB9334FC0E5E}"/>
                </a:ext>
              </a:extLst>
            </p:cNvPr>
            <p:cNvSpPr/>
            <p:nvPr/>
          </p:nvSpPr>
          <p:spPr bwMode="auto">
            <a:xfrm>
              <a:off x="10646256" y="3395599"/>
              <a:ext cx="309258" cy="193775"/>
            </a:xfrm>
            <a:custGeom>
              <a:avLst/>
              <a:gdLst>
                <a:gd name="T0" fmla="*/ 49 w 158"/>
                <a:gd name="T1" fmla="*/ 70 h 99"/>
                <a:gd name="T2" fmla="*/ 49 w 158"/>
                <a:gd name="T3" fmla="*/ 39 h 99"/>
                <a:gd name="T4" fmla="*/ 78 w 158"/>
                <a:gd name="T5" fmla="*/ 39 h 99"/>
                <a:gd name="T6" fmla="*/ 39 w 158"/>
                <a:gd name="T7" fmla="*/ 0 h 99"/>
                <a:gd name="T8" fmla="*/ 0 w 158"/>
                <a:gd name="T9" fmla="*/ 39 h 99"/>
                <a:gd name="T10" fmla="*/ 29 w 158"/>
                <a:gd name="T11" fmla="*/ 39 h 99"/>
                <a:gd name="T12" fmla="*/ 29 w 158"/>
                <a:gd name="T13" fmla="*/ 89 h 99"/>
                <a:gd name="T14" fmla="*/ 88 w 158"/>
                <a:gd name="T15" fmla="*/ 89 h 99"/>
                <a:gd name="T16" fmla="*/ 68 w 158"/>
                <a:gd name="T17" fmla="*/ 70 h 99"/>
                <a:gd name="T18" fmla="*/ 49 w 158"/>
                <a:gd name="T19" fmla="*/ 70 h 99"/>
                <a:gd name="T20" fmla="*/ 129 w 158"/>
                <a:gd name="T21" fmla="*/ 58 h 99"/>
                <a:gd name="T22" fmla="*/ 129 w 158"/>
                <a:gd name="T23" fmla="*/ 9 h 99"/>
                <a:gd name="T24" fmla="*/ 68 w 158"/>
                <a:gd name="T25" fmla="*/ 9 h 99"/>
                <a:gd name="T26" fmla="*/ 88 w 158"/>
                <a:gd name="T27" fmla="*/ 29 h 99"/>
                <a:gd name="T28" fmla="*/ 107 w 158"/>
                <a:gd name="T29" fmla="*/ 29 h 99"/>
                <a:gd name="T30" fmla="*/ 107 w 158"/>
                <a:gd name="T31" fmla="*/ 58 h 99"/>
                <a:gd name="T32" fmla="*/ 78 w 158"/>
                <a:gd name="T33" fmla="*/ 58 h 99"/>
                <a:gd name="T34" fmla="*/ 119 w 158"/>
                <a:gd name="T35" fmla="*/ 99 h 99"/>
                <a:gd name="T36" fmla="*/ 158 w 158"/>
                <a:gd name="T37" fmla="*/ 58 h 99"/>
                <a:gd name="T38" fmla="*/ 129 w 158"/>
                <a:gd name="T39" fmla="*/ 58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8" h="99">
                  <a:moveTo>
                    <a:pt x="49" y="70"/>
                  </a:moveTo>
                  <a:lnTo>
                    <a:pt x="49" y="39"/>
                  </a:lnTo>
                  <a:lnTo>
                    <a:pt x="78" y="39"/>
                  </a:lnTo>
                  <a:lnTo>
                    <a:pt x="39" y="0"/>
                  </a:lnTo>
                  <a:lnTo>
                    <a:pt x="0" y="39"/>
                  </a:lnTo>
                  <a:lnTo>
                    <a:pt x="29" y="39"/>
                  </a:lnTo>
                  <a:lnTo>
                    <a:pt x="29" y="89"/>
                  </a:lnTo>
                  <a:lnTo>
                    <a:pt x="88" y="89"/>
                  </a:lnTo>
                  <a:lnTo>
                    <a:pt x="68" y="70"/>
                  </a:lnTo>
                  <a:lnTo>
                    <a:pt x="49" y="70"/>
                  </a:lnTo>
                  <a:close/>
                  <a:moveTo>
                    <a:pt x="129" y="58"/>
                  </a:moveTo>
                  <a:lnTo>
                    <a:pt x="129" y="9"/>
                  </a:lnTo>
                  <a:lnTo>
                    <a:pt x="68" y="9"/>
                  </a:lnTo>
                  <a:lnTo>
                    <a:pt x="88" y="29"/>
                  </a:lnTo>
                  <a:lnTo>
                    <a:pt x="107" y="29"/>
                  </a:lnTo>
                  <a:lnTo>
                    <a:pt x="107" y="58"/>
                  </a:lnTo>
                  <a:lnTo>
                    <a:pt x="78" y="58"/>
                  </a:lnTo>
                  <a:lnTo>
                    <a:pt x="119" y="99"/>
                  </a:lnTo>
                  <a:lnTo>
                    <a:pt x="158" y="58"/>
                  </a:lnTo>
                  <a:lnTo>
                    <a:pt x="129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5745B0C8-52A8-4867-8434-CB2621BB260B}"/>
                </a:ext>
              </a:extLst>
            </p:cNvPr>
            <p:cNvSpPr/>
            <p:nvPr/>
          </p:nvSpPr>
          <p:spPr bwMode="auto">
            <a:xfrm>
              <a:off x="10910496" y="2367998"/>
              <a:ext cx="321002" cy="322960"/>
            </a:xfrm>
            <a:custGeom>
              <a:avLst/>
              <a:gdLst>
                <a:gd name="T0" fmla="*/ 96 w 100"/>
                <a:gd name="T1" fmla="*/ 85 h 101"/>
                <a:gd name="T2" fmla="*/ 73 w 100"/>
                <a:gd name="T3" fmla="*/ 65 h 101"/>
                <a:gd name="T4" fmla="*/ 66 w 100"/>
                <a:gd name="T5" fmla="*/ 62 h 101"/>
                <a:gd name="T6" fmla="*/ 74 w 100"/>
                <a:gd name="T7" fmla="*/ 37 h 101"/>
                <a:gd name="T8" fmla="*/ 37 w 100"/>
                <a:gd name="T9" fmla="*/ 0 h 101"/>
                <a:gd name="T10" fmla="*/ 0 w 100"/>
                <a:gd name="T11" fmla="*/ 37 h 101"/>
                <a:gd name="T12" fmla="*/ 37 w 100"/>
                <a:gd name="T13" fmla="*/ 75 h 101"/>
                <a:gd name="T14" fmla="*/ 61 w 100"/>
                <a:gd name="T15" fmla="*/ 66 h 101"/>
                <a:gd name="T16" fmla="*/ 64 w 100"/>
                <a:gd name="T17" fmla="*/ 73 h 101"/>
                <a:gd name="T18" fmla="*/ 84 w 100"/>
                <a:gd name="T19" fmla="*/ 96 h 101"/>
                <a:gd name="T20" fmla="*/ 97 w 100"/>
                <a:gd name="T21" fmla="*/ 97 h 101"/>
                <a:gd name="T22" fmla="*/ 96 w 100"/>
                <a:gd name="T23" fmla="*/ 85 h 101"/>
                <a:gd name="T24" fmla="*/ 37 w 100"/>
                <a:gd name="T25" fmla="*/ 62 h 101"/>
                <a:gd name="T26" fmla="*/ 12 w 100"/>
                <a:gd name="T27" fmla="*/ 37 h 101"/>
                <a:gd name="T28" fmla="*/ 37 w 100"/>
                <a:gd name="T29" fmla="*/ 12 h 101"/>
                <a:gd name="T30" fmla="*/ 62 w 100"/>
                <a:gd name="T31" fmla="*/ 37 h 101"/>
                <a:gd name="T32" fmla="*/ 37 w 100"/>
                <a:gd name="T33" fmla="*/ 6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0" h="101">
                  <a:moveTo>
                    <a:pt x="96" y="85"/>
                  </a:moveTo>
                  <a:cubicBezTo>
                    <a:pt x="73" y="65"/>
                    <a:pt x="73" y="65"/>
                    <a:pt x="73" y="65"/>
                  </a:cubicBezTo>
                  <a:cubicBezTo>
                    <a:pt x="70" y="62"/>
                    <a:pt x="68" y="61"/>
                    <a:pt x="66" y="62"/>
                  </a:cubicBezTo>
                  <a:cubicBezTo>
                    <a:pt x="71" y="55"/>
                    <a:pt x="74" y="47"/>
                    <a:pt x="74" y="37"/>
                  </a:cubicBezTo>
                  <a:cubicBezTo>
                    <a:pt x="74" y="17"/>
                    <a:pt x="58" y="0"/>
                    <a:pt x="37" y="0"/>
                  </a:cubicBezTo>
                  <a:cubicBezTo>
                    <a:pt x="17" y="0"/>
                    <a:pt x="0" y="17"/>
                    <a:pt x="0" y="37"/>
                  </a:cubicBezTo>
                  <a:cubicBezTo>
                    <a:pt x="0" y="58"/>
                    <a:pt x="17" y="75"/>
                    <a:pt x="37" y="75"/>
                  </a:cubicBezTo>
                  <a:cubicBezTo>
                    <a:pt x="46" y="75"/>
                    <a:pt x="55" y="71"/>
                    <a:pt x="61" y="66"/>
                  </a:cubicBezTo>
                  <a:cubicBezTo>
                    <a:pt x="61" y="68"/>
                    <a:pt x="62" y="70"/>
                    <a:pt x="64" y="73"/>
                  </a:cubicBezTo>
                  <a:cubicBezTo>
                    <a:pt x="84" y="96"/>
                    <a:pt x="84" y="96"/>
                    <a:pt x="84" y="96"/>
                  </a:cubicBezTo>
                  <a:cubicBezTo>
                    <a:pt x="88" y="100"/>
                    <a:pt x="94" y="101"/>
                    <a:pt x="97" y="97"/>
                  </a:cubicBezTo>
                  <a:cubicBezTo>
                    <a:pt x="100" y="94"/>
                    <a:pt x="100" y="88"/>
                    <a:pt x="96" y="85"/>
                  </a:cubicBezTo>
                  <a:close/>
                  <a:moveTo>
                    <a:pt x="37" y="62"/>
                  </a:moveTo>
                  <a:cubicBezTo>
                    <a:pt x="23" y="62"/>
                    <a:pt x="12" y="51"/>
                    <a:pt x="12" y="37"/>
                  </a:cubicBezTo>
                  <a:cubicBezTo>
                    <a:pt x="12" y="24"/>
                    <a:pt x="23" y="12"/>
                    <a:pt x="37" y="12"/>
                  </a:cubicBezTo>
                  <a:cubicBezTo>
                    <a:pt x="51" y="12"/>
                    <a:pt x="62" y="24"/>
                    <a:pt x="62" y="37"/>
                  </a:cubicBezTo>
                  <a:cubicBezTo>
                    <a:pt x="62" y="51"/>
                    <a:pt x="51" y="62"/>
                    <a:pt x="37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74F4E00-2515-411A-A749-A2730A7D66BE}"/>
                </a:ext>
              </a:extLst>
            </p:cNvPr>
            <p:cNvSpPr/>
            <p:nvPr/>
          </p:nvSpPr>
          <p:spPr bwMode="auto">
            <a:xfrm>
              <a:off x="10581664" y="2328853"/>
              <a:ext cx="395380" cy="383636"/>
            </a:xfrm>
            <a:custGeom>
              <a:avLst/>
              <a:gdLst>
                <a:gd name="T0" fmla="*/ 78 w 124"/>
                <a:gd name="T1" fmla="*/ 84 h 120"/>
                <a:gd name="T2" fmla="*/ 75 w 124"/>
                <a:gd name="T3" fmla="*/ 75 h 120"/>
                <a:gd name="T4" fmla="*/ 86 w 124"/>
                <a:gd name="T5" fmla="*/ 54 h 120"/>
                <a:gd name="T6" fmla="*/ 89 w 124"/>
                <a:gd name="T7" fmla="*/ 37 h 120"/>
                <a:gd name="T8" fmla="*/ 62 w 124"/>
                <a:gd name="T9" fmla="*/ 0 h 120"/>
                <a:gd name="T10" fmla="*/ 36 w 124"/>
                <a:gd name="T11" fmla="*/ 37 h 120"/>
                <a:gd name="T12" fmla="*/ 39 w 124"/>
                <a:gd name="T13" fmla="*/ 54 h 120"/>
                <a:gd name="T14" fmla="*/ 50 w 124"/>
                <a:gd name="T15" fmla="*/ 75 h 120"/>
                <a:gd name="T16" fmla="*/ 47 w 124"/>
                <a:gd name="T17" fmla="*/ 84 h 120"/>
                <a:gd name="T18" fmla="*/ 0 w 124"/>
                <a:gd name="T19" fmla="*/ 120 h 120"/>
                <a:gd name="T20" fmla="*/ 62 w 124"/>
                <a:gd name="T21" fmla="*/ 120 h 120"/>
                <a:gd name="T22" fmla="*/ 124 w 124"/>
                <a:gd name="T23" fmla="*/ 120 h 120"/>
                <a:gd name="T24" fmla="*/ 78 w 124"/>
                <a:gd name="T25" fmla="*/ 8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20">
                  <a:moveTo>
                    <a:pt x="78" y="84"/>
                  </a:moveTo>
                  <a:cubicBezTo>
                    <a:pt x="75" y="84"/>
                    <a:pt x="75" y="75"/>
                    <a:pt x="75" y="75"/>
                  </a:cubicBezTo>
                  <a:cubicBezTo>
                    <a:pt x="75" y="75"/>
                    <a:pt x="84" y="66"/>
                    <a:pt x="86" y="54"/>
                  </a:cubicBezTo>
                  <a:cubicBezTo>
                    <a:pt x="91" y="54"/>
                    <a:pt x="94" y="42"/>
                    <a:pt x="89" y="37"/>
                  </a:cubicBezTo>
                  <a:cubicBezTo>
                    <a:pt x="89" y="32"/>
                    <a:pt x="96" y="0"/>
                    <a:pt x="62" y="0"/>
                  </a:cubicBezTo>
                  <a:cubicBezTo>
                    <a:pt x="29" y="0"/>
                    <a:pt x="36" y="32"/>
                    <a:pt x="36" y="37"/>
                  </a:cubicBezTo>
                  <a:cubicBezTo>
                    <a:pt x="31" y="42"/>
                    <a:pt x="34" y="54"/>
                    <a:pt x="39" y="54"/>
                  </a:cubicBezTo>
                  <a:cubicBezTo>
                    <a:pt x="41" y="66"/>
                    <a:pt x="50" y="75"/>
                    <a:pt x="50" y="75"/>
                  </a:cubicBezTo>
                  <a:cubicBezTo>
                    <a:pt x="50" y="75"/>
                    <a:pt x="50" y="84"/>
                    <a:pt x="47" y="84"/>
                  </a:cubicBezTo>
                  <a:cubicBezTo>
                    <a:pt x="37" y="86"/>
                    <a:pt x="0" y="102"/>
                    <a:pt x="0" y="120"/>
                  </a:cubicBezTo>
                  <a:cubicBezTo>
                    <a:pt x="62" y="120"/>
                    <a:pt x="62" y="120"/>
                    <a:pt x="62" y="120"/>
                  </a:cubicBezTo>
                  <a:cubicBezTo>
                    <a:pt x="124" y="120"/>
                    <a:pt x="124" y="120"/>
                    <a:pt x="124" y="120"/>
                  </a:cubicBezTo>
                  <a:cubicBezTo>
                    <a:pt x="124" y="102"/>
                    <a:pt x="88" y="86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9D072041-055C-4820-9BAD-CD88A134F20F}"/>
                </a:ext>
              </a:extLst>
            </p:cNvPr>
            <p:cNvSpPr/>
            <p:nvPr/>
          </p:nvSpPr>
          <p:spPr bwMode="auto">
            <a:xfrm>
              <a:off x="10658000" y="5303998"/>
              <a:ext cx="131142" cy="207478"/>
            </a:xfrm>
            <a:custGeom>
              <a:avLst/>
              <a:gdLst>
                <a:gd name="T0" fmla="*/ 21 w 41"/>
                <a:gd name="T1" fmla="*/ 0 h 65"/>
                <a:gd name="T2" fmla="*/ 0 w 41"/>
                <a:gd name="T3" fmla="*/ 20 h 65"/>
                <a:gd name="T4" fmla="*/ 21 w 41"/>
                <a:gd name="T5" fmla="*/ 65 h 65"/>
                <a:gd name="T6" fmla="*/ 41 w 41"/>
                <a:gd name="T7" fmla="*/ 20 h 65"/>
                <a:gd name="T8" fmla="*/ 21 w 41"/>
                <a:gd name="T9" fmla="*/ 0 h 65"/>
                <a:gd name="T10" fmla="*/ 21 w 41"/>
                <a:gd name="T11" fmla="*/ 33 h 65"/>
                <a:gd name="T12" fmla="*/ 8 w 41"/>
                <a:gd name="T13" fmla="*/ 20 h 65"/>
                <a:gd name="T14" fmla="*/ 21 w 41"/>
                <a:gd name="T15" fmla="*/ 8 h 65"/>
                <a:gd name="T16" fmla="*/ 33 w 41"/>
                <a:gd name="T17" fmla="*/ 20 h 65"/>
                <a:gd name="T18" fmla="*/ 21 w 41"/>
                <a:gd name="T19" fmla="*/ 33 h 65"/>
                <a:gd name="T20" fmla="*/ 13 w 41"/>
                <a:gd name="T21" fmla="*/ 20 h 65"/>
                <a:gd name="T22" fmla="*/ 21 w 41"/>
                <a:gd name="T23" fmla="*/ 28 h 65"/>
                <a:gd name="T24" fmla="*/ 29 w 41"/>
                <a:gd name="T25" fmla="*/ 20 h 65"/>
                <a:gd name="T26" fmla="*/ 21 w 41"/>
                <a:gd name="T27" fmla="*/ 12 h 65"/>
                <a:gd name="T28" fmla="*/ 13 w 41"/>
                <a:gd name="T29" fmla="*/ 2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1" h="65">
                  <a:moveTo>
                    <a:pt x="21" y="0"/>
                  </a:moveTo>
                  <a:cubicBezTo>
                    <a:pt x="9" y="0"/>
                    <a:pt x="0" y="9"/>
                    <a:pt x="0" y="20"/>
                  </a:cubicBezTo>
                  <a:cubicBezTo>
                    <a:pt x="0" y="41"/>
                    <a:pt x="21" y="65"/>
                    <a:pt x="21" y="65"/>
                  </a:cubicBezTo>
                  <a:cubicBezTo>
                    <a:pt x="21" y="65"/>
                    <a:pt x="41" y="41"/>
                    <a:pt x="41" y="20"/>
                  </a:cubicBezTo>
                  <a:cubicBezTo>
                    <a:pt x="41" y="9"/>
                    <a:pt x="32" y="0"/>
                    <a:pt x="21" y="0"/>
                  </a:cubicBezTo>
                  <a:close/>
                  <a:moveTo>
                    <a:pt x="21" y="33"/>
                  </a:moveTo>
                  <a:cubicBezTo>
                    <a:pt x="14" y="33"/>
                    <a:pt x="8" y="27"/>
                    <a:pt x="8" y="20"/>
                  </a:cubicBezTo>
                  <a:cubicBezTo>
                    <a:pt x="8" y="13"/>
                    <a:pt x="14" y="8"/>
                    <a:pt x="21" y="8"/>
                  </a:cubicBezTo>
                  <a:cubicBezTo>
                    <a:pt x="28" y="8"/>
                    <a:pt x="33" y="13"/>
                    <a:pt x="33" y="20"/>
                  </a:cubicBezTo>
                  <a:cubicBezTo>
                    <a:pt x="33" y="27"/>
                    <a:pt x="28" y="33"/>
                    <a:pt x="21" y="33"/>
                  </a:cubicBezTo>
                  <a:close/>
                  <a:moveTo>
                    <a:pt x="13" y="20"/>
                  </a:moveTo>
                  <a:cubicBezTo>
                    <a:pt x="13" y="25"/>
                    <a:pt x="16" y="28"/>
                    <a:pt x="21" y="28"/>
                  </a:cubicBezTo>
                  <a:cubicBezTo>
                    <a:pt x="25" y="28"/>
                    <a:pt x="29" y="25"/>
                    <a:pt x="29" y="20"/>
                  </a:cubicBezTo>
                  <a:cubicBezTo>
                    <a:pt x="29" y="16"/>
                    <a:pt x="25" y="12"/>
                    <a:pt x="21" y="12"/>
                  </a:cubicBezTo>
                  <a:cubicBezTo>
                    <a:pt x="16" y="12"/>
                    <a:pt x="13" y="16"/>
                    <a:pt x="13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783905B-1499-418C-AA70-C8003E7495A2}"/>
                </a:ext>
              </a:extLst>
            </p:cNvPr>
            <p:cNvSpPr/>
            <p:nvPr/>
          </p:nvSpPr>
          <p:spPr bwMode="auto">
            <a:xfrm>
              <a:off x="10515116" y="5527135"/>
              <a:ext cx="203562" cy="275983"/>
            </a:xfrm>
            <a:custGeom>
              <a:avLst/>
              <a:gdLst>
                <a:gd name="T0" fmla="*/ 58 w 64"/>
                <a:gd name="T1" fmla="*/ 9 h 86"/>
                <a:gd name="T2" fmla="*/ 24 w 64"/>
                <a:gd name="T3" fmla="*/ 1 h 86"/>
                <a:gd name="T4" fmla="*/ 16 w 64"/>
                <a:gd name="T5" fmla="*/ 7 h 86"/>
                <a:gd name="T6" fmla="*/ 1 w 64"/>
                <a:gd name="T7" fmla="*/ 68 h 86"/>
                <a:gd name="T8" fmla="*/ 6 w 64"/>
                <a:gd name="T9" fmla="*/ 77 h 86"/>
                <a:gd name="T10" fmla="*/ 39 w 64"/>
                <a:gd name="T11" fmla="*/ 85 h 86"/>
                <a:gd name="T12" fmla="*/ 48 w 64"/>
                <a:gd name="T13" fmla="*/ 80 h 86"/>
                <a:gd name="T14" fmla="*/ 63 w 64"/>
                <a:gd name="T15" fmla="*/ 18 h 86"/>
                <a:gd name="T16" fmla="*/ 58 w 64"/>
                <a:gd name="T17" fmla="*/ 9 h 86"/>
                <a:gd name="T18" fmla="*/ 31 w 64"/>
                <a:gd name="T19" fmla="*/ 7 h 86"/>
                <a:gd name="T20" fmla="*/ 50 w 64"/>
                <a:gd name="T21" fmla="*/ 11 h 86"/>
                <a:gd name="T22" fmla="*/ 49 w 64"/>
                <a:gd name="T23" fmla="*/ 14 h 86"/>
                <a:gd name="T24" fmla="*/ 30 w 64"/>
                <a:gd name="T25" fmla="*/ 9 h 86"/>
                <a:gd name="T26" fmla="*/ 31 w 64"/>
                <a:gd name="T27" fmla="*/ 7 h 86"/>
                <a:gd name="T28" fmla="*/ 24 w 64"/>
                <a:gd name="T29" fmla="*/ 76 h 86"/>
                <a:gd name="T30" fmla="*/ 20 w 64"/>
                <a:gd name="T31" fmla="*/ 71 h 86"/>
                <a:gd name="T32" fmla="*/ 26 w 64"/>
                <a:gd name="T33" fmla="*/ 67 h 86"/>
                <a:gd name="T34" fmla="*/ 30 w 64"/>
                <a:gd name="T35" fmla="*/ 73 h 86"/>
                <a:gd name="T36" fmla="*/ 24 w 64"/>
                <a:gd name="T37" fmla="*/ 76 h 86"/>
                <a:gd name="T38" fmla="*/ 46 w 64"/>
                <a:gd name="T39" fmla="*/ 67 h 86"/>
                <a:gd name="T40" fmla="*/ 8 w 64"/>
                <a:gd name="T41" fmla="*/ 58 h 86"/>
                <a:gd name="T42" fmla="*/ 20 w 64"/>
                <a:gd name="T43" fmla="*/ 10 h 86"/>
                <a:gd name="T44" fmla="*/ 58 w 64"/>
                <a:gd name="T45" fmla="*/ 19 h 86"/>
                <a:gd name="T46" fmla="*/ 46 w 64"/>
                <a:gd name="T47" fmla="*/ 67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" h="86">
                  <a:moveTo>
                    <a:pt x="58" y="9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1" y="0"/>
                    <a:pt x="17" y="3"/>
                    <a:pt x="16" y="7"/>
                  </a:cubicBezTo>
                  <a:cubicBezTo>
                    <a:pt x="1" y="68"/>
                    <a:pt x="1" y="68"/>
                    <a:pt x="1" y="68"/>
                  </a:cubicBezTo>
                  <a:cubicBezTo>
                    <a:pt x="0" y="72"/>
                    <a:pt x="2" y="76"/>
                    <a:pt x="6" y="77"/>
                  </a:cubicBezTo>
                  <a:cubicBezTo>
                    <a:pt x="39" y="85"/>
                    <a:pt x="39" y="85"/>
                    <a:pt x="39" y="85"/>
                  </a:cubicBezTo>
                  <a:cubicBezTo>
                    <a:pt x="43" y="86"/>
                    <a:pt x="47" y="84"/>
                    <a:pt x="48" y="80"/>
                  </a:cubicBezTo>
                  <a:cubicBezTo>
                    <a:pt x="63" y="18"/>
                    <a:pt x="63" y="18"/>
                    <a:pt x="63" y="18"/>
                  </a:cubicBezTo>
                  <a:cubicBezTo>
                    <a:pt x="64" y="14"/>
                    <a:pt x="61" y="10"/>
                    <a:pt x="58" y="9"/>
                  </a:cubicBezTo>
                  <a:close/>
                  <a:moveTo>
                    <a:pt x="31" y="7"/>
                  </a:moveTo>
                  <a:cubicBezTo>
                    <a:pt x="50" y="11"/>
                    <a:pt x="50" y="11"/>
                    <a:pt x="50" y="11"/>
                  </a:cubicBezTo>
                  <a:cubicBezTo>
                    <a:pt x="49" y="14"/>
                    <a:pt x="49" y="14"/>
                    <a:pt x="49" y="14"/>
                  </a:cubicBezTo>
                  <a:cubicBezTo>
                    <a:pt x="30" y="9"/>
                    <a:pt x="30" y="9"/>
                    <a:pt x="30" y="9"/>
                  </a:cubicBezTo>
                  <a:lnTo>
                    <a:pt x="31" y="7"/>
                  </a:lnTo>
                  <a:close/>
                  <a:moveTo>
                    <a:pt x="24" y="76"/>
                  </a:moveTo>
                  <a:cubicBezTo>
                    <a:pt x="21" y="76"/>
                    <a:pt x="19" y="73"/>
                    <a:pt x="20" y="71"/>
                  </a:cubicBezTo>
                  <a:cubicBezTo>
                    <a:pt x="21" y="68"/>
                    <a:pt x="23" y="66"/>
                    <a:pt x="26" y="67"/>
                  </a:cubicBezTo>
                  <a:cubicBezTo>
                    <a:pt x="29" y="68"/>
                    <a:pt x="30" y="70"/>
                    <a:pt x="30" y="73"/>
                  </a:cubicBezTo>
                  <a:cubicBezTo>
                    <a:pt x="29" y="75"/>
                    <a:pt x="26" y="77"/>
                    <a:pt x="24" y="76"/>
                  </a:cubicBezTo>
                  <a:close/>
                  <a:moveTo>
                    <a:pt x="46" y="67"/>
                  </a:moveTo>
                  <a:cubicBezTo>
                    <a:pt x="8" y="58"/>
                    <a:pt x="8" y="58"/>
                    <a:pt x="8" y="58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58" y="19"/>
                    <a:pt x="58" y="19"/>
                    <a:pt x="58" y="19"/>
                  </a:cubicBezTo>
                  <a:lnTo>
                    <a:pt x="46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CE85EA08-CE20-4545-82F5-7E1292888A37}"/>
                </a:ext>
              </a:extLst>
            </p:cNvPr>
            <p:cNvSpPr/>
            <p:nvPr/>
          </p:nvSpPr>
          <p:spPr bwMode="auto">
            <a:xfrm>
              <a:off x="10470096" y="3638308"/>
              <a:ext cx="274026" cy="207478"/>
            </a:xfrm>
            <a:custGeom>
              <a:avLst/>
              <a:gdLst>
                <a:gd name="T0" fmla="*/ 75 w 86"/>
                <a:gd name="T1" fmla="*/ 11 h 65"/>
                <a:gd name="T2" fmla="*/ 75 w 86"/>
                <a:gd name="T3" fmla="*/ 0 h 65"/>
                <a:gd name="T4" fmla="*/ 0 w 86"/>
                <a:gd name="T5" fmla="*/ 0 h 65"/>
                <a:gd name="T6" fmla="*/ 0 w 86"/>
                <a:gd name="T7" fmla="*/ 60 h 65"/>
                <a:gd name="T8" fmla="*/ 5 w 86"/>
                <a:gd name="T9" fmla="*/ 65 h 65"/>
                <a:gd name="T10" fmla="*/ 78 w 86"/>
                <a:gd name="T11" fmla="*/ 65 h 65"/>
                <a:gd name="T12" fmla="*/ 86 w 86"/>
                <a:gd name="T13" fmla="*/ 57 h 65"/>
                <a:gd name="T14" fmla="*/ 86 w 86"/>
                <a:gd name="T15" fmla="*/ 11 h 65"/>
                <a:gd name="T16" fmla="*/ 75 w 86"/>
                <a:gd name="T17" fmla="*/ 11 h 65"/>
                <a:gd name="T18" fmla="*/ 70 w 86"/>
                <a:gd name="T19" fmla="*/ 60 h 65"/>
                <a:gd name="T20" fmla="*/ 5 w 86"/>
                <a:gd name="T21" fmla="*/ 60 h 65"/>
                <a:gd name="T22" fmla="*/ 5 w 86"/>
                <a:gd name="T23" fmla="*/ 5 h 65"/>
                <a:gd name="T24" fmla="*/ 70 w 86"/>
                <a:gd name="T25" fmla="*/ 5 h 65"/>
                <a:gd name="T26" fmla="*/ 70 w 86"/>
                <a:gd name="T27" fmla="*/ 60 h 65"/>
                <a:gd name="T28" fmla="*/ 10 w 86"/>
                <a:gd name="T29" fmla="*/ 16 h 65"/>
                <a:gd name="T30" fmla="*/ 64 w 86"/>
                <a:gd name="T31" fmla="*/ 16 h 65"/>
                <a:gd name="T32" fmla="*/ 64 w 86"/>
                <a:gd name="T33" fmla="*/ 22 h 65"/>
                <a:gd name="T34" fmla="*/ 10 w 86"/>
                <a:gd name="T35" fmla="*/ 22 h 65"/>
                <a:gd name="T36" fmla="*/ 10 w 86"/>
                <a:gd name="T37" fmla="*/ 16 h 65"/>
                <a:gd name="T38" fmla="*/ 43 w 86"/>
                <a:gd name="T39" fmla="*/ 27 h 65"/>
                <a:gd name="T40" fmla="*/ 64 w 86"/>
                <a:gd name="T41" fmla="*/ 27 h 65"/>
                <a:gd name="T42" fmla="*/ 64 w 86"/>
                <a:gd name="T43" fmla="*/ 32 h 65"/>
                <a:gd name="T44" fmla="*/ 43 w 86"/>
                <a:gd name="T45" fmla="*/ 32 h 65"/>
                <a:gd name="T46" fmla="*/ 43 w 86"/>
                <a:gd name="T47" fmla="*/ 27 h 65"/>
                <a:gd name="T48" fmla="*/ 43 w 86"/>
                <a:gd name="T49" fmla="*/ 38 h 65"/>
                <a:gd name="T50" fmla="*/ 64 w 86"/>
                <a:gd name="T51" fmla="*/ 38 h 65"/>
                <a:gd name="T52" fmla="*/ 64 w 86"/>
                <a:gd name="T53" fmla="*/ 43 h 65"/>
                <a:gd name="T54" fmla="*/ 43 w 86"/>
                <a:gd name="T55" fmla="*/ 43 h 65"/>
                <a:gd name="T56" fmla="*/ 43 w 86"/>
                <a:gd name="T57" fmla="*/ 38 h 65"/>
                <a:gd name="T58" fmla="*/ 43 w 86"/>
                <a:gd name="T59" fmla="*/ 49 h 65"/>
                <a:gd name="T60" fmla="*/ 59 w 86"/>
                <a:gd name="T61" fmla="*/ 49 h 65"/>
                <a:gd name="T62" fmla="*/ 59 w 86"/>
                <a:gd name="T63" fmla="*/ 54 h 65"/>
                <a:gd name="T64" fmla="*/ 43 w 86"/>
                <a:gd name="T65" fmla="*/ 54 h 65"/>
                <a:gd name="T66" fmla="*/ 43 w 86"/>
                <a:gd name="T67" fmla="*/ 49 h 65"/>
                <a:gd name="T68" fmla="*/ 10 w 86"/>
                <a:gd name="T69" fmla="*/ 27 h 65"/>
                <a:gd name="T70" fmla="*/ 37 w 86"/>
                <a:gd name="T71" fmla="*/ 27 h 65"/>
                <a:gd name="T72" fmla="*/ 37 w 86"/>
                <a:gd name="T73" fmla="*/ 54 h 65"/>
                <a:gd name="T74" fmla="*/ 10 w 86"/>
                <a:gd name="T75" fmla="*/ 54 h 65"/>
                <a:gd name="T76" fmla="*/ 10 w 86"/>
                <a:gd name="T77" fmla="*/ 27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6" h="65">
                  <a:moveTo>
                    <a:pt x="75" y="11"/>
                  </a:moveTo>
                  <a:cubicBezTo>
                    <a:pt x="75" y="0"/>
                    <a:pt x="75" y="0"/>
                    <a:pt x="7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60"/>
                    <a:pt x="0" y="60"/>
                    <a:pt x="0" y="60"/>
                  </a:cubicBezTo>
                  <a:cubicBezTo>
                    <a:pt x="0" y="62"/>
                    <a:pt x="2" y="65"/>
                    <a:pt x="5" y="65"/>
                  </a:cubicBezTo>
                  <a:cubicBezTo>
                    <a:pt x="78" y="65"/>
                    <a:pt x="78" y="65"/>
                    <a:pt x="78" y="65"/>
                  </a:cubicBezTo>
                  <a:cubicBezTo>
                    <a:pt x="82" y="65"/>
                    <a:pt x="86" y="61"/>
                    <a:pt x="86" y="57"/>
                  </a:cubicBezTo>
                  <a:cubicBezTo>
                    <a:pt x="86" y="11"/>
                    <a:pt x="86" y="11"/>
                    <a:pt x="86" y="11"/>
                  </a:cubicBezTo>
                  <a:lnTo>
                    <a:pt x="75" y="11"/>
                  </a:lnTo>
                  <a:close/>
                  <a:moveTo>
                    <a:pt x="70" y="60"/>
                  </a:moveTo>
                  <a:cubicBezTo>
                    <a:pt x="5" y="60"/>
                    <a:pt x="5" y="60"/>
                    <a:pt x="5" y="60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70" y="5"/>
                    <a:pt x="70" y="5"/>
                    <a:pt x="70" y="5"/>
                  </a:cubicBezTo>
                  <a:lnTo>
                    <a:pt x="70" y="60"/>
                  </a:lnTo>
                  <a:close/>
                  <a:moveTo>
                    <a:pt x="10" y="16"/>
                  </a:moveTo>
                  <a:cubicBezTo>
                    <a:pt x="64" y="16"/>
                    <a:pt x="64" y="16"/>
                    <a:pt x="64" y="16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10" y="22"/>
                    <a:pt x="10" y="22"/>
                    <a:pt x="10" y="22"/>
                  </a:cubicBezTo>
                  <a:lnTo>
                    <a:pt x="10" y="16"/>
                  </a:lnTo>
                  <a:close/>
                  <a:moveTo>
                    <a:pt x="43" y="27"/>
                  </a:moveTo>
                  <a:cubicBezTo>
                    <a:pt x="64" y="27"/>
                    <a:pt x="64" y="27"/>
                    <a:pt x="64" y="27"/>
                  </a:cubicBezTo>
                  <a:cubicBezTo>
                    <a:pt x="64" y="32"/>
                    <a:pt x="64" y="32"/>
                    <a:pt x="64" y="32"/>
                  </a:cubicBezTo>
                  <a:cubicBezTo>
                    <a:pt x="43" y="32"/>
                    <a:pt x="43" y="32"/>
                    <a:pt x="43" y="32"/>
                  </a:cubicBezTo>
                  <a:lnTo>
                    <a:pt x="43" y="27"/>
                  </a:lnTo>
                  <a:close/>
                  <a:moveTo>
                    <a:pt x="43" y="38"/>
                  </a:moveTo>
                  <a:cubicBezTo>
                    <a:pt x="64" y="38"/>
                    <a:pt x="64" y="38"/>
                    <a:pt x="64" y="38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43" y="43"/>
                    <a:pt x="43" y="43"/>
                    <a:pt x="43" y="43"/>
                  </a:cubicBezTo>
                  <a:lnTo>
                    <a:pt x="43" y="38"/>
                  </a:lnTo>
                  <a:close/>
                  <a:moveTo>
                    <a:pt x="43" y="49"/>
                  </a:moveTo>
                  <a:cubicBezTo>
                    <a:pt x="59" y="49"/>
                    <a:pt x="59" y="49"/>
                    <a:pt x="59" y="49"/>
                  </a:cubicBezTo>
                  <a:cubicBezTo>
                    <a:pt x="59" y="54"/>
                    <a:pt x="59" y="54"/>
                    <a:pt x="59" y="54"/>
                  </a:cubicBezTo>
                  <a:cubicBezTo>
                    <a:pt x="43" y="54"/>
                    <a:pt x="43" y="54"/>
                    <a:pt x="43" y="54"/>
                  </a:cubicBezTo>
                  <a:lnTo>
                    <a:pt x="43" y="49"/>
                  </a:lnTo>
                  <a:close/>
                  <a:moveTo>
                    <a:pt x="10" y="27"/>
                  </a:moveTo>
                  <a:cubicBezTo>
                    <a:pt x="37" y="27"/>
                    <a:pt x="37" y="27"/>
                    <a:pt x="37" y="27"/>
                  </a:cubicBezTo>
                  <a:cubicBezTo>
                    <a:pt x="37" y="54"/>
                    <a:pt x="37" y="54"/>
                    <a:pt x="37" y="54"/>
                  </a:cubicBezTo>
                  <a:cubicBezTo>
                    <a:pt x="10" y="54"/>
                    <a:pt x="10" y="54"/>
                    <a:pt x="10" y="54"/>
                  </a:cubicBezTo>
                  <a:lnTo>
                    <a:pt x="10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7791AFC3-90ED-42C4-B318-5E97222F799D}"/>
                </a:ext>
              </a:extLst>
            </p:cNvPr>
            <p:cNvSpPr/>
            <p:nvPr/>
          </p:nvSpPr>
          <p:spPr bwMode="auto">
            <a:xfrm>
              <a:off x="10763696" y="2767294"/>
              <a:ext cx="256411" cy="256409"/>
            </a:xfrm>
            <a:custGeom>
              <a:avLst/>
              <a:gdLst>
                <a:gd name="T0" fmla="*/ 0 w 131"/>
                <a:gd name="T1" fmla="*/ 131 h 131"/>
                <a:gd name="T2" fmla="*/ 65 w 131"/>
                <a:gd name="T3" fmla="*/ 131 h 131"/>
                <a:gd name="T4" fmla="*/ 65 w 131"/>
                <a:gd name="T5" fmla="*/ 0 h 131"/>
                <a:gd name="T6" fmla="*/ 0 w 131"/>
                <a:gd name="T7" fmla="*/ 0 h 131"/>
                <a:gd name="T8" fmla="*/ 0 w 131"/>
                <a:gd name="T9" fmla="*/ 131 h 131"/>
                <a:gd name="T10" fmla="*/ 41 w 131"/>
                <a:gd name="T11" fmla="*/ 17 h 131"/>
                <a:gd name="T12" fmla="*/ 57 w 131"/>
                <a:gd name="T13" fmla="*/ 17 h 131"/>
                <a:gd name="T14" fmla="*/ 57 w 131"/>
                <a:gd name="T15" fmla="*/ 33 h 131"/>
                <a:gd name="T16" fmla="*/ 41 w 131"/>
                <a:gd name="T17" fmla="*/ 33 h 131"/>
                <a:gd name="T18" fmla="*/ 41 w 131"/>
                <a:gd name="T19" fmla="*/ 17 h 131"/>
                <a:gd name="T20" fmla="*/ 41 w 131"/>
                <a:gd name="T21" fmla="*/ 49 h 131"/>
                <a:gd name="T22" fmla="*/ 57 w 131"/>
                <a:gd name="T23" fmla="*/ 49 h 131"/>
                <a:gd name="T24" fmla="*/ 57 w 131"/>
                <a:gd name="T25" fmla="*/ 66 h 131"/>
                <a:gd name="T26" fmla="*/ 41 w 131"/>
                <a:gd name="T27" fmla="*/ 66 h 131"/>
                <a:gd name="T28" fmla="*/ 41 w 131"/>
                <a:gd name="T29" fmla="*/ 49 h 131"/>
                <a:gd name="T30" fmla="*/ 41 w 131"/>
                <a:gd name="T31" fmla="*/ 82 h 131"/>
                <a:gd name="T32" fmla="*/ 57 w 131"/>
                <a:gd name="T33" fmla="*/ 82 h 131"/>
                <a:gd name="T34" fmla="*/ 57 w 131"/>
                <a:gd name="T35" fmla="*/ 98 h 131"/>
                <a:gd name="T36" fmla="*/ 41 w 131"/>
                <a:gd name="T37" fmla="*/ 98 h 131"/>
                <a:gd name="T38" fmla="*/ 41 w 131"/>
                <a:gd name="T39" fmla="*/ 82 h 131"/>
                <a:gd name="T40" fmla="*/ 8 w 131"/>
                <a:gd name="T41" fmla="*/ 17 h 131"/>
                <a:gd name="T42" fmla="*/ 24 w 131"/>
                <a:gd name="T43" fmla="*/ 17 h 131"/>
                <a:gd name="T44" fmla="*/ 24 w 131"/>
                <a:gd name="T45" fmla="*/ 33 h 131"/>
                <a:gd name="T46" fmla="*/ 8 w 131"/>
                <a:gd name="T47" fmla="*/ 33 h 131"/>
                <a:gd name="T48" fmla="*/ 8 w 131"/>
                <a:gd name="T49" fmla="*/ 17 h 131"/>
                <a:gd name="T50" fmla="*/ 8 w 131"/>
                <a:gd name="T51" fmla="*/ 49 h 131"/>
                <a:gd name="T52" fmla="*/ 24 w 131"/>
                <a:gd name="T53" fmla="*/ 49 h 131"/>
                <a:gd name="T54" fmla="*/ 24 w 131"/>
                <a:gd name="T55" fmla="*/ 66 h 131"/>
                <a:gd name="T56" fmla="*/ 8 w 131"/>
                <a:gd name="T57" fmla="*/ 66 h 131"/>
                <a:gd name="T58" fmla="*/ 8 w 131"/>
                <a:gd name="T59" fmla="*/ 49 h 131"/>
                <a:gd name="T60" fmla="*/ 8 w 131"/>
                <a:gd name="T61" fmla="*/ 82 h 131"/>
                <a:gd name="T62" fmla="*/ 24 w 131"/>
                <a:gd name="T63" fmla="*/ 82 h 131"/>
                <a:gd name="T64" fmla="*/ 24 w 131"/>
                <a:gd name="T65" fmla="*/ 98 h 131"/>
                <a:gd name="T66" fmla="*/ 8 w 131"/>
                <a:gd name="T67" fmla="*/ 98 h 131"/>
                <a:gd name="T68" fmla="*/ 8 w 131"/>
                <a:gd name="T69" fmla="*/ 82 h 131"/>
                <a:gd name="T70" fmla="*/ 73 w 131"/>
                <a:gd name="T71" fmla="*/ 41 h 131"/>
                <a:gd name="T72" fmla="*/ 131 w 131"/>
                <a:gd name="T73" fmla="*/ 41 h 131"/>
                <a:gd name="T74" fmla="*/ 131 w 131"/>
                <a:gd name="T75" fmla="*/ 49 h 131"/>
                <a:gd name="T76" fmla="*/ 73 w 131"/>
                <a:gd name="T77" fmla="*/ 49 h 131"/>
                <a:gd name="T78" fmla="*/ 73 w 131"/>
                <a:gd name="T79" fmla="*/ 41 h 131"/>
                <a:gd name="T80" fmla="*/ 73 w 131"/>
                <a:gd name="T81" fmla="*/ 131 h 131"/>
                <a:gd name="T82" fmla="*/ 90 w 131"/>
                <a:gd name="T83" fmla="*/ 131 h 131"/>
                <a:gd name="T84" fmla="*/ 90 w 131"/>
                <a:gd name="T85" fmla="*/ 98 h 131"/>
                <a:gd name="T86" fmla="*/ 114 w 131"/>
                <a:gd name="T87" fmla="*/ 98 h 131"/>
                <a:gd name="T88" fmla="*/ 114 w 131"/>
                <a:gd name="T89" fmla="*/ 131 h 131"/>
                <a:gd name="T90" fmla="*/ 131 w 131"/>
                <a:gd name="T91" fmla="*/ 131 h 131"/>
                <a:gd name="T92" fmla="*/ 131 w 131"/>
                <a:gd name="T93" fmla="*/ 57 h 131"/>
                <a:gd name="T94" fmla="*/ 73 w 131"/>
                <a:gd name="T95" fmla="*/ 57 h 131"/>
                <a:gd name="T96" fmla="*/ 73 w 131"/>
                <a:gd name="T9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1" h="131">
                  <a:moveTo>
                    <a:pt x="0" y="131"/>
                  </a:moveTo>
                  <a:lnTo>
                    <a:pt x="65" y="131"/>
                  </a:lnTo>
                  <a:lnTo>
                    <a:pt x="65" y="0"/>
                  </a:lnTo>
                  <a:lnTo>
                    <a:pt x="0" y="0"/>
                  </a:lnTo>
                  <a:lnTo>
                    <a:pt x="0" y="131"/>
                  </a:lnTo>
                  <a:close/>
                  <a:moveTo>
                    <a:pt x="41" y="17"/>
                  </a:moveTo>
                  <a:lnTo>
                    <a:pt x="57" y="17"/>
                  </a:lnTo>
                  <a:lnTo>
                    <a:pt x="57" y="33"/>
                  </a:lnTo>
                  <a:lnTo>
                    <a:pt x="41" y="33"/>
                  </a:lnTo>
                  <a:lnTo>
                    <a:pt x="41" y="17"/>
                  </a:lnTo>
                  <a:close/>
                  <a:moveTo>
                    <a:pt x="41" y="49"/>
                  </a:moveTo>
                  <a:lnTo>
                    <a:pt x="57" y="49"/>
                  </a:lnTo>
                  <a:lnTo>
                    <a:pt x="57" y="66"/>
                  </a:lnTo>
                  <a:lnTo>
                    <a:pt x="41" y="66"/>
                  </a:lnTo>
                  <a:lnTo>
                    <a:pt x="41" y="49"/>
                  </a:lnTo>
                  <a:close/>
                  <a:moveTo>
                    <a:pt x="41" y="82"/>
                  </a:moveTo>
                  <a:lnTo>
                    <a:pt x="57" y="82"/>
                  </a:lnTo>
                  <a:lnTo>
                    <a:pt x="57" y="98"/>
                  </a:lnTo>
                  <a:lnTo>
                    <a:pt x="41" y="98"/>
                  </a:lnTo>
                  <a:lnTo>
                    <a:pt x="41" y="82"/>
                  </a:lnTo>
                  <a:close/>
                  <a:moveTo>
                    <a:pt x="8" y="17"/>
                  </a:moveTo>
                  <a:lnTo>
                    <a:pt x="24" y="17"/>
                  </a:lnTo>
                  <a:lnTo>
                    <a:pt x="24" y="33"/>
                  </a:lnTo>
                  <a:lnTo>
                    <a:pt x="8" y="33"/>
                  </a:lnTo>
                  <a:lnTo>
                    <a:pt x="8" y="17"/>
                  </a:lnTo>
                  <a:close/>
                  <a:moveTo>
                    <a:pt x="8" y="49"/>
                  </a:moveTo>
                  <a:lnTo>
                    <a:pt x="24" y="49"/>
                  </a:lnTo>
                  <a:lnTo>
                    <a:pt x="24" y="66"/>
                  </a:lnTo>
                  <a:lnTo>
                    <a:pt x="8" y="66"/>
                  </a:lnTo>
                  <a:lnTo>
                    <a:pt x="8" y="49"/>
                  </a:lnTo>
                  <a:close/>
                  <a:moveTo>
                    <a:pt x="8" y="82"/>
                  </a:moveTo>
                  <a:lnTo>
                    <a:pt x="24" y="82"/>
                  </a:lnTo>
                  <a:lnTo>
                    <a:pt x="24" y="98"/>
                  </a:lnTo>
                  <a:lnTo>
                    <a:pt x="8" y="98"/>
                  </a:lnTo>
                  <a:lnTo>
                    <a:pt x="8" y="82"/>
                  </a:lnTo>
                  <a:close/>
                  <a:moveTo>
                    <a:pt x="73" y="41"/>
                  </a:moveTo>
                  <a:lnTo>
                    <a:pt x="131" y="41"/>
                  </a:lnTo>
                  <a:lnTo>
                    <a:pt x="131" y="49"/>
                  </a:lnTo>
                  <a:lnTo>
                    <a:pt x="73" y="49"/>
                  </a:lnTo>
                  <a:lnTo>
                    <a:pt x="73" y="41"/>
                  </a:lnTo>
                  <a:close/>
                  <a:moveTo>
                    <a:pt x="73" y="131"/>
                  </a:moveTo>
                  <a:lnTo>
                    <a:pt x="90" y="131"/>
                  </a:lnTo>
                  <a:lnTo>
                    <a:pt x="90" y="98"/>
                  </a:lnTo>
                  <a:lnTo>
                    <a:pt x="114" y="98"/>
                  </a:lnTo>
                  <a:lnTo>
                    <a:pt x="114" y="131"/>
                  </a:lnTo>
                  <a:lnTo>
                    <a:pt x="131" y="131"/>
                  </a:lnTo>
                  <a:lnTo>
                    <a:pt x="131" y="57"/>
                  </a:lnTo>
                  <a:lnTo>
                    <a:pt x="73" y="57"/>
                  </a:lnTo>
                  <a:lnTo>
                    <a:pt x="73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42AC2529-CCB1-4481-B06F-9BEC88C9077C}"/>
                </a:ext>
              </a:extLst>
            </p:cNvPr>
            <p:cNvSpPr/>
            <p:nvPr/>
          </p:nvSpPr>
          <p:spPr bwMode="auto">
            <a:xfrm>
              <a:off x="10712806" y="3080469"/>
              <a:ext cx="272069" cy="272069"/>
            </a:xfrm>
            <a:custGeom>
              <a:avLst/>
              <a:gdLst>
                <a:gd name="T0" fmla="*/ 79 w 85"/>
                <a:gd name="T1" fmla="*/ 24 h 85"/>
                <a:gd name="T2" fmla="*/ 61 w 85"/>
                <a:gd name="T3" fmla="*/ 6 h 85"/>
                <a:gd name="T4" fmla="*/ 66 w 85"/>
                <a:gd name="T5" fmla="*/ 0 h 85"/>
                <a:gd name="T6" fmla="*/ 85 w 85"/>
                <a:gd name="T7" fmla="*/ 19 h 85"/>
                <a:gd name="T8" fmla="*/ 79 w 85"/>
                <a:gd name="T9" fmla="*/ 24 h 85"/>
                <a:gd name="T10" fmla="*/ 74 w 85"/>
                <a:gd name="T11" fmla="*/ 30 h 85"/>
                <a:gd name="T12" fmla="*/ 71 w 85"/>
                <a:gd name="T13" fmla="*/ 59 h 85"/>
                <a:gd name="T14" fmla="*/ 13 w 85"/>
                <a:gd name="T15" fmla="*/ 85 h 85"/>
                <a:gd name="T16" fmla="*/ 8 w 85"/>
                <a:gd name="T17" fmla="*/ 81 h 85"/>
                <a:gd name="T18" fmla="*/ 31 w 85"/>
                <a:gd name="T19" fmla="*/ 58 h 85"/>
                <a:gd name="T20" fmla="*/ 34 w 85"/>
                <a:gd name="T21" fmla="*/ 59 h 85"/>
                <a:gd name="T22" fmla="*/ 42 w 85"/>
                <a:gd name="T23" fmla="*/ 51 h 85"/>
                <a:gd name="T24" fmla="*/ 34 w 85"/>
                <a:gd name="T25" fmla="*/ 43 h 85"/>
                <a:gd name="T26" fmla="*/ 26 w 85"/>
                <a:gd name="T27" fmla="*/ 51 h 85"/>
                <a:gd name="T28" fmla="*/ 27 w 85"/>
                <a:gd name="T29" fmla="*/ 54 h 85"/>
                <a:gd name="T30" fmla="*/ 4 w 85"/>
                <a:gd name="T31" fmla="*/ 76 h 85"/>
                <a:gd name="T32" fmla="*/ 0 w 85"/>
                <a:gd name="T33" fmla="*/ 72 h 85"/>
                <a:gd name="T34" fmla="*/ 26 w 85"/>
                <a:gd name="T35" fmla="*/ 14 h 85"/>
                <a:gd name="T36" fmla="*/ 55 w 85"/>
                <a:gd name="T37" fmla="*/ 11 h 85"/>
                <a:gd name="T38" fmla="*/ 74 w 85"/>
                <a:gd name="T39" fmla="*/ 30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85">
                  <a:moveTo>
                    <a:pt x="79" y="24"/>
                  </a:moveTo>
                  <a:cubicBezTo>
                    <a:pt x="61" y="6"/>
                    <a:pt x="61" y="6"/>
                    <a:pt x="61" y="6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85" y="19"/>
                    <a:pt x="85" y="19"/>
                    <a:pt x="85" y="19"/>
                  </a:cubicBezTo>
                  <a:lnTo>
                    <a:pt x="79" y="24"/>
                  </a:lnTo>
                  <a:close/>
                  <a:moveTo>
                    <a:pt x="74" y="30"/>
                  </a:moveTo>
                  <a:cubicBezTo>
                    <a:pt x="71" y="59"/>
                    <a:pt x="71" y="59"/>
                    <a:pt x="71" y="59"/>
                  </a:cubicBezTo>
                  <a:cubicBezTo>
                    <a:pt x="47" y="59"/>
                    <a:pt x="13" y="85"/>
                    <a:pt x="13" y="85"/>
                  </a:cubicBezTo>
                  <a:cubicBezTo>
                    <a:pt x="8" y="81"/>
                    <a:pt x="8" y="81"/>
                    <a:pt x="8" y="81"/>
                  </a:cubicBezTo>
                  <a:cubicBezTo>
                    <a:pt x="31" y="58"/>
                    <a:pt x="31" y="58"/>
                    <a:pt x="31" y="58"/>
                  </a:cubicBezTo>
                  <a:cubicBezTo>
                    <a:pt x="32" y="59"/>
                    <a:pt x="33" y="59"/>
                    <a:pt x="34" y="59"/>
                  </a:cubicBezTo>
                  <a:cubicBezTo>
                    <a:pt x="38" y="59"/>
                    <a:pt x="42" y="55"/>
                    <a:pt x="42" y="51"/>
                  </a:cubicBezTo>
                  <a:cubicBezTo>
                    <a:pt x="42" y="46"/>
                    <a:pt x="38" y="43"/>
                    <a:pt x="34" y="43"/>
                  </a:cubicBezTo>
                  <a:cubicBezTo>
                    <a:pt x="30" y="43"/>
                    <a:pt x="26" y="46"/>
                    <a:pt x="26" y="51"/>
                  </a:cubicBezTo>
                  <a:cubicBezTo>
                    <a:pt x="26" y="52"/>
                    <a:pt x="26" y="53"/>
                    <a:pt x="27" y="54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72"/>
                    <a:pt x="26" y="37"/>
                    <a:pt x="26" y="14"/>
                  </a:cubicBezTo>
                  <a:cubicBezTo>
                    <a:pt x="55" y="11"/>
                    <a:pt x="55" y="11"/>
                    <a:pt x="55" y="11"/>
                  </a:cubicBezTo>
                  <a:lnTo>
                    <a:pt x="74" y="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3E77B0AC-E413-4266-99FB-F343D4B99E8B}"/>
                </a:ext>
              </a:extLst>
            </p:cNvPr>
            <p:cNvSpPr/>
            <p:nvPr/>
          </p:nvSpPr>
          <p:spPr bwMode="auto">
            <a:xfrm>
              <a:off x="10466182" y="2757508"/>
              <a:ext cx="246623" cy="246624"/>
            </a:xfrm>
            <a:custGeom>
              <a:avLst/>
              <a:gdLst>
                <a:gd name="T0" fmla="*/ 53 w 77"/>
                <a:gd name="T1" fmla="*/ 30 h 77"/>
                <a:gd name="T2" fmla="*/ 26 w 77"/>
                <a:gd name="T3" fmla="*/ 2 h 77"/>
                <a:gd name="T4" fmla="*/ 39 w 77"/>
                <a:gd name="T5" fmla="*/ 0 h 77"/>
                <a:gd name="T6" fmla="*/ 53 w 77"/>
                <a:gd name="T7" fmla="*/ 3 h 77"/>
                <a:gd name="T8" fmla="*/ 53 w 77"/>
                <a:gd name="T9" fmla="*/ 30 h 77"/>
                <a:gd name="T10" fmla="*/ 58 w 77"/>
                <a:gd name="T11" fmla="*/ 53 h 77"/>
                <a:gd name="T12" fmla="*/ 58 w 77"/>
                <a:gd name="T13" fmla="*/ 5 h 77"/>
                <a:gd name="T14" fmla="*/ 77 w 77"/>
                <a:gd name="T15" fmla="*/ 38 h 77"/>
                <a:gd name="T16" fmla="*/ 74 w 77"/>
                <a:gd name="T17" fmla="*/ 53 h 77"/>
                <a:gd name="T18" fmla="*/ 58 w 77"/>
                <a:gd name="T19" fmla="*/ 53 h 77"/>
                <a:gd name="T20" fmla="*/ 24 w 77"/>
                <a:gd name="T21" fmla="*/ 58 h 77"/>
                <a:gd name="T22" fmla="*/ 72 w 77"/>
                <a:gd name="T23" fmla="*/ 58 h 77"/>
                <a:gd name="T24" fmla="*/ 39 w 77"/>
                <a:gd name="T25" fmla="*/ 77 h 77"/>
                <a:gd name="T26" fmla="*/ 24 w 77"/>
                <a:gd name="T27" fmla="*/ 74 h 77"/>
                <a:gd name="T28" fmla="*/ 24 w 77"/>
                <a:gd name="T29" fmla="*/ 58 h 77"/>
                <a:gd name="T30" fmla="*/ 32 w 77"/>
                <a:gd name="T31" fmla="*/ 17 h 77"/>
                <a:gd name="T32" fmla="*/ 1 w 77"/>
                <a:gd name="T33" fmla="*/ 48 h 77"/>
                <a:gd name="T34" fmla="*/ 0 w 77"/>
                <a:gd name="T35" fmla="*/ 38 h 77"/>
                <a:gd name="T36" fmla="*/ 20 w 77"/>
                <a:gd name="T37" fmla="*/ 5 h 77"/>
                <a:gd name="T38" fmla="*/ 32 w 77"/>
                <a:gd name="T39" fmla="*/ 17 h 77"/>
                <a:gd name="T40" fmla="*/ 20 w 77"/>
                <a:gd name="T41" fmla="*/ 38 h 77"/>
                <a:gd name="T42" fmla="*/ 20 w 77"/>
                <a:gd name="T43" fmla="*/ 72 h 77"/>
                <a:gd name="T44" fmla="*/ 4 w 77"/>
                <a:gd name="T45" fmla="*/ 54 h 77"/>
                <a:gd name="T46" fmla="*/ 20 w 77"/>
                <a:gd name="T47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77">
                  <a:moveTo>
                    <a:pt x="53" y="30"/>
                  </a:moveTo>
                  <a:cubicBezTo>
                    <a:pt x="26" y="2"/>
                    <a:pt x="26" y="2"/>
                    <a:pt x="26" y="2"/>
                  </a:cubicBezTo>
                  <a:cubicBezTo>
                    <a:pt x="30" y="1"/>
                    <a:pt x="34" y="0"/>
                    <a:pt x="39" y="0"/>
                  </a:cubicBezTo>
                  <a:cubicBezTo>
                    <a:pt x="44" y="0"/>
                    <a:pt x="49" y="1"/>
                    <a:pt x="53" y="3"/>
                  </a:cubicBezTo>
                  <a:lnTo>
                    <a:pt x="53" y="30"/>
                  </a:lnTo>
                  <a:close/>
                  <a:moveTo>
                    <a:pt x="58" y="53"/>
                  </a:moveTo>
                  <a:cubicBezTo>
                    <a:pt x="58" y="5"/>
                    <a:pt x="58" y="5"/>
                    <a:pt x="58" y="5"/>
                  </a:cubicBezTo>
                  <a:cubicBezTo>
                    <a:pt x="69" y="12"/>
                    <a:pt x="77" y="24"/>
                    <a:pt x="77" y="38"/>
                  </a:cubicBezTo>
                  <a:cubicBezTo>
                    <a:pt x="77" y="43"/>
                    <a:pt x="76" y="48"/>
                    <a:pt x="74" y="53"/>
                  </a:cubicBezTo>
                  <a:lnTo>
                    <a:pt x="58" y="53"/>
                  </a:lnTo>
                  <a:close/>
                  <a:moveTo>
                    <a:pt x="24" y="58"/>
                  </a:moveTo>
                  <a:cubicBezTo>
                    <a:pt x="72" y="58"/>
                    <a:pt x="72" y="58"/>
                    <a:pt x="72" y="58"/>
                  </a:cubicBezTo>
                  <a:cubicBezTo>
                    <a:pt x="65" y="69"/>
                    <a:pt x="53" y="77"/>
                    <a:pt x="39" y="77"/>
                  </a:cubicBezTo>
                  <a:cubicBezTo>
                    <a:pt x="34" y="77"/>
                    <a:pt x="29" y="76"/>
                    <a:pt x="24" y="74"/>
                  </a:cubicBezTo>
                  <a:lnTo>
                    <a:pt x="24" y="58"/>
                  </a:lnTo>
                  <a:close/>
                  <a:moveTo>
                    <a:pt x="32" y="17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1" y="45"/>
                    <a:pt x="0" y="42"/>
                    <a:pt x="0" y="38"/>
                  </a:cubicBezTo>
                  <a:cubicBezTo>
                    <a:pt x="0" y="24"/>
                    <a:pt x="8" y="11"/>
                    <a:pt x="20" y="5"/>
                  </a:cubicBezTo>
                  <a:lnTo>
                    <a:pt x="32" y="17"/>
                  </a:lnTo>
                  <a:close/>
                  <a:moveTo>
                    <a:pt x="20" y="38"/>
                  </a:moveTo>
                  <a:cubicBezTo>
                    <a:pt x="20" y="72"/>
                    <a:pt x="20" y="72"/>
                    <a:pt x="20" y="72"/>
                  </a:cubicBezTo>
                  <a:cubicBezTo>
                    <a:pt x="12" y="68"/>
                    <a:pt x="7" y="61"/>
                    <a:pt x="4" y="54"/>
                  </a:cubicBezTo>
                  <a:lnTo>
                    <a:pt x="20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3A88A2B8-4DB1-4B24-A625-D05E5A25A3A4}"/>
                </a:ext>
              </a:extLst>
            </p:cNvPr>
            <p:cNvSpPr/>
            <p:nvPr/>
          </p:nvSpPr>
          <p:spPr bwMode="auto">
            <a:xfrm>
              <a:off x="10462269" y="3049152"/>
              <a:ext cx="230965" cy="185946"/>
            </a:xfrm>
            <a:custGeom>
              <a:avLst/>
              <a:gdLst>
                <a:gd name="T0" fmla="*/ 0 w 72"/>
                <a:gd name="T1" fmla="*/ 0 h 58"/>
                <a:gd name="T2" fmla="*/ 0 w 72"/>
                <a:gd name="T3" fmla="*/ 58 h 58"/>
                <a:gd name="T4" fmla="*/ 72 w 72"/>
                <a:gd name="T5" fmla="*/ 58 h 58"/>
                <a:gd name="T6" fmla="*/ 72 w 72"/>
                <a:gd name="T7" fmla="*/ 0 h 58"/>
                <a:gd name="T8" fmla="*/ 0 w 72"/>
                <a:gd name="T9" fmla="*/ 0 h 58"/>
                <a:gd name="T10" fmla="*/ 67 w 72"/>
                <a:gd name="T11" fmla="*/ 53 h 58"/>
                <a:gd name="T12" fmla="*/ 4 w 72"/>
                <a:gd name="T13" fmla="*/ 53 h 58"/>
                <a:gd name="T14" fmla="*/ 4 w 72"/>
                <a:gd name="T15" fmla="*/ 4 h 58"/>
                <a:gd name="T16" fmla="*/ 67 w 72"/>
                <a:gd name="T17" fmla="*/ 4 h 58"/>
                <a:gd name="T18" fmla="*/ 67 w 72"/>
                <a:gd name="T19" fmla="*/ 53 h 58"/>
                <a:gd name="T20" fmla="*/ 49 w 72"/>
                <a:gd name="T21" fmla="*/ 15 h 58"/>
                <a:gd name="T22" fmla="*/ 56 w 72"/>
                <a:gd name="T23" fmla="*/ 22 h 58"/>
                <a:gd name="T24" fmla="*/ 63 w 72"/>
                <a:gd name="T25" fmla="*/ 15 h 58"/>
                <a:gd name="T26" fmla="*/ 56 w 72"/>
                <a:gd name="T27" fmla="*/ 9 h 58"/>
                <a:gd name="T28" fmla="*/ 49 w 72"/>
                <a:gd name="T29" fmla="*/ 15 h 58"/>
                <a:gd name="T30" fmla="*/ 63 w 72"/>
                <a:gd name="T31" fmla="*/ 49 h 58"/>
                <a:gd name="T32" fmla="*/ 9 w 72"/>
                <a:gd name="T33" fmla="*/ 49 h 58"/>
                <a:gd name="T34" fmla="*/ 22 w 72"/>
                <a:gd name="T35" fmla="*/ 13 h 58"/>
                <a:gd name="T36" fmla="*/ 40 w 72"/>
                <a:gd name="T37" fmla="*/ 35 h 58"/>
                <a:gd name="T38" fmla="*/ 49 w 72"/>
                <a:gd name="T39" fmla="*/ 29 h 58"/>
                <a:gd name="T40" fmla="*/ 63 w 72"/>
                <a:gd name="T41" fmla="*/ 49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58">
                  <a:moveTo>
                    <a:pt x="0" y="0"/>
                  </a:moveTo>
                  <a:cubicBezTo>
                    <a:pt x="0" y="58"/>
                    <a:pt x="0" y="58"/>
                    <a:pt x="0" y="58"/>
                  </a:cubicBezTo>
                  <a:cubicBezTo>
                    <a:pt x="72" y="58"/>
                    <a:pt x="72" y="58"/>
                    <a:pt x="72" y="58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0" y="0"/>
                  </a:lnTo>
                  <a:close/>
                  <a:moveTo>
                    <a:pt x="67" y="53"/>
                  </a:moveTo>
                  <a:cubicBezTo>
                    <a:pt x="4" y="53"/>
                    <a:pt x="4" y="53"/>
                    <a:pt x="4" y="53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67" y="4"/>
                    <a:pt x="67" y="4"/>
                    <a:pt x="67" y="4"/>
                  </a:cubicBezTo>
                  <a:lnTo>
                    <a:pt x="67" y="53"/>
                  </a:lnTo>
                  <a:close/>
                  <a:moveTo>
                    <a:pt x="49" y="15"/>
                  </a:moveTo>
                  <a:cubicBezTo>
                    <a:pt x="49" y="19"/>
                    <a:pt x="52" y="22"/>
                    <a:pt x="56" y="22"/>
                  </a:cubicBezTo>
                  <a:cubicBezTo>
                    <a:pt x="60" y="22"/>
                    <a:pt x="63" y="19"/>
                    <a:pt x="63" y="15"/>
                  </a:cubicBezTo>
                  <a:cubicBezTo>
                    <a:pt x="63" y="12"/>
                    <a:pt x="60" y="9"/>
                    <a:pt x="56" y="9"/>
                  </a:cubicBezTo>
                  <a:cubicBezTo>
                    <a:pt x="52" y="9"/>
                    <a:pt x="49" y="12"/>
                    <a:pt x="49" y="15"/>
                  </a:cubicBezTo>
                  <a:close/>
                  <a:moveTo>
                    <a:pt x="63" y="49"/>
                  </a:moveTo>
                  <a:cubicBezTo>
                    <a:pt x="9" y="49"/>
                    <a:pt x="9" y="49"/>
                    <a:pt x="9" y="49"/>
                  </a:cubicBezTo>
                  <a:cubicBezTo>
                    <a:pt x="22" y="13"/>
                    <a:pt x="22" y="13"/>
                    <a:pt x="22" y="13"/>
                  </a:cubicBezTo>
                  <a:cubicBezTo>
                    <a:pt x="40" y="35"/>
                    <a:pt x="40" y="35"/>
                    <a:pt x="40" y="35"/>
                  </a:cubicBezTo>
                  <a:cubicBezTo>
                    <a:pt x="49" y="29"/>
                    <a:pt x="49" y="29"/>
                    <a:pt x="49" y="29"/>
                  </a:cubicBezTo>
                  <a:lnTo>
                    <a:pt x="63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33FE917B-B0BF-4B88-B893-BC39034A63FF}"/>
                </a:ext>
              </a:extLst>
            </p:cNvPr>
            <p:cNvSpPr/>
            <p:nvPr/>
          </p:nvSpPr>
          <p:spPr bwMode="auto">
            <a:xfrm>
              <a:off x="10370275" y="3305561"/>
              <a:ext cx="242709" cy="281856"/>
            </a:xfrm>
            <a:custGeom>
              <a:avLst/>
              <a:gdLst>
                <a:gd name="T0" fmla="*/ 54 w 76"/>
                <a:gd name="T1" fmla="*/ 0 h 88"/>
                <a:gd name="T2" fmla="*/ 14 w 76"/>
                <a:gd name="T3" fmla="*/ 28 h 88"/>
                <a:gd name="T4" fmla="*/ 16 w 76"/>
                <a:gd name="T5" fmla="*/ 65 h 88"/>
                <a:gd name="T6" fmla="*/ 49 w 76"/>
                <a:gd name="T7" fmla="*/ 27 h 88"/>
                <a:gd name="T8" fmla="*/ 32 w 76"/>
                <a:gd name="T9" fmla="*/ 75 h 88"/>
                <a:gd name="T10" fmla="*/ 70 w 76"/>
                <a:gd name="T11" fmla="*/ 57 h 88"/>
                <a:gd name="T12" fmla="*/ 54 w 76"/>
                <a:gd name="T13" fmla="*/ 0 h 88"/>
                <a:gd name="T14" fmla="*/ 4 w 76"/>
                <a:gd name="T15" fmla="*/ 78 h 88"/>
                <a:gd name="T16" fmla="*/ 10 w 76"/>
                <a:gd name="T17" fmla="*/ 83 h 88"/>
                <a:gd name="T18" fmla="*/ 47 w 76"/>
                <a:gd name="T19" fmla="*/ 41 h 88"/>
                <a:gd name="T20" fmla="*/ 4 w 76"/>
                <a:gd name="T21" fmla="*/ 7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88">
                  <a:moveTo>
                    <a:pt x="54" y="0"/>
                  </a:moveTo>
                  <a:cubicBezTo>
                    <a:pt x="40" y="23"/>
                    <a:pt x="30" y="12"/>
                    <a:pt x="14" y="28"/>
                  </a:cubicBezTo>
                  <a:cubicBezTo>
                    <a:pt x="0" y="42"/>
                    <a:pt x="5" y="60"/>
                    <a:pt x="16" y="65"/>
                  </a:cubicBezTo>
                  <a:cubicBezTo>
                    <a:pt x="28" y="60"/>
                    <a:pt x="40" y="46"/>
                    <a:pt x="49" y="27"/>
                  </a:cubicBezTo>
                  <a:cubicBezTo>
                    <a:pt x="49" y="27"/>
                    <a:pt x="57" y="51"/>
                    <a:pt x="32" y="75"/>
                  </a:cubicBezTo>
                  <a:cubicBezTo>
                    <a:pt x="44" y="88"/>
                    <a:pt x="64" y="79"/>
                    <a:pt x="70" y="57"/>
                  </a:cubicBezTo>
                  <a:cubicBezTo>
                    <a:pt x="76" y="33"/>
                    <a:pt x="60" y="9"/>
                    <a:pt x="54" y="0"/>
                  </a:cubicBezTo>
                  <a:close/>
                  <a:moveTo>
                    <a:pt x="4" y="78"/>
                  </a:moveTo>
                  <a:cubicBezTo>
                    <a:pt x="4" y="79"/>
                    <a:pt x="4" y="83"/>
                    <a:pt x="10" y="83"/>
                  </a:cubicBezTo>
                  <a:cubicBezTo>
                    <a:pt x="14" y="83"/>
                    <a:pt x="36" y="71"/>
                    <a:pt x="47" y="41"/>
                  </a:cubicBezTo>
                  <a:cubicBezTo>
                    <a:pt x="30" y="71"/>
                    <a:pt x="6" y="78"/>
                    <a:pt x="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5F37FC45-F60C-4411-8F78-B505C6EA0965}"/>
                </a:ext>
              </a:extLst>
            </p:cNvPr>
            <p:cNvSpPr/>
            <p:nvPr/>
          </p:nvSpPr>
          <p:spPr bwMode="auto">
            <a:xfrm>
              <a:off x="10303725" y="2346467"/>
              <a:ext cx="328831" cy="244666"/>
            </a:xfrm>
            <a:custGeom>
              <a:avLst/>
              <a:gdLst>
                <a:gd name="T0" fmla="*/ 99 w 103"/>
                <a:gd name="T1" fmla="*/ 3 h 77"/>
                <a:gd name="T2" fmla="*/ 52 w 103"/>
                <a:gd name="T3" fmla="*/ 0 h 77"/>
                <a:gd name="T4" fmla="*/ 4 w 103"/>
                <a:gd name="T5" fmla="*/ 3 h 77"/>
                <a:gd name="T6" fmla="*/ 0 w 103"/>
                <a:gd name="T7" fmla="*/ 38 h 77"/>
                <a:gd name="T8" fmla="*/ 4 w 103"/>
                <a:gd name="T9" fmla="*/ 73 h 77"/>
                <a:gd name="T10" fmla="*/ 52 w 103"/>
                <a:gd name="T11" fmla="*/ 77 h 77"/>
                <a:gd name="T12" fmla="*/ 99 w 103"/>
                <a:gd name="T13" fmla="*/ 73 h 77"/>
                <a:gd name="T14" fmla="*/ 103 w 103"/>
                <a:gd name="T15" fmla="*/ 38 h 77"/>
                <a:gd name="T16" fmla="*/ 99 w 103"/>
                <a:gd name="T17" fmla="*/ 3 h 77"/>
                <a:gd name="T18" fmla="*/ 39 w 103"/>
                <a:gd name="T19" fmla="*/ 57 h 77"/>
                <a:gd name="T20" fmla="*/ 39 w 103"/>
                <a:gd name="T21" fmla="*/ 19 h 77"/>
                <a:gd name="T22" fmla="*/ 71 w 103"/>
                <a:gd name="T23" fmla="*/ 38 h 77"/>
                <a:gd name="T24" fmla="*/ 39 w 103"/>
                <a:gd name="T25" fmla="*/ 5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3" h="77">
                  <a:moveTo>
                    <a:pt x="99" y="3"/>
                  </a:moveTo>
                  <a:cubicBezTo>
                    <a:pt x="84" y="1"/>
                    <a:pt x="68" y="0"/>
                    <a:pt x="52" y="0"/>
                  </a:cubicBezTo>
                  <a:cubicBezTo>
                    <a:pt x="35" y="0"/>
                    <a:pt x="19" y="1"/>
                    <a:pt x="4" y="3"/>
                  </a:cubicBezTo>
                  <a:cubicBezTo>
                    <a:pt x="2" y="14"/>
                    <a:pt x="0" y="26"/>
                    <a:pt x="0" y="38"/>
                  </a:cubicBezTo>
                  <a:cubicBezTo>
                    <a:pt x="0" y="51"/>
                    <a:pt x="2" y="63"/>
                    <a:pt x="4" y="73"/>
                  </a:cubicBezTo>
                  <a:cubicBezTo>
                    <a:pt x="19" y="75"/>
                    <a:pt x="35" y="77"/>
                    <a:pt x="52" y="77"/>
                  </a:cubicBezTo>
                  <a:cubicBezTo>
                    <a:pt x="68" y="77"/>
                    <a:pt x="84" y="75"/>
                    <a:pt x="99" y="73"/>
                  </a:cubicBezTo>
                  <a:cubicBezTo>
                    <a:pt x="101" y="63"/>
                    <a:pt x="103" y="51"/>
                    <a:pt x="103" y="38"/>
                  </a:cubicBezTo>
                  <a:cubicBezTo>
                    <a:pt x="103" y="26"/>
                    <a:pt x="101" y="14"/>
                    <a:pt x="99" y="3"/>
                  </a:cubicBezTo>
                  <a:close/>
                  <a:moveTo>
                    <a:pt x="39" y="57"/>
                  </a:moveTo>
                  <a:cubicBezTo>
                    <a:pt x="39" y="19"/>
                    <a:pt x="39" y="19"/>
                    <a:pt x="39" y="19"/>
                  </a:cubicBezTo>
                  <a:cubicBezTo>
                    <a:pt x="71" y="38"/>
                    <a:pt x="71" y="38"/>
                    <a:pt x="71" y="38"/>
                  </a:cubicBezTo>
                  <a:lnTo>
                    <a:pt x="39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FE468173-1305-4598-B108-8F6311932587}"/>
                </a:ext>
              </a:extLst>
            </p:cNvPr>
            <p:cNvSpPr/>
            <p:nvPr/>
          </p:nvSpPr>
          <p:spPr bwMode="auto">
            <a:xfrm>
              <a:off x="10278277" y="3927994"/>
              <a:ext cx="367977" cy="367978"/>
            </a:xfrm>
            <a:custGeom>
              <a:avLst/>
              <a:gdLst>
                <a:gd name="T0" fmla="*/ 115 w 115"/>
                <a:gd name="T1" fmla="*/ 32 h 115"/>
                <a:gd name="T2" fmla="*/ 104 w 115"/>
                <a:gd name="T3" fmla="*/ 22 h 115"/>
                <a:gd name="T4" fmla="*/ 84 w 115"/>
                <a:gd name="T5" fmla="*/ 42 h 115"/>
                <a:gd name="T6" fmla="*/ 73 w 115"/>
                <a:gd name="T7" fmla="*/ 30 h 115"/>
                <a:gd name="T8" fmla="*/ 93 w 115"/>
                <a:gd name="T9" fmla="*/ 10 h 115"/>
                <a:gd name="T10" fmla="*/ 83 w 115"/>
                <a:gd name="T11" fmla="*/ 0 h 115"/>
                <a:gd name="T12" fmla="*/ 63 w 115"/>
                <a:gd name="T13" fmla="*/ 20 h 115"/>
                <a:gd name="T14" fmla="*/ 50 w 115"/>
                <a:gd name="T15" fmla="*/ 7 h 115"/>
                <a:gd name="T16" fmla="*/ 40 w 115"/>
                <a:gd name="T17" fmla="*/ 17 h 115"/>
                <a:gd name="T18" fmla="*/ 98 w 115"/>
                <a:gd name="T19" fmla="*/ 74 h 115"/>
                <a:gd name="T20" fmla="*/ 107 w 115"/>
                <a:gd name="T21" fmla="*/ 65 h 115"/>
                <a:gd name="T22" fmla="*/ 95 w 115"/>
                <a:gd name="T23" fmla="*/ 52 h 115"/>
                <a:gd name="T24" fmla="*/ 115 w 115"/>
                <a:gd name="T25" fmla="*/ 32 h 115"/>
                <a:gd name="T26" fmla="*/ 31 w 115"/>
                <a:gd name="T27" fmla="*/ 84 h 115"/>
                <a:gd name="T28" fmla="*/ 89 w 115"/>
                <a:gd name="T29" fmla="*/ 76 h 115"/>
                <a:gd name="T30" fmla="*/ 39 w 115"/>
                <a:gd name="T31" fmla="*/ 26 h 115"/>
                <a:gd name="T32" fmla="*/ 31 w 115"/>
                <a:gd name="T33" fmla="*/ 84 h 115"/>
                <a:gd name="T34" fmla="*/ 21 w 115"/>
                <a:gd name="T35" fmla="*/ 79 h 115"/>
                <a:gd name="T36" fmla="*/ 36 w 115"/>
                <a:gd name="T37" fmla="*/ 93 h 115"/>
                <a:gd name="T38" fmla="*/ 14 w 115"/>
                <a:gd name="T39" fmla="*/ 115 h 115"/>
                <a:gd name="T40" fmla="*/ 0 w 115"/>
                <a:gd name="T41" fmla="*/ 100 h 115"/>
                <a:gd name="T42" fmla="*/ 21 w 115"/>
                <a:gd name="T43" fmla="*/ 79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5" h="115">
                  <a:moveTo>
                    <a:pt x="115" y="32"/>
                  </a:moveTo>
                  <a:cubicBezTo>
                    <a:pt x="104" y="22"/>
                    <a:pt x="104" y="22"/>
                    <a:pt x="104" y="22"/>
                  </a:cubicBezTo>
                  <a:cubicBezTo>
                    <a:pt x="84" y="42"/>
                    <a:pt x="84" y="42"/>
                    <a:pt x="84" y="42"/>
                  </a:cubicBezTo>
                  <a:cubicBezTo>
                    <a:pt x="73" y="30"/>
                    <a:pt x="73" y="30"/>
                    <a:pt x="73" y="30"/>
                  </a:cubicBezTo>
                  <a:cubicBezTo>
                    <a:pt x="93" y="10"/>
                    <a:pt x="93" y="10"/>
                    <a:pt x="93" y="10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63" y="20"/>
                    <a:pt x="63" y="20"/>
                    <a:pt x="63" y="20"/>
                  </a:cubicBezTo>
                  <a:cubicBezTo>
                    <a:pt x="50" y="7"/>
                    <a:pt x="50" y="7"/>
                    <a:pt x="50" y="7"/>
                  </a:cubicBezTo>
                  <a:cubicBezTo>
                    <a:pt x="40" y="17"/>
                    <a:pt x="40" y="17"/>
                    <a:pt x="40" y="17"/>
                  </a:cubicBezTo>
                  <a:cubicBezTo>
                    <a:pt x="98" y="74"/>
                    <a:pt x="98" y="74"/>
                    <a:pt x="98" y="74"/>
                  </a:cubicBezTo>
                  <a:cubicBezTo>
                    <a:pt x="107" y="65"/>
                    <a:pt x="107" y="65"/>
                    <a:pt x="107" y="65"/>
                  </a:cubicBezTo>
                  <a:cubicBezTo>
                    <a:pt x="95" y="52"/>
                    <a:pt x="95" y="52"/>
                    <a:pt x="95" y="52"/>
                  </a:cubicBezTo>
                  <a:lnTo>
                    <a:pt x="115" y="32"/>
                  </a:lnTo>
                  <a:close/>
                  <a:moveTo>
                    <a:pt x="31" y="84"/>
                  </a:moveTo>
                  <a:cubicBezTo>
                    <a:pt x="49" y="103"/>
                    <a:pt x="74" y="88"/>
                    <a:pt x="89" y="7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27" y="41"/>
                    <a:pt x="12" y="66"/>
                    <a:pt x="31" y="84"/>
                  </a:cubicBezTo>
                  <a:close/>
                  <a:moveTo>
                    <a:pt x="21" y="79"/>
                  </a:moveTo>
                  <a:cubicBezTo>
                    <a:pt x="36" y="93"/>
                    <a:pt x="36" y="93"/>
                    <a:pt x="36" y="93"/>
                  </a:cubicBezTo>
                  <a:cubicBezTo>
                    <a:pt x="14" y="115"/>
                    <a:pt x="14" y="115"/>
                    <a:pt x="14" y="115"/>
                  </a:cubicBezTo>
                  <a:cubicBezTo>
                    <a:pt x="0" y="100"/>
                    <a:pt x="0" y="100"/>
                    <a:pt x="0" y="100"/>
                  </a:cubicBezTo>
                  <a:lnTo>
                    <a:pt x="21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81B9F422-0430-4565-A941-8B0426D9DD2E}"/>
                </a:ext>
              </a:extLst>
            </p:cNvPr>
            <p:cNvSpPr/>
            <p:nvPr/>
          </p:nvSpPr>
          <p:spPr bwMode="auto">
            <a:xfrm>
              <a:off x="10217600" y="4376224"/>
              <a:ext cx="270112" cy="313174"/>
            </a:xfrm>
            <a:custGeom>
              <a:avLst/>
              <a:gdLst>
                <a:gd name="T0" fmla="*/ 55 w 85"/>
                <a:gd name="T1" fmla="*/ 14 h 98"/>
                <a:gd name="T2" fmla="*/ 55 w 85"/>
                <a:gd name="T3" fmla="*/ 27 h 98"/>
                <a:gd name="T4" fmla="*/ 64 w 85"/>
                <a:gd name="T5" fmla="*/ 33 h 98"/>
                <a:gd name="T6" fmla="*/ 73 w 85"/>
                <a:gd name="T7" fmla="*/ 55 h 98"/>
                <a:gd name="T8" fmla="*/ 64 w 85"/>
                <a:gd name="T9" fmla="*/ 77 h 98"/>
                <a:gd name="T10" fmla="*/ 43 w 85"/>
                <a:gd name="T11" fmla="*/ 86 h 98"/>
                <a:gd name="T12" fmla="*/ 21 w 85"/>
                <a:gd name="T13" fmla="*/ 77 h 98"/>
                <a:gd name="T14" fmla="*/ 12 w 85"/>
                <a:gd name="T15" fmla="*/ 55 h 98"/>
                <a:gd name="T16" fmla="*/ 21 w 85"/>
                <a:gd name="T17" fmla="*/ 33 h 98"/>
                <a:gd name="T18" fmla="*/ 30 w 85"/>
                <a:gd name="T19" fmla="*/ 27 h 98"/>
                <a:gd name="T20" fmla="*/ 30 w 85"/>
                <a:gd name="T21" fmla="*/ 14 h 98"/>
                <a:gd name="T22" fmla="*/ 0 w 85"/>
                <a:gd name="T23" fmla="*/ 55 h 98"/>
                <a:gd name="T24" fmla="*/ 43 w 85"/>
                <a:gd name="T25" fmla="*/ 98 h 98"/>
                <a:gd name="T26" fmla="*/ 85 w 85"/>
                <a:gd name="T27" fmla="*/ 55 h 98"/>
                <a:gd name="T28" fmla="*/ 55 w 85"/>
                <a:gd name="T29" fmla="*/ 14 h 98"/>
                <a:gd name="T30" fmla="*/ 37 w 85"/>
                <a:gd name="T31" fmla="*/ 0 h 98"/>
                <a:gd name="T32" fmla="*/ 49 w 85"/>
                <a:gd name="T33" fmla="*/ 0 h 98"/>
                <a:gd name="T34" fmla="*/ 49 w 85"/>
                <a:gd name="T35" fmla="*/ 49 h 98"/>
                <a:gd name="T36" fmla="*/ 37 w 85"/>
                <a:gd name="T37" fmla="*/ 49 h 98"/>
                <a:gd name="T38" fmla="*/ 37 w 85"/>
                <a:gd name="T3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98">
                  <a:moveTo>
                    <a:pt x="55" y="14"/>
                  </a:moveTo>
                  <a:cubicBezTo>
                    <a:pt x="55" y="27"/>
                    <a:pt x="55" y="27"/>
                    <a:pt x="55" y="27"/>
                  </a:cubicBezTo>
                  <a:cubicBezTo>
                    <a:pt x="58" y="29"/>
                    <a:pt x="62" y="31"/>
                    <a:pt x="64" y="33"/>
                  </a:cubicBezTo>
                  <a:cubicBezTo>
                    <a:pt x="70" y="39"/>
                    <a:pt x="73" y="47"/>
                    <a:pt x="73" y="55"/>
                  </a:cubicBezTo>
                  <a:cubicBezTo>
                    <a:pt x="73" y="63"/>
                    <a:pt x="70" y="71"/>
                    <a:pt x="64" y="77"/>
                  </a:cubicBezTo>
                  <a:cubicBezTo>
                    <a:pt x="58" y="82"/>
                    <a:pt x="51" y="86"/>
                    <a:pt x="43" y="86"/>
                  </a:cubicBezTo>
                  <a:cubicBezTo>
                    <a:pt x="34" y="86"/>
                    <a:pt x="27" y="82"/>
                    <a:pt x="21" y="77"/>
                  </a:cubicBezTo>
                  <a:cubicBezTo>
                    <a:pt x="15" y="71"/>
                    <a:pt x="12" y="63"/>
                    <a:pt x="12" y="55"/>
                  </a:cubicBezTo>
                  <a:cubicBezTo>
                    <a:pt x="12" y="47"/>
                    <a:pt x="15" y="39"/>
                    <a:pt x="21" y="33"/>
                  </a:cubicBezTo>
                  <a:cubicBezTo>
                    <a:pt x="24" y="31"/>
                    <a:pt x="27" y="29"/>
                    <a:pt x="30" y="27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13" y="19"/>
                    <a:pt x="0" y="36"/>
                    <a:pt x="0" y="55"/>
                  </a:cubicBezTo>
                  <a:cubicBezTo>
                    <a:pt x="0" y="79"/>
                    <a:pt x="19" y="98"/>
                    <a:pt x="43" y="98"/>
                  </a:cubicBezTo>
                  <a:cubicBezTo>
                    <a:pt x="66" y="98"/>
                    <a:pt x="85" y="79"/>
                    <a:pt x="85" y="55"/>
                  </a:cubicBezTo>
                  <a:cubicBezTo>
                    <a:pt x="85" y="36"/>
                    <a:pt x="73" y="19"/>
                    <a:pt x="55" y="14"/>
                  </a:cubicBezTo>
                  <a:close/>
                  <a:moveTo>
                    <a:pt x="37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7" y="49"/>
                    <a:pt x="37" y="49"/>
                    <a:pt x="37" y="49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4F3FAF03-1A8D-418A-AFCF-1B2796D5B0AF}"/>
                </a:ext>
              </a:extLst>
            </p:cNvPr>
            <p:cNvSpPr/>
            <p:nvPr/>
          </p:nvSpPr>
          <p:spPr bwMode="auto">
            <a:xfrm>
              <a:off x="10248917" y="3640266"/>
              <a:ext cx="146800" cy="256409"/>
            </a:xfrm>
            <a:custGeom>
              <a:avLst/>
              <a:gdLst>
                <a:gd name="T0" fmla="*/ 0 w 75"/>
                <a:gd name="T1" fmla="*/ 131 h 131"/>
                <a:gd name="T2" fmla="*/ 0 w 75"/>
                <a:gd name="T3" fmla="*/ 0 h 131"/>
                <a:gd name="T4" fmla="*/ 21 w 75"/>
                <a:gd name="T5" fmla="*/ 0 h 131"/>
                <a:gd name="T6" fmla="*/ 21 w 75"/>
                <a:gd name="T7" fmla="*/ 59 h 131"/>
                <a:gd name="T8" fmla="*/ 75 w 75"/>
                <a:gd name="T9" fmla="*/ 5 h 131"/>
                <a:gd name="T10" fmla="*/ 75 w 75"/>
                <a:gd name="T11" fmla="*/ 125 h 131"/>
                <a:gd name="T12" fmla="*/ 21 w 75"/>
                <a:gd name="T13" fmla="*/ 71 h 131"/>
                <a:gd name="T14" fmla="*/ 21 w 75"/>
                <a:gd name="T15" fmla="*/ 131 h 131"/>
                <a:gd name="T16" fmla="*/ 0 w 75"/>
                <a:gd name="T17" fmla="*/ 13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131">
                  <a:moveTo>
                    <a:pt x="0" y="131"/>
                  </a:moveTo>
                  <a:lnTo>
                    <a:pt x="0" y="0"/>
                  </a:lnTo>
                  <a:lnTo>
                    <a:pt x="21" y="0"/>
                  </a:lnTo>
                  <a:lnTo>
                    <a:pt x="21" y="59"/>
                  </a:lnTo>
                  <a:lnTo>
                    <a:pt x="75" y="5"/>
                  </a:lnTo>
                  <a:lnTo>
                    <a:pt x="75" y="125"/>
                  </a:lnTo>
                  <a:lnTo>
                    <a:pt x="21" y="71"/>
                  </a:lnTo>
                  <a:lnTo>
                    <a:pt x="21" y="131"/>
                  </a:lnTo>
                  <a:lnTo>
                    <a:pt x="0" y="1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C7EF60DF-A116-4EA1-A6B7-B36146D0BB96}"/>
                </a:ext>
              </a:extLst>
            </p:cNvPr>
            <p:cNvSpPr/>
            <p:nvPr/>
          </p:nvSpPr>
          <p:spPr bwMode="auto">
            <a:xfrm>
              <a:off x="10156922" y="2651812"/>
              <a:ext cx="279899" cy="250539"/>
            </a:xfrm>
            <a:custGeom>
              <a:avLst/>
              <a:gdLst>
                <a:gd name="T0" fmla="*/ 22 w 88"/>
                <a:gd name="T1" fmla="*/ 0 h 78"/>
                <a:gd name="T2" fmla="*/ 66 w 88"/>
                <a:gd name="T3" fmla="*/ 0 h 78"/>
                <a:gd name="T4" fmla="*/ 66 w 88"/>
                <a:gd name="T5" fmla="*/ 11 h 78"/>
                <a:gd name="T6" fmla="*/ 22 w 88"/>
                <a:gd name="T7" fmla="*/ 11 h 78"/>
                <a:gd name="T8" fmla="*/ 22 w 88"/>
                <a:gd name="T9" fmla="*/ 0 h 78"/>
                <a:gd name="T10" fmla="*/ 83 w 88"/>
                <a:gd name="T11" fmla="*/ 17 h 78"/>
                <a:gd name="T12" fmla="*/ 5 w 88"/>
                <a:gd name="T13" fmla="*/ 17 h 78"/>
                <a:gd name="T14" fmla="*/ 0 w 88"/>
                <a:gd name="T15" fmla="*/ 22 h 78"/>
                <a:gd name="T16" fmla="*/ 0 w 88"/>
                <a:gd name="T17" fmla="*/ 50 h 78"/>
                <a:gd name="T18" fmla="*/ 5 w 88"/>
                <a:gd name="T19" fmla="*/ 56 h 78"/>
                <a:gd name="T20" fmla="*/ 22 w 88"/>
                <a:gd name="T21" fmla="*/ 56 h 78"/>
                <a:gd name="T22" fmla="*/ 22 w 88"/>
                <a:gd name="T23" fmla="*/ 78 h 78"/>
                <a:gd name="T24" fmla="*/ 66 w 88"/>
                <a:gd name="T25" fmla="*/ 78 h 78"/>
                <a:gd name="T26" fmla="*/ 66 w 88"/>
                <a:gd name="T27" fmla="*/ 56 h 78"/>
                <a:gd name="T28" fmla="*/ 83 w 88"/>
                <a:gd name="T29" fmla="*/ 56 h 78"/>
                <a:gd name="T30" fmla="*/ 88 w 88"/>
                <a:gd name="T31" fmla="*/ 50 h 78"/>
                <a:gd name="T32" fmla="*/ 88 w 88"/>
                <a:gd name="T33" fmla="*/ 22 h 78"/>
                <a:gd name="T34" fmla="*/ 83 w 88"/>
                <a:gd name="T35" fmla="*/ 17 h 78"/>
                <a:gd name="T36" fmla="*/ 60 w 88"/>
                <a:gd name="T37" fmla="*/ 72 h 78"/>
                <a:gd name="T38" fmla="*/ 27 w 88"/>
                <a:gd name="T39" fmla="*/ 72 h 78"/>
                <a:gd name="T40" fmla="*/ 27 w 88"/>
                <a:gd name="T41" fmla="*/ 45 h 78"/>
                <a:gd name="T42" fmla="*/ 60 w 88"/>
                <a:gd name="T43" fmla="*/ 45 h 78"/>
                <a:gd name="T44" fmla="*/ 60 w 88"/>
                <a:gd name="T45" fmla="*/ 72 h 78"/>
                <a:gd name="T46" fmla="*/ 84 w 88"/>
                <a:gd name="T47" fmla="*/ 25 h 78"/>
                <a:gd name="T48" fmla="*/ 80 w 88"/>
                <a:gd name="T49" fmla="*/ 29 h 78"/>
                <a:gd name="T50" fmla="*/ 76 w 88"/>
                <a:gd name="T51" fmla="*/ 25 h 78"/>
                <a:gd name="T52" fmla="*/ 80 w 88"/>
                <a:gd name="T53" fmla="*/ 21 h 78"/>
                <a:gd name="T54" fmla="*/ 84 w 88"/>
                <a:gd name="T55" fmla="*/ 25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8" h="78">
                  <a:moveTo>
                    <a:pt x="22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66" y="11"/>
                    <a:pt x="66" y="11"/>
                    <a:pt x="66" y="11"/>
                  </a:cubicBezTo>
                  <a:cubicBezTo>
                    <a:pt x="22" y="11"/>
                    <a:pt x="22" y="11"/>
                    <a:pt x="22" y="11"/>
                  </a:cubicBezTo>
                  <a:lnTo>
                    <a:pt x="22" y="0"/>
                  </a:lnTo>
                  <a:close/>
                  <a:moveTo>
                    <a:pt x="83" y="17"/>
                  </a:moveTo>
                  <a:cubicBezTo>
                    <a:pt x="5" y="17"/>
                    <a:pt x="5" y="17"/>
                    <a:pt x="5" y="17"/>
                  </a:cubicBezTo>
                  <a:cubicBezTo>
                    <a:pt x="2" y="17"/>
                    <a:pt x="0" y="19"/>
                    <a:pt x="0" y="22"/>
                  </a:cubicBezTo>
                  <a:cubicBezTo>
                    <a:pt x="0" y="50"/>
                    <a:pt x="0" y="50"/>
                    <a:pt x="0" y="50"/>
                  </a:cubicBezTo>
                  <a:cubicBezTo>
                    <a:pt x="0" y="53"/>
                    <a:pt x="2" y="56"/>
                    <a:pt x="5" y="56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66" y="78"/>
                    <a:pt x="66" y="78"/>
                    <a:pt x="66" y="78"/>
                  </a:cubicBezTo>
                  <a:cubicBezTo>
                    <a:pt x="66" y="56"/>
                    <a:pt x="66" y="56"/>
                    <a:pt x="66" y="56"/>
                  </a:cubicBezTo>
                  <a:cubicBezTo>
                    <a:pt x="83" y="56"/>
                    <a:pt x="83" y="56"/>
                    <a:pt x="83" y="56"/>
                  </a:cubicBezTo>
                  <a:cubicBezTo>
                    <a:pt x="86" y="56"/>
                    <a:pt x="88" y="53"/>
                    <a:pt x="88" y="50"/>
                  </a:cubicBezTo>
                  <a:cubicBezTo>
                    <a:pt x="88" y="22"/>
                    <a:pt x="88" y="22"/>
                    <a:pt x="88" y="22"/>
                  </a:cubicBezTo>
                  <a:cubicBezTo>
                    <a:pt x="88" y="19"/>
                    <a:pt x="86" y="17"/>
                    <a:pt x="83" y="17"/>
                  </a:cubicBezTo>
                  <a:close/>
                  <a:moveTo>
                    <a:pt x="60" y="72"/>
                  </a:moveTo>
                  <a:cubicBezTo>
                    <a:pt x="27" y="72"/>
                    <a:pt x="27" y="72"/>
                    <a:pt x="27" y="72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60" y="45"/>
                    <a:pt x="60" y="45"/>
                    <a:pt x="60" y="45"/>
                  </a:cubicBezTo>
                  <a:lnTo>
                    <a:pt x="60" y="72"/>
                  </a:lnTo>
                  <a:close/>
                  <a:moveTo>
                    <a:pt x="84" y="25"/>
                  </a:moveTo>
                  <a:cubicBezTo>
                    <a:pt x="84" y="27"/>
                    <a:pt x="82" y="29"/>
                    <a:pt x="80" y="29"/>
                  </a:cubicBezTo>
                  <a:cubicBezTo>
                    <a:pt x="78" y="29"/>
                    <a:pt x="76" y="27"/>
                    <a:pt x="76" y="25"/>
                  </a:cubicBezTo>
                  <a:cubicBezTo>
                    <a:pt x="76" y="23"/>
                    <a:pt x="78" y="21"/>
                    <a:pt x="80" y="21"/>
                  </a:cubicBezTo>
                  <a:cubicBezTo>
                    <a:pt x="82" y="21"/>
                    <a:pt x="84" y="23"/>
                    <a:pt x="84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D5621F3F-B4E1-4C75-B67E-09C7C09ECECD}"/>
                </a:ext>
              </a:extLst>
            </p:cNvPr>
            <p:cNvSpPr/>
            <p:nvPr/>
          </p:nvSpPr>
          <p:spPr bwMode="auto">
            <a:xfrm>
              <a:off x="10164752" y="2953241"/>
              <a:ext cx="244667" cy="258368"/>
            </a:xfrm>
            <a:custGeom>
              <a:avLst/>
              <a:gdLst>
                <a:gd name="T0" fmla="*/ 69 w 76"/>
                <a:gd name="T1" fmla="*/ 0 h 81"/>
                <a:gd name="T2" fmla="*/ 8 w 76"/>
                <a:gd name="T3" fmla="*/ 0 h 81"/>
                <a:gd name="T4" fmla="*/ 0 w 76"/>
                <a:gd name="T5" fmla="*/ 7 h 81"/>
                <a:gd name="T6" fmla="*/ 0 w 76"/>
                <a:gd name="T7" fmla="*/ 73 h 81"/>
                <a:gd name="T8" fmla="*/ 8 w 76"/>
                <a:gd name="T9" fmla="*/ 81 h 81"/>
                <a:gd name="T10" fmla="*/ 69 w 76"/>
                <a:gd name="T11" fmla="*/ 81 h 81"/>
                <a:gd name="T12" fmla="*/ 76 w 76"/>
                <a:gd name="T13" fmla="*/ 73 h 81"/>
                <a:gd name="T14" fmla="*/ 76 w 76"/>
                <a:gd name="T15" fmla="*/ 7 h 81"/>
                <a:gd name="T16" fmla="*/ 69 w 76"/>
                <a:gd name="T17" fmla="*/ 0 h 81"/>
                <a:gd name="T18" fmla="*/ 66 w 76"/>
                <a:gd name="T19" fmla="*/ 71 h 81"/>
                <a:gd name="T20" fmla="*/ 11 w 76"/>
                <a:gd name="T21" fmla="*/ 71 h 81"/>
                <a:gd name="T22" fmla="*/ 11 w 76"/>
                <a:gd name="T23" fmla="*/ 10 h 81"/>
                <a:gd name="T24" fmla="*/ 66 w 76"/>
                <a:gd name="T25" fmla="*/ 10 h 81"/>
                <a:gd name="T26" fmla="*/ 66 w 76"/>
                <a:gd name="T27" fmla="*/ 71 h 81"/>
                <a:gd name="T28" fmla="*/ 21 w 76"/>
                <a:gd name="T29" fmla="*/ 45 h 81"/>
                <a:gd name="T30" fmla="*/ 56 w 76"/>
                <a:gd name="T31" fmla="*/ 45 h 81"/>
                <a:gd name="T32" fmla="*/ 56 w 76"/>
                <a:gd name="T33" fmla="*/ 50 h 81"/>
                <a:gd name="T34" fmla="*/ 21 w 76"/>
                <a:gd name="T35" fmla="*/ 50 h 81"/>
                <a:gd name="T36" fmla="*/ 21 w 76"/>
                <a:gd name="T37" fmla="*/ 45 h 81"/>
                <a:gd name="T38" fmla="*/ 21 w 76"/>
                <a:gd name="T39" fmla="*/ 55 h 81"/>
                <a:gd name="T40" fmla="*/ 56 w 76"/>
                <a:gd name="T41" fmla="*/ 55 h 81"/>
                <a:gd name="T42" fmla="*/ 56 w 76"/>
                <a:gd name="T43" fmla="*/ 60 h 81"/>
                <a:gd name="T44" fmla="*/ 21 w 76"/>
                <a:gd name="T45" fmla="*/ 60 h 81"/>
                <a:gd name="T46" fmla="*/ 21 w 76"/>
                <a:gd name="T47" fmla="*/ 55 h 81"/>
                <a:gd name="T48" fmla="*/ 26 w 76"/>
                <a:gd name="T49" fmla="*/ 23 h 81"/>
                <a:gd name="T50" fmla="*/ 33 w 76"/>
                <a:gd name="T51" fmla="*/ 30 h 81"/>
                <a:gd name="T52" fmla="*/ 41 w 76"/>
                <a:gd name="T53" fmla="*/ 23 h 81"/>
                <a:gd name="T54" fmla="*/ 33 w 76"/>
                <a:gd name="T55" fmla="*/ 15 h 81"/>
                <a:gd name="T56" fmla="*/ 26 w 76"/>
                <a:gd name="T57" fmla="*/ 23 h 81"/>
                <a:gd name="T58" fmla="*/ 38 w 76"/>
                <a:gd name="T59" fmla="*/ 30 h 81"/>
                <a:gd name="T60" fmla="*/ 28 w 76"/>
                <a:gd name="T61" fmla="*/ 30 h 81"/>
                <a:gd name="T62" fmla="*/ 21 w 76"/>
                <a:gd name="T63" fmla="*/ 35 h 81"/>
                <a:gd name="T64" fmla="*/ 21 w 76"/>
                <a:gd name="T65" fmla="*/ 40 h 81"/>
                <a:gd name="T66" fmla="*/ 46 w 76"/>
                <a:gd name="T67" fmla="*/ 40 h 81"/>
                <a:gd name="T68" fmla="*/ 46 w 76"/>
                <a:gd name="T69" fmla="*/ 35 h 81"/>
                <a:gd name="T70" fmla="*/ 38 w 76"/>
                <a:gd name="T71" fmla="*/ 3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76" h="81">
                  <a:moveTo>
                    <a:pt x="69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0" y="77"/>
                    <a:pt x="4" y="81"/>
                    <a:pt x="8" y="81"/>
                  </a:cubicBezTo>
                  <a:cubicBezTo>
                    <a:pt x="69" y="81"/>
                    <a:pt x="69" y="81"/>
                    <a:pt x="69" y="81"/>
                  </a:cubicBezTo>
                  <a:cubicBezTo>
                    <a:pt x="73" y="81"/>
                    <a:pt x="76" y="77"/>
                    <a:pt x="76" y="73"/>
                  </a:cubicBezTo>
                  <a:cubicBezTo>
                    <a:pt x="76" y="7"/>
                    <a:pt x="76" y="7"/>
                    <a:pt x="76" y="7"/>
                  </a:cubicBezTo>
                  <a:cubicBezTo>
                    <a:pt x="76" y="3"/>
                    <a:pt x="73" y="0"/>
                    <a:pt x="69" y="0"/>
                  </a:cubicBezTo>
                  <a:close/>
                  <a:moveTo>
                    <a:pt x="66" y="71"/>
                  </a:moveTo>
                  <a:cubicBezTo>
                    <a:pt x="11" y="71"/>
                    <a:pt x="11" y="71"/>
                    <a:pt x="11" y="71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66" y="10"/>
                    <a:pt x="66" y="10"/>
                    <a:pt x="66" y="10"/>
                  </a:cubicBezTo>
                  <a:lnTo>
                    <a:pt x="66" y="71"/>
                  </a:lnTo>
                  <a:close/>
                  <a:moveTo>
                    <a:pt x="21" y="45"/>
                  </a:moveTo>
                  <a:cubicBezTo>
                    <a:pt x="56" y="45"/>
                    <a:pt x="56" y="45"/>
                    <a:pt x="56" y="45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21" y="50"/>
                    <a:pt x="21" y="50"/>
                    <a:pt x="21" y="50"/>
                  </a:cubicBezTo>
                  <a:lnTo>
                    <a:pt x="21" y="45"/>
                  </a:lnTo>
                  <a:close/>
                  <a:moveTo>
                    <a:pt x="21" y="55"/>
                  </a:moveTo>
                  <a:cubicBezTo>
                    <a:pt x="56" y="55"/>
                    <a:pt x="56" y="55"/>
                    <a:pt x="56" y="55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21" y="60"/>
                    <a:pt x="21" y="60"/>
                    <a:pt x="21" y="60"/>
                  </a:cubicBezTo>
                  <a:lnTo>
                    <a:pt x="21" y="55"/>
                  </a:lnTo>
                  <a:close/>
                  <a:moveTo>
                    <a:pt x="26" y="23"/>
                  </a:moveTo>
                  <a:cubicBezTo>
                    <a:pt x="26" y="27"/>
                    <a:pt x="29" y="30"/>
                    <a:pt x="33" y="30"/>
                  </a:cubicBezTo>
                  <a:cubicBezTo>
                    <a:pt x="37" y="30"/>
                    <a:pt x="41" y="27"/>
                    <a:pt x="41" y="23"/>
                  </a:cubicBezTo>
                  <a:cubicBezTo>
                    <a:pt x="41" y="18"/>
                    <a:pt x="37" y="15"/>
                    <a:pt x="33" y="15"/>
                  </a:cubicBezTo>
                  <a:cubicBezTo>
                    <a:pt x="29" y="15"/>
                    <a:pt x="26" y="18"/>
                    <a:pt x="26" y="23"/>
                  </a:cubicBezTo>
                  <a:close/>
                  <a:moveTo>
                    <a:pt x="38" y="30"/>
                  </a:moveTo>
                  <a:cubicBezTo>
                    <a:pt x="28" y="30"/>
                    <a:pt x="28" y="30"/>
                    <a:pt x="28" y="30"/>
                  </a:cubicBezTo>
                  <a:cubicBezTo>
                    <a:pt x="24" y="30"/>
                    <a:pt x="21" y="32"/>
                    <a:pt x="21" y="35"/>
                  </a:cubicBezTo>
                  <a:cubicBezTo>
                    <a:pt x="21" y="40"/>
                    <a:pt x="21" y="40"/>
                    <a:pt x="21" y="40"/>
                  </a:cubicBezTo>
                  <a:cubicBezTo>
                    <a:pt x="46" y="40"/>
                    <a:pt x="46" y="40"/>
                    <a:pt x="46" y="40"/>
                  </a:cubicBezTo>
                  <a:cubicBezTo>
                    <a:pt x="46" y="35"/>
                    <a:pt x="46" y="35"/>
                    <a:pt x="46" y="35"/>
                  </a:cubicBezTo>
                  <a:cubicBezTo>
                    <a:pt x="46" y="32"/>
                    <a:pt x="42" y="30"/>
                    <a:pt x="38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B6A78B12-D36A-431E-9ED5-48E13D715C11}"/>
                </a:ext>
              </a:extLst>
            </p:cNvPr>
            <p:cNvSpPr/>
            <p:nvPr/>
          </p:nvSpPr>
          <p:spPr bwMode="auto">
            <a:xfrm>
              <a:off x="10383974" y="2054826"/>
              <a:ext cx="248580" cy="248580"/>
            </a:xfrm>
            <a:custGeom>
              <a:avLst/>
              <a:gdLst>
                <a:gd name="T0" fmla="*/ 67 w 127"/>
                <a:gd name="T1" fmla="*/ 0 h 127"/>
                <a:gd name="T2" fmla="*/ 55 w 127"/>
                <a:gd name="T3" fmla="*/ 11 h 127"/>
                <a:gd name="T4" fmla="*/ 67 w 127"/>
                <a:gd name="T5" fmla="*/ 24 h 127"/>
                <a:gd name="T6" fmla="*/ 39 w 127"/>
                <a:gd name="T7" fmla="*/ 55 h 127"/>
                <a:gd name="T8" fmla="*/ 11 w 127"/>
                <a:gd name="T9" fmla="*/ 55 h 127"/>
                <a:gd name="T10" fmla="*/ 34 w 127"/>
                <a:gd name="T11" fmla="*/ 77 h 127"/>
                <a:gd name="T12" fmla="*/ 0 w 127"/>
                <a:gd name="T13" fmla="*/ 122 h 127"/>
                <a:gd name="T14" fmla="*/ 0 w 127"/>
                <a:gd name="T15" fmla="*/ 127 h 127"/>
                <a:gd name="T16" fmla="*/ 4 w 127"/>
                <a:gd name="T17" fmla="*/ 127 h 127"/>
                <a:gd name="T18" fmla="*/ 49 w 127"/>
                <a:gd name="T19" fmla="*/ 93 h 127"/>
                <a:gd name="T20" fmla="*/ 71 w 127"/>
                <a:gd name="T21" fmla="*/ 114 h 127"/>
                <a:gd name="T22" fmla="*/ 71 w 127"/>
                <a:gd name="T23" fmla="*/ 86 h 127"/>
                <a:gd name="T24" fmla="*/ 102 w 127"/>
                <a:gd name="T25" fmla="*/ 59 h 127"/>
                <a:gd name="T26" fmla="*/ 114 w 127"/>
                <a:gd name="T27" fmla="*/ 72 h 127"/>
                <a:gd name="T28" fmla="*/ 127 w 127"/>
                <a:gd name="T29" fmla="*/ 59 h 127"/>
                <a:gd name="T30" fmla="*/ 67 w 127"/>
                <a:gd name="T31" fmla="*/ 0 h 127"/>
                <a:gd name="T32" fmla="*/ 55 w 127"/>
                <a:gd name="T33" fmla="*/ 67 h 127"/>
                <a:gd name="T34" fmla="*/ 47 w 127"/>
                <a:gd name="T35" fmla="*/ 59 h 127"/>
                <a:gd name="T36" fmla="*/ 75 w 127"/>
                <a:gd name="T37" fmla="*/ 31 h 127"/>
                <a:gd name="T38" fmla="*/ 83 w 127"/>
                <a:gd name="T39" fmla="*/ 39 h 127"/>
                <a:gd name="T40" fmla="*/ 55 w 127"/>
                <a:gd name="T41" fmla="*/ 6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" h="127">
                  <a:moveTo>
                    <a:pt x="67" y="0"/>
                  </a:moveTo>
                  <a:lnTo>
                    <a:pt x="55" y="11"/>
                  </a:lnTo>
                  <a:lnTo>
                    <a:pt x="67" y="24"/>
                  </a:lnTo>
                  <a:lnTo>
                    <a:pt x="39" y="55"/>
                  </a:lnTo>
                  <a:lnTo>
                    <a:pt x="11" y="55"/>
                  </a:lnTo>
                  <a:lnTo>
                    <a:pt x="34" y="77"/>
                  </a:lnTo>
                  <a:lnTo>
                    <a:pt x="0" y="122"/>
                  </a:lnTo>
                  <a:lnTo>
                    <a:pt x="0" y="127"/>
                  </a:lnTo>
                  <a:lnTo>
                    <a:pt x="4" y="127"/>
                  </a:lnTo>
                  <a:lnTo>
                    <a:pt x="49" y="93"/>
                  </a:lnTo>
                  <a:lnTo>
                    <a:pt x="71" y="114"/>
                  </a:lnTo>
                  <a:lnTo>
                    <a:pt x="71" y="86"/>
                  </a:lnTo>
                  <a:lnTo>
                    <a:pt x="102" y="59"/>
                  </a:lnTo>
                  <a:lnTo>
                    <a:pt x="114" y="72"/>
                  </a:lnTo>
                  <a:lnTo>
                    <a:pt x="127" y="59"/>
                  </a:lnTo>
                  <a:lnTo>
                    <a:pt x="67" y="0"/>
                  </a:lnTo>
                  <a:close/>
                  <a:moveTo>
                    <a:pt x="55" y="67"/>
                  </a:moveTo>
                  <a:lnTo>
                    <a:pt x="47" y="59"/>
                  </a:lnTo>
                  <a:lnTo>
                    <a:pt x="75" y="31"/>
                  </a:lnTo>
                  <a:lnTo>
                    <a:pt x="83" y="39"/>
                  </a:lnTo>
                  <a:lnTo>
                    <a:pt x="55" y="6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B0014BE2-9AAB-4DCF-B8F4-AECF6FBE9773}"/>
                </a:ext>
              </a:extLst>
            </p:cNvPr>
            <p:cNvSpPr/>
            <p:nvPr/>
          </p:nvSpPr>
          <p:spPr bwMode="auto">
            <a:xfrm>
              <a:off x="10274362" y="1367801"/>
              <a:ext cx="246623" cy="166372"/>
            </a:xfrm>
            <a:custGeom>
              <a:avLst/>
              <a:gdLst>
                <a:gd name="T0" fmla="*/ 17 w 77"/>
                <a:gd name="T1" fmla="*/ 19 h 52"/>
                <a:gd name="T2" fmla="*/ 34 w 77"/>
                <a:gd name="T3" fmla="*/ 36 h 52"/>
                <a:gd name="T4" fmla="*/ 17 w 77"/>
                <a:gd name="T5" fmla="*/ 52 h 52"/>
                <a:gd name="T6" fmla="*/ 0 w 77"/>
                <a:gd name="T7" fmla="*/ 36 h 52"/>
                <a:gd name="T8" fmla="*/ 0 w 77"/>
                <a:gd name="T9" fmla="*/ 33 h 52"/>
                <a:gd name="T10" fmla="*/ 34 w 77"/>
                <a:gd name="T11" fmla="*/ 0 h 52"/>
                <a:gd name="T12" fmla="*/ 34 w 77"/>
                <a:gd name="T13" fmla="*/ 9 h 52"/>
                <a:gd name="T14" fmla="*/ 17 w 77"/>
                <a:gd name="T15" fmla="*/ 16 h 52"/>
                <a:gd name="T16" fmla="*/ 14 w 77"/>
                <a:gd name="T17" fmla="*/ 19 h 52"/>
                <a:gd name="T18" fmla="*/ 17 w 77"/>
                <a:gd name="T19" fmla="*/ 19 h 52"/>
                <a:gd name="T20" fmla="*/ 60 w 77"/>
                <a:gd name="T21" fmla="*/ 19 h 52"/>
                <a:gd name="T22" fmla="*/ 77 w 77"/>
                <a:gd name="T23" fmla="*/ 36 h 52"/>
                <a:gd name="T24" fmla="*/ 60 w 77"/>
                <a:gd name="T25" fmla="*/ 52 h 52"/>
                <a:gd name="T26" fmla="*/ 43 w 77"/>
                <a:gd name="T27" fmla="*/ 36 h 52"/>
                <a:gd name="T28" fmla="*/ 43 w 77"/>
                <a:gd name="T29" fmla="*/ 33 h 52"/>
                <a:gd name="T30" fmla="*/ 77 w 77"/>
                <a:gd name="T31" fmla="*/ 0 h 52"/>
                <a:gd name="T32" fmla="*/ 77 w 77"/>
                <a:gd name="T33" fmla="*/ 9 h 52"/>
                <a:gd name="T34" fmla="*/ 60 w 77"/>
                <a:gd name="T35" fmla="*/ 16 h 52"/>
                <a:gd name="T36" fmla="*/ 58 w 77"/>
                <a:gd name="T37" fmla="*/ 19 h 52"/>
                <a:gd name="T38" fmla="*/ 60 w 77"/>
                <a:gd name="T39" fmla="*/ 19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7" h="52">
                  <a:moveTo>
                    <a:pt x="17" y="19"/>
                  </a:moveTo>
                  <a:cubicBezTo>
                    <a:pt x="26" y="19"/>
                    <a:pt x="34" y="26"/>
                    <a:pt x="34" y="36"/>
                  </a:cubicBezTo>
                  <a:cubicBezTo>
                    <a:pt x="34" y="45"/>
                    <a:pt x="26" y="52"/>
                    <a:pt x="17" y="52"/>
                  </a:cubicBezTo>
                  <a:cubicBezTo>
                    <a:pt x="8" y="52"/>
                    <a:pt x="0" y="45"/>
                    <a:pt x="0" y="36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34" y="9"/>
                    <a:pt x="34" y="9"/>
                    <a:pt x="34" y="9"/>
                  </a:cubicBezTo>
                  <a:cubicBezTo>
                    <a:pt x="27" y="9"/>
                    <a:pt x="21" y="12"/>
                    <a:pt x="17" y="16"/>
                  </a:cubicBezTo>
                  <a:cubicBezTo>
                    <a:pt x="16" y="17"/>
                    <a:pt x="15" y="18"/>
                    <a:pt x="14" y="19"/>
                  </a:cubicBezTo>
                  <a:cubicBezTo>
                    <a:pt x="15" y="19"/>
                    <a:pt x="16" y="19"/>
                    <a:pt x="17" y="19"/>
                  </a:cubicBezTo>
                  <a:close/>
                  <a:moveTo>
                    <a:pt x="60" y="19"/>
                  </a:moveTo>
                  <a:cubicBezTo>
                    <a:pt x="70" y="19"/>
                    <a:pt x="77" y="26"/>
                    <a:pt x="77" y="36"/>
                  </a:cubicBezTo>
                  <a:cubicBezTo>
                    <a:pt x="77" y="45"/>
                    <a:pt x="70" y="52"/>
                    <a:pt x="60" y="52"/>
                  </a:cubicBezTo>
                  <a:cubicBezTo>
                    <a:pt x="51" y="52"/>
                    <a:pt x="43" y="45"/>
                    <a:pt x="43" y="36"/>
                  </a:cubicBezTo>
                  <a:cubicBezTo>
                    <a:pt x="43" y="33"/>
                    <a:pt x="43" y="33"/>
                    <a:pt x="43" y="33"/>
                  </a:cubicBezTo>
                  <a:cubicBezTo>
                    <a:pt x="43" y="15"/>
                    <a:pt x="58" y="0"/>
                    <a:pt x="77" y="0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1" y="9"/>
                    <a:pt x="65" y="12"/>
                    <a:pt x="60" y="16"/>
                  </a:cubicBezTo>
                  <a:cubicBezTo>
                    <a:pt x="59" y="17"/>
                    <a:pt x="58" y="18"/>
                    <a:pt x="58" y="19"/>
                  </a:cubicBezTo>
                  <a:cubicBezTo>
                    <a:pt x="58" y="19"/>
                    <a:pt x="59" y="19"/>
                    <a:pt x="60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6F4F9421-C9E5-4D26-A6A7-6F3D534BAC6C}"/>
                </a:ext>
              </a:extLst>
            </p:cNvPr>
            <p:cNvSpPr/>
            <p:nvPr/>
          </p:nvSpPr>
          <p:spPr bwMode="auto">
            <a:xfrm>
              <a:off x="10213686" y="1782756"/>
              <a:ext cx="383635" cy="364064"/>
            </a:xfrm>
            <a:custGeom>
              <a:avLst/>
              <a:gdLst>
                <a:gd name="T0" fmla="*/ 78 w 120"/>
                <a:gd name="T1" fmla="*/ 29 h 114"/>
                <a:gd name="T2" fmla="*/ 83 w 120"/>
                <a:gd name="T3" fmla="*/ 0 h 114"/>
                <a:gd name="T4" fmla="*/ 120 w 120"/>
                <a:gd name="T5" fmla="*/ 52 h 114"/>
                <a:gd name="T6" fmla="*/ 68 w 120"/>
                <a:gd name="T7" fmla="*/ 90 h 114"/>
                <a:gd name="T8" fmla="*/ 73 w 120"/>
                <a:gd name="T9" fmla="*/ 60 h 114"/>
                <a:gd name="T10" fmla="*/ 27 w 120"/>
                <a:gd name="T11" fmla="*/ 114 h 114"/>
                <a:gd name="T12" fmla="*/ 78 w 120"/>
                <a:gd name="T13" fmla="*/ 2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0" h="114">
                  <a:moveTo>
                    <a:pt x="78" y="29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120" y="52"/>
                    <a:pt x="120" y="52"/>
                    <a:pt x="120" y="52"/>
                  </a:cubicBezTo>
                  <a:cubicBezTo>
                    <a:pt x="68" y="90"/>
                    <a:pt x="68" y="90"/>
                    <a:pt x="68" y="90"/>
                  </a:cubicBezTo>
                  <a:cubicBezTo>
                    <a:pt x="73" y="60"/>
                    <a:pt x="73" y="60"/>
                    <a:pt x="73" y="60"/>
                  </a:cubicBezTo>
                  <a:cubicBezTo>
                    <a:pt x="21" y="51"/>
                    <a:pt x="18" y="88"/>
                    <a:pt x="27" y="114"/>
                  </a:cubicBezTo>
                  <a:cubicBezTo>
                    <a:pt x="0" y="73"/>
                    <a:pt x="16" y="18"/>
                    <a:pt x="78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69E7AAB5-8193-4077-BBC4-A3BEF4597D2D}"/>
                </a:ext>
              </a:extLst>
            </p:cNvPr>
            <p:cNvSpPr/>
            <p:nvPr/>
          </p:nvSpPr>
          <p:spPr bwMode="auto">
            <a:xfrm>
              <a:off x="10295893" y="1555705"/>
              <a:ext cx="240751" cy="252496"/>
            </a:xfrm>
            <a:custGeom>
              <a:avLst/>
              <a:gdLst>
                <a:gd name="T0" fmla="*/ 59 w 123"/>
                <a:gd name="T1" fmla="*/ 129 h 129"/>
                <a:gd name="T2" fmla="*/ 59 w 123"/>
                <a:gd name="T3" fmla="*/ 72 h 129"/>
                <a:gd name="T4" fmla="*/ 0 w 123"/>
                <a:gd name="T5" fmla="*/ 129 h 129"/>
                <a:gd name="T6" fmla="*/ 0 w 123"/>
                <a:gd name="T7" fmla="*/ 0 h 129"/>
                <a:gd name="T8" fmla="*/ 59 w 123"/>
                <a:gd name="T9" fmla="*/ 59 h 129"/>
                <a:gd name="T10" fmla="*/ 59 w 123"/>
                <a:gd name="T11" fmla="*/ 0 h 129"/>
                <a:gd name="T12" fmla="*/ 123 w 123"/>
                <a:gd name="T13" fmla="*/ 65 h 129"/>
                <a:gd name="T14" fmla="*/ 59 w 123"/>
                <a:gd name="T1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3" h="129">
                  <a:moveTo>
                    <a:pt x="59" y="129"/>
                  </a:moveTo>
                  <a:lnTo>
                    <a:pt x="59" y="72"/>
                  </a:lnTo>
                  <a:lnTo>
                    <a:pt x="0" y="129"/>
                  </a:lnTo>
                  <a:lnTo>
                    <a:pt x="0" y="0"/>
                  </a:lnTo>
                  <a:lnTo>
                    <a:pt x="59" y="59"/>
                  </a:lnTo>
                  <a:lnTo>
                    <a:pt x="59" y="0"/>
                  </a:lnTo>
                  <a:lnTo>
                    <a:pt x="123" y="65"/>
                  </a:lnTo>
                  <a:lnTo>
                    <a:pt x="59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B6CE50D-4CFE-4A67-BC15-D7484EE254D8}"/>
                </a:ext>
              </a:extLst>
            </p:cNvPr>
            <p:cNvSpPr/>
            <p:nvPr/>
          </p:nvSpPr>
          <p:spPr bwMode="auto">
            <a:xfrm>
              <a:off x="10051227" y="3280116"/>
              <a:ext cx="303386" cy="303386"/>
            </a:xfrm>
            <a:custGeom>
              <a:avLst/>
              <a:gdLst>
                <a:gd name="T0" fmla="*/ 95 w 95"/>
                <a:gd name="T1" fmla="*/ 35 h 95"/>
                <a:gd name="T2" fmla="*/ 60 w 95"/>
                <a:gd name="T3" fmla="*/ 35 h 95"/>
                <a:gd name="T4" fmla="*/ 73 w 95"/>
                <a:gd name="T5" fmla="*/ 22 h 95"/>
                <a:gd name="T6" fmla="*/ 48 w 95"/>
                <a:gd name="T7" fmla="*/ 12 h 95"/>
                <a:gd name="T8" fmla="*/ 23 w 95"/>
                <a:gd name="T9" fmla="*/ 22 h 95"/>
                <a:gd name="T10" fmla="*/ 12 w 95"/>
                <a:gd name="T11" fmla="*/ 47 h 95"/>
                <a:gd name="T12" fmla="*/ 23 w 95"/>
                <a:gd name="T13" fmla="*/ 72 h 95"/>
                <a:gd name="T14" fmla="*/ 48 w 95"/>
                <a:gd name="T15" fmla="*/ 83 h 95"/>
                <a:gd name="T16" fmla="*/ 73 w 95"/>
                <a:gd name="T17" fmla="*/ 72 h 95"/>
                <a:gd name="T18" fmla="*/ 74 w 95"/>
                <a:gd name="T19" fmla="*/ 71 h 95"/>
                <a:gd name="T20" fmla="*/ 83 w 95"/>
                <a:gd name="T21" fmla="*/ 78 h 95"/>
                <a:gd name="T22" fmla="*/ 48 w 95"/>
                <a:gd name="T23" fmla="*/ 95 h 95"/>
                <a:gd name="T24" fmla="*/ 0 w 95"/>
                <a:gd name="T25" fmla="*/ 47 h 95"/>
                <a:gd name="T26" fmla="*/ 48 w 95"/>
                <a:gd name="T27" fmla="*/ 0 h 95"/>
                <a:gd name="T28" fmla="*/ 81 w 95"/>
                <a:gd name="T29" fmla="*/ 14 h 95"/>
                <a:gd name="T30" fmla="*/ 95 w 95"/>
                <a:gd name="T31" fmla="*/ 0 h 95"/>
                <a:gd name="T32" fmla="*/ 95 w 95"/>
                <a:gd name="T33" fmla="*/ 3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5" h="95">
                  <a:moveTo>
                    <a:pt x="95" y="35"/>
                  </a:moveTo>
                  <a:cubicBezTo>
                    <a:pt x="60" y="35"/>
                    <a:pt x="60" y="35"/>
                    <a:pt x="60" y="35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66" y="15"/>
                    <a:pt x="57" y="12"/>
                    <a:pt x="48" y="12"/>
                  </a:cubicBezTo>
                  <a:cubicBezTo>
                    <a:pt x="38" y="12"/>
                    <a:pt x="29" y="15"/>
                    <a:pt x="23" y="22"/>
                  </a:cubicBezTo>
                  <a:cubicBezTo>
                    <a:pt x="16" y="29"/>
                    <a:pt x="12" y="38"/>
                    <a:pt x="12" y="47"/>
                  </a:cubicBezTo>
                  <a:cubicBezTo>
                    <a:pt x="12" y="57"/>
                    <a:pt x="16" y="66"/>
                    <a:pt x="23" y="72"/>
                  </a:cubicBezTo>
                  <a:cubicBezTo>
                    <a:pt x="29" y="79"/>
                    <a:pt x="38" y="83"/>
                    <a:pt x="48" y="83"/>
                  </a:cubicBezTo>
                  <a:cubicBezTo>
                    <a:pt x="57" y="83"/>
                    <a:pt x="66" y="79"/>
                    <a:pt x="73" y="72"/>
                  </a:cubicBezTo>
                  <a:cubicBezTo>
                    <a:pt x="73" y="72"/>
                    <a:pt x="74" y="71"/>
                    <a:pt x="74" y="71"/>
                  </a:cubicBezTo>
                  <a:cubicBezTo>
                    <a:pt x="83" y="78"/>
                    <a:pt x="83" y="78"/>
                    <a:pt x="83" y="78"/>
                  </a:cubicBezTo>
                  <a:cubicBezTo>
                    <a:pt x="75" y="88"/>
                    <a:pt x="62" y="95"/>
                    <a:pt x="48" y="95"/>
                  </a:cubicBezTo>
                  <a:cubicBezTo>
                    <a:pt x="22" y="95"/>
                    <a:pt x="0" y="73"/>
                    <a:pt x="0" y="47"/>
                  </a:cubicBezTo>
                  <a:cubicBezTo>
                    <a:pt x="0" y="21"/>
                    <a:pt x="22" y="0"/>
                    <a:pt x="48" y="0"/>
                  </a:cubicBezTo>
                  <a:cubicBezTo>
                    <a:pt x="61" y="0"/>
                    <a:pt x="73" y="5"/>
                    <a:pt x="81" y="14"/>
                  </a:cubicBezTo>
                  <a:cubicBezTo>
                    <a:pt x="95" y="0"/>
                    <a:pt x="95" y="0"/>
                    <a:pt x="95" y="0"/>
                  </a:cubicBezTo>
                  <a:lnTo>
                    <a:pt x="95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A2FF869A-87D0-4184-A1D1-FC2150E22D8B}"/>
                </a:ext>
              </a:extLst>
            </p:cNvPr>
            <p:cNvSpPr/>
            <p:nvPr/>
          </p:nvSpPr>
          <p:spPr bwMode="auto">
            <a:xfrm>
              <a:off x="9912257" y="2277962"/>
              <a:ext cx="332745" cy="336662"/>
            </a:xfrm>
            <a:custGeom>
              <a:avLst/>
              <a:gdLst>
                <a:gd name="T0" fmla="*/ 86 w 104"/>
                <a:gd name="T1" fmla="*/ 0 h 105"/>
                <a:gd name="T2" fmla="*/ 17 w 104"/>
                <a:gd name="T3" fmla="*/ 0 h 105"/>
                <a:gd name="T4" fmla="*/ 0 w 104"/>
                <a:gd name="T5" fmla="*/ 18 h 105"/>
                <a:gd name="T6" fmla="*/ 0 w 104"/>
                <a:gd name="T7" fmla="*/ 87 h 105"/>
                <a:gd name="T8" fmla="*/ 17 w 104"/>
                <a:gd name="T9" fmla="*/ 105 h 105"/>
                <a:gd name="T10" fmla="*/ 86 w 104"/>
                <a:gd name="T11" fmla="*/ 105 h 105"/>
                <a:gd name="T12" fmla="*/ 104 w 104"/>
                <a:gd name="T13" fmla="*/ 87 h 105"/>
                <a:gd name="T14" fmla="*/ 104 w 104"/>
                <a:gd name="T15" fmla="*/ 18 h 105"/>
                <a:gd name="T16" fmla="*/ 86 w 104"/>
                <a:gd name="T17" fmla="*/ 0 h 105"/>
                <a:gd name="T18" fmla="*/ 28 w 104"/>
                <a:gd name="T19" fmla="*/ 85 h 105"/>
                <a:gd name="T20" fmla="*/ 19 w 104"/>
                <a:gd name="T21" fmla="*/ 76 h 105"/>
                <a:gd name="T22" fmla="*/ 28 w 104"/>
                <a:gd name="T23" fmla="*/ 67 h 105"/>
                <a:gd name="T24" fmla="*/ 37 w 104"/>
                <a:gd name="T25" fmla="*/ 76 h 105"/>
                <a:gd name="T26" fmla="*/ 28 w 104"/>
                <a:gd name="T27" fmla="*/ 85 h 105"/>
                <a:gd name="T28" fmla="*/ 50 w 104"/>
                <a:gd name="T29" fmla="*/ 85 h 105"/>
                <a:gd name="T30" fmla="*/ 41 w 104"/>
                <a:gd name="T31" fmla="*/ 63 h 105"/>
                <a:gd name="T32" fmla="*/ 19 w 104"/>
                <a:gd name="T33" fmla="*/ 54 h 105"/>
                <a:gd name="T34" fmla="*/ 19 w 104"/>
                <a:gd name="T35" fmla="*/ 41 h 105"/>
                <a:gd name="T36" fmla="*/ 63 w 104"/>
                <a:gd name="T37" fmla="*/ 85 h 105"/>
                <a:gd name="T38" fmla="*/ 50 w 104"/>
                <a:gd name="T39" fmla="*/ 85 h 105"/>
                <a:gd name="T40" fmla="*/ 73 w 104"/>
                <a:gd name="T41" fmla="*/ 85 h 105"/>
                <a:gd name="T42" fmla="*/ 19 w 104"/>
                <a:gd name="T43" fmla="*/ 31 h 105"/>
                <a:gd name="T44" fmla="*/ 19 w 104"/>
                <a:gd name="T45" fmla="*/ 18 h 105"/>
                <a:gd name="T46" fmla="*/ 86 w 104"/>
                <a:gd name="T47" fmla="*/ 85 h 105"/>
                <a:gd name="T48" fmla="*/ 73 w 104"/>
                <a:gd name="T49" fmla="*/ 85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4" h="105">
                  <a:moveTo>
                    <a:pt x="86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0" y="97"/>
                    <a:pt x="7" y="105"/>
                    <a:pt x="17" y="105"/>
                  </a:cubicBezTo>
                  <a:cubicBezTo>
                    <a:pt x="86" y="105"/>
                    <a:pt x="86" y="105"/>
                    <a:pt x="86" y="105"/>
                  </a:cubicBezTo>
                  <a:cubicBezTo>
                    <a:pt x="96" y="105"/>
                    <a:pt x="104" y="97"/>
                    <a:pt x="104" y="87"/>
                  </a:cubicBezTo>
                  <a:cubicBezTo>
                    <a:pt x="104" y="18"/>
                    <a:pt x="104" y="18"/>
                    <a:pt x="104" y="18"/>
                  </a:cubicBezTo>
                  <a:cubicBezTo>
                    <a:pt x="104" y="8"/>
                    <a:pt x="96" y="0"/>
                    <a:pt x="86" y="0"/>
                  </a:cubicBezTo>
                  <a:close/>
                  <a:moveTo>
                    <a:pt x="28" y="85"/>
                  </a:moveTo>
                  <a:cubicBezTo>
                    <a:pt x="23" y="85"/>
                    <a:pt x="19" y="81"/>
                    <a:pt x="19" y="76"/>
                  </a:cubicBezTo>
                  <a:cubicBezTo>
                    <a:pt x="19" y="71"/>
                    <a:pt x="23" y="67"/>
                    <a:pt x="28" y="67"/>
                  </a:cubicBezTo>
                  <a:cubicBezTo>
                    <a:pt x="33" y="67"/>
                    <a:pt x="37" y="71"/>
                    <a:pt x="37" y="76"/>
                  </a:cubicBezTo>
                  <a:cubicBezTo>
                    <a:pt x="37" y="81"/>
                    <a:pt x="33" y="85"/>
                    <a:pt x="28" y="85"/>
                  </a:cubicBezTo>
                  <a:close/>
                  <a:moveTo>
                    <a:pt x="50" y="85"/>
                  </a:moveTo>
                  <a:cubicBezTo>
                    <a:pt x="50" y="77"/>
                    <a:pt x="47" y="69"/>
                    <a:pt x="41" y="63"/>
                  </a:cubicBezTo>
                  <a:cubicBezTo>
                    <a:pt x="35" y="57"/>
                    <a:pt x="27" y="54"/>
                    <a:pt x="19" y="54"/>
                  </a:cubicBezTo>
                  <a:cubicBezTo>
                    <a:pt x="19" y="41"/>
                    <a:pt x="19" y="41"/>
                    <a:pt x="19" y="41"/>
                  </a:cubicBezTo>
                  <a:cubicBezTo>
                    <a:pt x="43" y="41"/>
                    <a:pt x="63" y="61"/>
                    <a:pt x="63" y="85"/>
                  </a:cubicBezTo>
                  <a:cubicBezTo>
                    <a:pt x="50" y="85"/>
                    <a:pt x="50" y="85"/>
                    <a:pt x="50" y="85"/>
                  </a:cubicBezTo>
                  <a:close/>
                  <a:moveTo>
                    <a:pt x="73" y="85"/>
                  </a:moveTo>
                  <a:cubicBezTo>
                    <a:pt x="73" y="55"/>
                    <a:pt x="49" y="31"/>
                    <a:pt x="19" y="31"/>
                  </a:cubicBezTo>
                  <a:cubicBezTo>
                    <a:pt x="19" y="18"/>
                    <a:pt x="19" y="18"/>
                    <a:pt x="19" y="18"/>
                  </a:cubicBezTo>
                  <a:cubicBezTo>
                    <a:pt x="56" y="18"/>
                    <a:pt x="86" y="48"/>
                    <a:pt x="86" y="85"/>
                  </a:cubicBezTo>
                  <a:cubicBezTo>
                    <a:pt x="73" y="85"/>
                    <a:pt x="73" y="85"/>
                    <a:pt x="73" y="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C4613448-E079-4D61-B325-3A7D1DF45370}"/>
                </a:ext>
              </a:extLst>
            </p:cNvPr>
            <p:cNvSpPr/>
            <p:nvPr/>
          </p:nvSpPr>
          <p:spPr bwMode="auto">
            <a:xfrm>
              <a:off x="9884854" y="3579588"/>
              <a:ext cx="307301" cy="322960"/>
            </a:xfrm>
            <a:custGeom>
              <a:avLst/>
              <a:gdLst>
                <a:gd name="T0" fmla="*/ 41 w 96"/>
                <a:gd name="T1" fmla="*/ 6 h 101"/>
                <a:gd name="T2" fmla="*/ 42 w 96"/>
                <a:gd name="T3" fmla="*/ 2 h 101"/>
                <a:gd name="T4" fmla="*/ 36 w 96"/>
                <a:gd name="T5" fmla="*/ 0 h 101"/>
                <a:gd name="T6" fmla="*/ 35 w 96"/>
                <a:gd name="T7" fmla="*/ 7 h 101"/>
                <a:gd name="T8" fmla="*/ 0 w 96"/>
                <a:gd name="T9" fmla="*/ 54 h 101"/>
                <a:gd name="T10" fmla="*/ 96 w 96"/>
                <a:gd name="T11" fmla="*/ 54 h 101"/>
                <a:gd name="T12" fmla="*/ 33 w 96"/>
                <a:gd name="T13" fmla="*/ 4 h 101"/>
                <a:gd name="T14" fmla="*/ 38 w 96"/>
                <a:gd name="T15" fmla="*/ 1 h 101"/>
                <a:gd name="T16" fmla="*/ 40 w 96"/>
                <a:gd name="T17" fmla="*/ 5 h 101"/>
                <a:gd name="T18" fmla="*/ 35 w 96"/>
                <a:gd name="T19" fmla="*/ 6 h 101"/>
                <a:gd name="T20" fmla="*/ 73 w 96"/>
                <a:gd name="T21" fmla="*/ 79 h 101"/>
                <a:gd name="T22" fmla="*/ 54 w 96"/>
                <a:gd name="T23" fmla="*/ 81 h 101"/>
                <a:gd name="T24" fmla="*/ 48 w 96"/>
                <a:gd name="T25" fmla="*/ 90 h 101"/>
                <a:gd name="T26" fmla="*/ 13 w 96"/>
                <a:gd name="T27" fmla="*/ 64 h 101"/>
                <a:gd name="T28" fmla="*/ 12 w 96"/>
                <a:gd name="T29" fmla="*/ 58 h 101"/>
                <a:gd name="T30" fmla="*/ 22 w 96"/>
                <a:gd name="T31" fmla="*/ 28 h 101"/>
                <a:gd name="T32" fmla="*/ 42 w 96"/>
                <a:gd name="T33" fmla="*/ 26 h 101"/>
                <a:gd name="T34" fmla="*/ 48 w 96"/>
                <a:gd name="T35" fmla="*/ 17 h 101"/>
                <a:gd name="T36" fmla="*/ 83 w 96"/>
                <a:gd name="T37" fmla="*/ 43 h 101"/>
                <a:gd name="T38" fmla="*/ 84 w 96"/>
                <a:gd name="T39" fmla="*/ 49 h 101"/>
                <a:gd name="T40" fmla="*/ 73 w 96"/>
                <a:gd name="T41" fmla="*/ 79 h 101"/>
                <a:gd name="T42" fmla="*/ 53 w 96"/>
                <a:gd name="T43" fmla="*/ 44 h 101"/>
                <a:gd name="T44" fmla="*/ 43 w 96"/>
                <a:gd name="T45" fmla="*/ 32 h 101"/>
                <a:gd name="T46" fmla="*/ 40 w 96"/>
                <a:gd name="T47" fmla="*/ 46 h 101"/>
                <a:gd name="T48" fmla="*/ 38 w 96"/>
                <a:gd name="T49" fmla="*/ 49 h 101"/>
                <a:gd name="T50" fmla="*/ 26 w 96"/>
                <a:gd name="T51" fmla="*/ 58 h 101"/>
                <a:gd name="T52" fmla="*/ 38 w 96"/>
                <a:gd name="T53" fmla="*/ 59 h 101"/>
                <a:gd name="T54" fmla="*/ 43 w 96"/>
                <a:gd name="T55" fmla="*/ 63 h 101"/>
                <a:gd name="T56" fmla="*/ 53 w 96"/>
                <a:gd name="T57" fmla="*/ 75 h 101"/>
                <a:gd name="T58" fmla="*/ 56 w 96"/>
                <a:gd name="T59" fmla="*/ 61 h 101"/>
                <a:gd name="T60" fmla="*/ 58 w 96"/>
                <a:gd name="T61" fmla="*/ 58 h 101"/>
                <a:gd name="T62" fmla="*/ 70 w 96"/>
                <a:gd name="T63" fmla="*/ 49 h 101"/>
                <a:gd name="T64" fmla="*/ 58 w 96"/>
                <a:gd name="T65" fmla="*/ 48 h 101"/>
                <a:gd name="T66" fmla="*/ 48 w 96"/>
                <a:gd name="T67" fmla="*/ 44 h 101"/>
                <a:gd name="T68" fmla="*/ 48 w 96"/>
                <a:gd name="T69" fmla="*/ 44 h 101"/>
                <a:gd name="T70" fmla="*/ 48 w 96"/>
                <a:gd name="T71" fmla="*/ 44 h 101"/>
                <a:gd name="T72" fmla="*/ 49 w 96"/>
                <a:gd name="T73" fmla="*/ 44 h 101"/>
                <a:gd name="T74" fmla="*/ 52 w 96"/>
                <a:gd name="T75" fmla="*/ 45 h 101"/>
                <a:gd name="T76" fmla="*/ 39 w 96"/>
                <a:gd name="T77" fmla="*/ 57 h 101"/>
                <a:gd name="T78" fmla="*/ 46 w 96"/>
                <a:gd name="T79" fmla="*/ 44 h 101"/>
                <a:gd name="T80" fmla="*/ 53 w 96"/>
                <a:gd name="T81" fmla="*/ 62 h 101"/>
                <a:gd name="T82" fmla="*/ 50 w 96"/>
                <a:gd name="T83" fmla="*/ 63 h 101"/>
                <a:gd name="T84" fmla="*/ 47 w 96"/>
                <a:gd name="T85" fmla="*/ 63 h 101"/>
                <a:gd name="T86" fmla="*/ 47 w 96"/>
                <a:gd name="T87" fmla="*/ 63 h 101"/>
                <a:gd name="T88" fmla="*/ 51 w 96"/>
                <a:gd name="T89" fmla="*/ 57 h 101"/>
                <a:gd name="T90" fmla="*/ 57 w 96"/>
                <a:gd name="T91" fmla="*/ 52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6" h="101">
                  <a:moveTo>
                    <a:pt x="48" y="6"/>
                  </a:moveTo>
                  <a:cubicBezTo>
                    <a:pt x="46" y="6"/>
                    <a:pt x="43" y="6"/>
                    <a:pt x="41" y="6"/>
                  </a:cubicBezTo>
                  <a:cubicBezTo>
                    <a:pt x="41" y="6"/>
                    <a:pt x="41" y="6"/>
                    <a:pt x="41" y="6"/>
                  </a:cubicBezTo>
                  <a:cubicBezTo>
                    <a:pt x="42" y="5"/>
                    <a:pt x="43" y="4"/>
                    <a:pt x="42" y="2"/>
                  </a:cubicBezTo>
                  <a:cubicBezTo>
                    <a:pt x="42" y="1"/>
                    <a:pt x="40" y="0"/>
                    <a:pt x="38" y="0"/>
                  </a:cubicBezTo>
                  <a:cubicBezTo>
                    <a:pt x="37" y="0"/>
                    <a:pt x="37" y="0"/>
                    <a:pt x="36" y="0"/>
                  </a:cubicBezTo>
                  <a:cubicBezTo>
                    <a:pt x="33" y="0"/>
                    <a:pt x="31" y="3"/>
                    <a:pt x="32" y="5"/>
                  </a:cubicBezTo>
                  <a:cubicBezTo>
                    <a:pt x="32" y="6"/>
                    <a:pt x="33" y="7"/>
                    <a:pt x="35" y="7"/>
                  </a:cubicBezTo>
                  <a:cubicBezTo>
                    <a:pt x="35" y="8"/>
                    <a:pt x="35" y="8"/>
                    <a:pt x="35" y="8"/>
                  </a:cubicBezTo>
                  <a:cubicBezTo>
                    <a:pt x="15" y="13"/>
                    <a:pt x="0" y="32"/>
                    <a:pt x="0" y="54"/>
                  </a:cubicBezTo>
                  <a:cubicBezTo>
                    <a:pt x="0" y="80"/>
                    <a:pt x="22" y="101"/>
                    <a:pt x="48" y="101"/>
                  </a:cubicBezTo>
                  <a:cubicBezTo>
                    <a:pt x="74" y="101"/>
                    <a:pt x="96" y="80"/>
                    <a:pt x="96" y="54"/>
                  </a:cubicBezTo>
                  <a:cubicBezTo>
                    <a:pt x="96" y="27"/>
                    <a:pt x="74" y="6"/>
                    <a:pt x="48" y="6"/>
                  </a:cubicBezTo>
                  <a:close/>
                  <a:moveTo>
                    <a:pt x="33" y="4"/>
                  </a:moveTo>
                  <a:cubicBezTo>
                    <a:pt x="33" y="3"/>
                    <a:pt x="35" y="2"/>
                    <a:pt x="37" y="1"/>
                  </a:cubicBezTo>
                  <a:cubicBezTo>
                    <a:pt x="37" y="1"/>
                    <a:pt x="37" y="1"/>
                    <a:pt x="38" y="1"/>
                  </a:cubicBezTo>
                  <a:cubicBezTo>
                    <a:pt x="39" y="1"/>
                    <a:pt x="41" y="2"/>
                    <a:pt x="41" y="3"/>
                  </a:cubicBezTo>
                  <a:cubicBezTo>
                    <a:pt x="41" y="4"/>
                    <a:pt x="41" y="4"/>
                    <a:pt x="40" y="5"/>
                  </a:cubicBezTo>
                  <a:cubicBezTo>
                    <a:pt x="39" y="4"/>
                    <a:pt x="38" y="4"/>
                    <a:pt x="37" y="4"/>
                  </a:cubicBezTo>
                  <a:cubicBezTo>
                    <a:pt x="36" y="5"/>
                    <a:pt x="36" y="5"/>
                    <a:pt x="35" y="6"/>
                  </a:cubicBezTo>
                  <a:cubicBezTo>
                    <a:pt x="34" y="6"/>
                    <a:pt x="33" y="5"/>
                    <a:pt x="33" y="4"/>
                  </a:cubicBezTo>
                  <a:close/>
                  <a:moveTo>
                    <a:pt x="73" y="79"/>
                  </a:moveTo>
                  <a:cubicBezTo>
                    <a:pt x="69" y="84"/>
                    <a:pt x="64" y="87"/>
                    <a:pt x="58" y="88"/>
                  </a:cubicBezTo>
                  <a:cubicBezTo>
                    <a:pt x="54" y="81"/>
                    <a:pt x="54" y="81"/>
                    <a:pt x="54" y="8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90"/>
                    <a:pt x="50" y="90"/>
                    <a:pt x="48" y="90"/>
                  </a:cubicBezTo>
                  <a:cubicBezTo>
                    <a:pt x="38" y="90"/>
                    <a:pt x="29" y="86"/>
                    <a:pt x="22" y="79"/>
                  </a:cubicBezTo>
                  <a:cubicBezTo>
                    <a:pt x="18" y="75"/>
                    <a:pt x="15" y="70"/>
                    <a:pt x="13" y="64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2" y="57"/>
                    <a:pt x="12" y="55"/>
                    <a:pt x="12" y="54"/>
                  </a:cubicBezTo>
                  <a:cubicBezTo>
                    <a:pt x="12" y="44"/>
                    <a:pt x="15" y="35"/>
                    <a:pt x="22" y="28"/>
                  </a:cubicBezTo>
                  <a:cubicBezTo>
                    <a:pt x="27" y="24"/>
                    <a:pt x="32" y="21"/>
                    <a:pt x="38" y="19"/>
                  </a:cubicBezTo>
                  <a:cubicBezTo>
                    <a:pt x="42" y="26"/>
                    <a:pt x="42" y="26"/>
                    <a:pt x="42" y="26"/>
                  </a:cubicBezTo>
                  <a:cubicBezTo>
                    <a:pt x="43" y="18"/>
                    <a:pt x="43" y="18"/>
                    <a:pt x="43" y="18"/>
                  </a:cubicBezTo>
                  <a:cubicBezTo>
                    <a:pt x="45" y="18"/>
                    <a:pt x="46" y="17"/>
                    <a:pt x="48" y="17"/>
                  </a:cubicBezTo>
                  <a:cubicBezTo>
                    <a:pt x="58" y="17"/>
                    <a:pt x="67" y="21"/>
                    <a:pt x="73" y="28"/>
                  </a:cubicBezTo>
                  <a:cubicBezTo>
                    <a:pt x="78" y="32"/>
                    <a:pt x="81" y="38"/>
                    <a:pt x="83" y="43"/>
                  </a:cubicBezTo>
                  <a:cubicBezTo>
                    <a:pt x="76" y="48"/>
                    <a:pt x="76" y="48"/>
                    <a:pt x="76" y="48"/>
                  </a:cubicBezTo>
                  <a:cubicBezTo>
                    <a:pt x="84" y="49"/>
                    <a:pt x="84" y="49"/>
                    <a:pt x="84" y="49"/>
                  </a:cubicBezTo>
                  <a:cubicBezTo>
                    <a:pt x="84" y="50"/>
                    <a:pt x="84" y="52"/>
                    <a:pt x="84" y="54"/>
                  </a:cubicBezTo>
                  <a:cubicBezTo>
                    <a:pt x="84" y="63"/>
                    <a:pt x="80" y="72"/>
                    <a:pt x="73" y="79"/>
                  </a:cubicBezTo>
                  <a:close/>
                  <a:moveTo>
                    <a:pt x="73" y="29"/>
                  </a:moveTo>
                  <a:cubicBezTo>
                    <a:pt x="53" y="44"/>
                    <a:pt x="53" y="44"/>
                    <a:pt x="53" y="44"/>
                  </a:cubicBezTo>
                  <a:cubicBezTo>
                    <a:pt x="52" y="43"/>
                    <a:pt x="50" y="43"/>
                    <a:pt x="48" y="42"/>
                  </a:cubicBezTo>
                  <a:cubicBezTo>
                    <a:pt x="43" y="32"/>
                    <a:pt x="43" y="32"/>
                    <a:pt x="43" y="32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2" y="44"/>
                    <a:pt x="40" y="45"/>
                    <a:pt x="40" y="46"/>
                  </a:cubicBezTo>
                  <a:cubicBezTo>
                    <a:pt x="33" y="44"/>
                    <a:pt x="33" y="44"/>
                    <a:pt x="33" y="44"/>
                  </a:cubicBezTo>
                  <a:cubicBezTo>
                    <a:pt x="38" y="49"/>
                    <a:pt x="38" y="49"/>
                    <a:pt x="38" y="49"/>
                  </a:cubicBezTo>
                  <a:cubicBezTo>
                    <a:pt x="37" y="50"/>
                    <a:pt x="37" y="52"/>
                    <a:pt x="37" y="53"/>
                  </a:cubicBezTo>
                  <a:cubicBezTo>
                    <a:pt x="26" y="58"/>
                    <a:pt x="26" y="58"/>
                    <a:pt x="26" y="58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38" y="59"/>
                    <a:pt x="38" y="59"/>
                    <a:pt x="38" y="59"/>
                  </a:cubicBezTo>
                  <a:cubicBezTo>
                    <a:pt x="23" y="78"/>
                    <a:pt x="23" y="78"/>
                    <a:pt x="23" y="78"/>
                  </a:cubicBezTo>
                  <a:cubicBezTo>
                    <a:pt x="43" y="63"/>
                    <a:pt x="43" y="63"/>
                    <a:pt x="43" y="63"/>
                  </a:cubicBezTo>
                  <a:cubicBezTo>
                    <a:pt x="44" y="64"/>
                    <a:pt x="46" y="65"/>
                    <a:pt x="47" y="65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3" y="64"/>
                    <a:pt x="53" y="64"/>
                    <a:pt x="53" y="64"/>
                  </a:cubicBezTo>
                  <a:cubicBezTo>
                    <a:pt x="54" y="63"/>
                    <a:pt x="55" y="62"/>
                    <a:pt x="56" y="61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59" y="57"/>
                    <a:pt x="59" y="56"/>
                    <a:pt x="59" y="54"/>
                  </a:cubicBezTo>
                  <a:cubicBezTo>
                    <a:pt x="70" y="49"/>
                    <a:pt x="70" y="49"/>
                    <a:pt x="70" y="49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49"/>
                    <a:pt x="58" y="49"/>
                    <a:pt x="58" y="48"/>
                  </a:cubicBezTo>
                  <a:lnTo>
                    <a:pt x="73" y="29"/>
                  </a:lnTo>
                  <a:close/>
                  <a:moveTo>
                    <a:pt x="48" y="44"/>
                  </a:moveTo>
                  <a:cubicBezTo>
                    <a:pt x="48" y="44"/>
                    <a:pt x="48" y="44"/>
                    <a:pt x="48" y="44"/>
                  </a:cubicBezTo>
                  <a:cubicBezTo>
                    <a:pt x="48" y="44"/>
                    <a:pt x="48" y="44"/>
                    <a:pt x="48" y="44"/>
                  </a:cubicBezTo>
                  <a:close/>
                  <a:moveTo>
                    <a:pt x="46" y="44"/>
                  </a:moveTo>
                  <a:cubicBezTo>
                    <a:pt x="47" y="44"/>
                    <a:pt x="47" y="44"/>
                    <a:pt x="48" y="44"/>
                  </a:cubicBezTo>
                  <a:cubicBezTo>
                    <a:pt x="48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49" y="44"/>
                    <a:pt x="49" y="44"/>
                    <a:pt x="49" y="44"/>
                  </a:cubicBezTo>
                  <a:cubicBezTo>
                    <a:pt x="50" y="44"/>
                    <a:pt x="51" y="44"/>
                    <a:pt x="52" y="45"/>
                  </a:cubicBezTo>
                  <a:cubicBezTo>
                    <a:pt x="45" y="50"/>
                    <a:pt x="45" y="50"/>
                    <a:pt x="45" y="50"/>
                  </a:cubicBezTo>
                  <a:cubicBezTo>
                    <a:pt x="39" y="57"/>
                    <a:pt x="39" y="57"/>
                    <a:pt x="39" y="57"/>
                  </a:cubicBezTo>
                  <a:cubicBezTo>
                    <a:pt x="39" y="57"/>
                    <a:pt x="39" y="56"/>
                    <a:pt x="39" y="56"/>
                  </a:cubicBezTo>
                  <a:cubicBezTo>
                    <a:pt x="37" y="50"/>
                    <a:pt x="41" y="45"/>
                    <a:pt x="46" y="44"/>
                  </a:cubicBezTo>
                  <a:close/>
                  <a:moveTo>
                    <a:pt x="53" y="62"/>
                  </a:moveTo>
                  <a:cubicBezTo>
                    <a:pt x="53" y="62"/>
                    <a:pt x="53" y="62"/>
                    <a:pt x="53" y="62"/>
                  </a:cubicBezTo>
                  <a:cubicBezTo>
                    <a:pt x="53" y="62"/>
                    <a:pt x="53" y="62"/>
                    <a:pt x="53" y="62"/>
                  </a:cubicBezTo>
                  <a:cubicBezTo>
                    <a:pt x="52" y="62"/>
                    <a:pt x="51" y="63"/>
                    <a:pt x="50" y="63"/>
                  </a:cubicBezTo>
                  <a:cubicBezTo>
                    <a:pt x="49" y="63"/>
                    <a:pt x="49" y="63"/>
                    <a:pt x="48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7" y="63"/>
                    <a:pt x="47" y="63"/>
                    <a:pt x="47" y="63"/>
                  </a:cubicBezTo>
                  <a:cubicBezTo>
                    <a:pt x="46" y="63"/>
                    <a:pt x="45" y="63"/>
                    <a:pt x="44" y="62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7" y="50"/>
                    <a:pt x="57" y="51"/>
                    <a:pt x="57" y="52"/>
                  </a:cubicBezTo>
                  <a:cubicBezTo>
                    <a:pt x="58" y="56"/>
                    <a:pt x="56" y="60"/>
                    <a:pt x="53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12BE31B0-1AA8-4492-AB49-A8DBCF5865D2}"/>
                </a:ext>
              </a:extLst>
            </p:cNvPr>
            <p:cNvSpPr/>
            <p:nvPr/>
          </p:nvSpPr>
          <p:spPr bwMode="auto">
            <a:xfrm>
              <a:off x="9763500" y="2679215"/>
              <a:ext cx="340574" cy="340575"/>
            </a:xfrm>
            <a:custGeom>
              <a:avLst/>
              <a:gdLst>
                <a:gd name="T0" fmla="*/ 90 w 107"/>
                <a:gd name="T1" fmla="*/ 74 h 107"/>
                <a:gd name="T2" fmla="*/ 78 w 107"/>
                <a:gd name="T3" fmla="*/ 79 h 107"/>
                <a:gd name="T4" fmla="*/ 33 w 107"/>
                <a:gd name="T5" fmla="*/ 56 h 107"/>
                <a:gd name="T6" fmla="*/ 34 w 107"/>
                <a:gd name="T7" fmla="*/ 54 h 107"/>
                <a:gd name="T8" fmla="*/ 33 w 107"/>
                <a:gd name="T9" fmla="*/ 51 h 107"/>
                <a:gd name="T10" fmla="*/ 78 w 107"/>
                <a:gd name="T11" fmla="*/ 29 h 107"/>
                <a:gd name="T12" fmla="*/ 90 w 107"/>
                <a:gd name="T13" fmla="*/ 34 h 107"/>
                <a:gd name="T14" fmla="*/ 107 w 107"/>
                <a:gd name="T15" fmla="*/ 17 h 107"/>
                <a:gd name="T16" fmla="*/ 90 w 107"/>
                <a:gd name="T17" fmla="*/ 0 h 107"/>
                <a:gd name="T18" fmla="*/ 74 w 107"/>
                <a:gd name="T19" fmla="*/ 17 h 107"/>
                <a:gd name="T20" fmla="*/ 74 w 107"/>
                <a:gd name="T21" fmla="*/ 20 h 107"/>
                <a:gd name="T22" fmla="*/ 29 w 107"/>
                <a:gd name="T23" fmla="*/ 42 h 107"/>
                <a:gd name="T24" fmla="*/ 17 w 107"/>
                <a:gd name="T25" fmla="*/ 37 h 107"/>
                <a:gd name="T26" fmla="*/ 0 w 107"/>
                <a:gd name="T27" fmla="*/ 54 h 107"/>
                <a:gd name="T28" fmla="*/ 17 w 107"/>
                <a:gd name="T29" fmla="*/ 70 h 107"/>
                <a:gd name="T30" fmla="*/ 29 w 107"/>
                <a:gd name="T31" fmla="*/ 65 h 107"/>
                <a:gd name="T32" fmla="*/ 74 w 107"/>
                <a:gd name="T33" fmla="*/ 88 h 107"/>
                <a:gd name="T34" fmla="*/ 74 w 107"/>
                <a:gd name="T35" fmla="*/ 90 h 107"/>
                <a:gd name="T36" fmla="*/ 90 w 107"/>
                <a:gd name="T37" fmla="*/ 107 h 107"/>
                <a:gd name="T38" fmla="*/ 107 w 107"/>
                <a:gd name="T39" fmla="*/ 90 h 107"/>
                <a:gd name="T40" fmla="*/ 90 w 107"/>
                <a:gd name="T41" fmla="*/ 74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7" h="107">
                  <a:moveTo>
                    <a:pt x="90" y="74"/>
                  </a:moveTo>
                  <a:cubicBezTo>
                    <a:pt x="86" y="74"/>
                    <a:pt x="81" y="76"/>
                    <a:pt x="78" y="79"/>
                  </a:cubicBezTo>
                  <a:cubicBezTo>
                    <a:pt x="33" y="56"/>
                    <a:pt x="33" y="56"/>
                    <a:pt x="33" y="56"/>
                  </a:cubicBezTo>
                  <a:cubicBezTo>
                    <a:pt x="34" y="56"/>
                    <a:pt x="34" y="55"/>
                    <a:pt x="34" y="54"/>
                  </a:cubicBezTo>
                  <a:cubicBezTo>
                    <a:pt x="34" y="53"/>
                    <a:pt x="34" y="52"/>
                    <a:pt x="33" y="51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81" y="32"/>
                    <a:pt x="86" y="34"/>
                    <a:pt x="90" y="34"/>
                  </a:cubicBezTo>
                  <a:cubicBezTo>
                    <a:pt x="100" y="34"/>
                    <a:pt x="107" y="26"/>
                    <a:pt x="107" y="17"/>
                  </a:cubicBezTo>
                  <a:cubicBezTo>
                    <a:pt x="107" y="8"/>
                    <a:pt x="100" y="0"/>
                    <a:pt x="90" y="0"/>
                  </a:cubicBezTo>
                  <a:cubicBezTo>
                    <a:pt x="81" y="0"/>
                    <a:pt x="74" y="8"/>
                    <a:pt x="74" y="17"/>
                  </a:cubicBezTo>
                  <a:cubicBezTo>
                    <a:pt x="74" y="18"/>
                    <a:pt x="74" y="19"/>
                    <a:pt x="74" y="20"/>
                  </a:cubicBezTo>
                  <a:cubicBezTo>
                    <a:pt x="29" y="42"/>
                    <a:pt x="29" y="42"/>
                    <a:pt x="29" y="42"/>
                  </a:cubicBezTo>
                  <a:cubicBezTo>
                    <a:pt x="26" y="39"/>
                    <a:pt x="22" y="37"/>
                    <a:pt x="17" y="37"/>
                  </a:cubicBezTo>
                  <a:cubicBezTo>
                    <a:pt x="8" y="37"/>
                    <a:pt x="0" y="45"/>
                    <a:pt x="0" y="54"/>
                  </a:cubicBezTo>
                  <a:cubicBezTo>
                    <a:pt x="0" y="63"/>
                    <a:pt x="8" y="70"/>
                    <a:pt x="17" y="70"/>
                  </a:cubicBezTo>
                  <a:cubicBezTo>
                    <a:pt x="22" y="70"/>
                    <a:pt x="26" y="68"/>
                    <a:pt x="29" y="65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74" y="89"/>
                    <a:pt x="74" y="90"/>
                    <a:pt x="74" y="90"/>
                  </a:cubicBezTo>
                  <a:cubicBezTo>
                    <a:pt x="74" y="100"/>
                    <a:pt x="81" y="107"/>
                    <a:pt x="90" y="107"/>
                  </a:cubicBezTo>
                  <a:cubicBezTo>
                    <a:pt x="100" y="107"/>
                    <a:pt x="107" y="100"/>
                    <a:pt x="107" y="90"/>
                  </a:cubicBezTo>
                  <a:cubicBezTo>
                    <a:pt x="107" y="81"/>
                    <a:pt x="100" y="74"/>
                    <a:pt x="90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4" name="任意多边形: 形状 103">
              <a:extLst>
                <a:ext uri="{FF2B5EF4-FFF2-40B4-BE49-F238E27FC236}">
                  <a16:creationId xmlns:a16="http://schemas.microsoft.com/office/drawing/2014/main" id="{54E9B98F-829B-4831-B96C-6A3FCCE29A73}"/>
                </a:ext>
              </a:extLst>
            </p:cNvPr>
            <p:cNvSpPr/>
            <p:nvPr/>
          </p:nvSpPr>
          <p:spPr bwMode="auto">
            <a:xfrm>
              <a:off x="9875067" y="1874752"/>
              <a:ext cx="324916" cy="352320"/>
            </a:xfrm>
            <a:custGeom>
              <a:avLst/>
              <a:gdLst>
                <a:gd name="T0" fmla="*/ 13 w 102"/>
                <a:gd name="T1" fmla="*/ 100 h 110"/>
                <a:gd name="T2" fmla="*/ 24 w 102"/>
                <a:gd name="T3" fmla="*/ 110 h 110"/>
                <a:gd name="T4" fmla="*/ 34 w 102"/>
                <a:gd name="T5" fmla="*/ 100 h 110"/>
                <a:gd name="T6" fmla="*/ 34 w 102"/>
                <a:gd name="T7" fmla="*/ 100 h 110"/>
                <a:gd name="T8" fmla="*/ 24 w 102"/>
                <a:gd name="T9" fmla="*/ 89 h 110"/>
                <a:gd name="T10" fmla="*/ 13 w 102"/>
                <a:gd name="T11" fmla="*/ 100 h 110"/>
                <a:gd name="T12" fmla="*/ 82 w 102"/>
                <a:gd name="T13" fmla="*/ 100 h 110"/>
                <a:gd name="T14" fmla="*/ 92 w 102"/>
                <a:gd name="T15" fmla="*/ 110 h 110"/>
                <a:gd name="T16" fmla="*/ 102 w 102"/>
                <a:gd name="T17" fmla="*/ 100 h 110"/>
                <a:gd name="T18" fmla="*/ 102 w 102"/>
                <a:gd name="T19" fmla="*/ 100 h 110"/>
                <a:gd name="T20" fmla="*/ 92 w 102"/>
                <a:gd name="T21" fmla="*/ 89 h 110"/>
                <a:gd name="T22" fmla="*/ 82 w 102"/>
                <a:gd name="T23" fmla="*/ 100 h 110"/>
                <a:gd name="T24" fmla="*/ 102 w 102"/>
                <a:gd name="T25" fmla="*/ 55 h 110"/>
                <a:gd name="T26" fmla="*/ 102 w 102"/>
                <a:gd name="T27" fmla="*/ 14 h 110"/>
                <a:gd name="T28" fmla="*/ 13 w 102"/>
                <a:gd name="T29" fmla="*/ 14 h 110"/>
                <a:gd name="T30" fmla="*/ 0 w 102"/>
                <a:gd name="T31" fmla="*/ 0 h 110"/>
                <a:gd name="T32" fmla="*/ 0 w 102"/>
                <a:gd name="T33" fmla="*/ 7 h 110"/>
                <a:gd name="T34" fmla="*/ 7 w 102"/>
                <a:gd name="T35" fmla="*/ 14 h 110"/>
                <a:gd name="T36" fmla="*/ 12 w 102"/>
                <a:gd name="T37" fmla="*/ 58 h 110"/>
                <a:gd name="T38" fmla="*/ 7 w 102"/>
                <a:gd name="T39" fmla="*/ 69 h 110"/>
                <a:gd name="T40" fmla="*/ 20 w 102"/>
                <a:gd name="T41" fmla="*/ 82 h 110"/>
                <a:gd name="T42" fmla="*/ 102 w 102"/>
                <a:gd name="T43" fmla="*/ 82 h 110"/>
                <a:gd name="T44" fmla="*/ 102 w 102"/>
                <a:gd name="T45" fmla="*/ 76 h 110"/>
                <a:gd name="T46" fmla="*/ 20 w 102"/>
                <a:gd name="T47" fmla="*/ 76 h 110"/>
                <a:gd name="T48" fmla="*/ 13 w 102"/>
                <a:gd name="T49" fmla="*/ 69 h 110"/>
                <a:gd name="T50" fmla="*/ 13 w 102"/>
                <a:gd name="T51" fmla="*/ 69 h 110"/>
                <a:gd name="T52" fmla="*/ 102 w 102"/>
                <a:gd name="T53" fmla="*/ 55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2" h="110">
                  <a:moveTo>
                    <a:pt x="13" y="100"/>
                  </a:moveTo>
                  <a:cubicBezTo>
                    <a:pt x="13" y="105"/>
                    <a:pt x="18" y="110"/>
                    <a:pt x="24" y="110"/>
                  </a:cubicBezTo>
                  <a:cubicBezTo>
                    <a:pt x="29" y="110"/>
                    <a:pt x="34" y="105"/>
                    <a:pt x="34" y="100"/>
                  </a:cubicBezTo>
                  <a:cubicBezTo>
                    <a:pt x="34" y="100"/>
                    <a:pt x="34" y="100"/>
                    <a:pt x="34" y="100"/>
                  </a:cubicBezTo>
                  <a:cubicBezTo>
                    <a:pt x="34" y="94"/>
                    <a:pt x="29" y="89"/>
                    <a:pt x="24" y="89"/>
                  </a:cubicBezTo>
                  <a:cubicBezTo>
                    <a:pt x="18" y="89"/>
                    <a:pt x="13" y="94"/>
                    <a:pt x="13" y="100"/>
                  </a:cubicBezTo>
                  <a:close/>
                  <a:moveTo>
                    <a:pt x="82" y="100"/>
                  </a:moveTo>
                  <a:cubicBezTo>
                    <a:pt x="82" y="105"/>
                    <a:pt x="86" y="110"/>
                    <a:pt x="92" y="110"/>
                  </a:cubicBezTo>
                  <a:cubicBezTo>
                    <a:pt x="98" y="110"/>
                    <a:pt x="102" y="105"/>
                    <a:pt x="102" y="100"/>
                  </a:cubicBezTo>
                  <a:cubicBezTo>
                    <a:pt x="102" y="100"/>
                    <a:pt x="102" y="100"/>
                    <a:pt x="102" y="100"/>
                  </a:cubicBezTo>
                  <a:cubicBezTo>
                    <a:pt x="102" y="94"/>
                    <a:pt x="98" y="89"/>
                    <a:pt x="92" y="89"/>
                  </a:cubicBezTo>
                  <a:cubicBezTo>
                    <a:pt x="86" y="89"/>
                    <a:pt x="82" y="94"/>
                    <a:pt x="82" y="100"/>
                  </a:cubicBezTo>
                  <a:close/>
                  <a:moveTo>
                    <a:pt x="102" y="55"/>
                  </a:moveTo>
                  <a:cubicBezTo>
                    <a:pt x="102" y="14"/>
                    <a:pt x="102" y="14"/>
                    <a:pt x="102" y="14"/>
                  </a:cubicBezTo>
                  <a:cubicBezTo>
                    <a:pt x="13" y="14"/>
                    <a:pt x="13" y="14"/>
                    <a:pt x="13" y="14"/>
                  </a:cubicBezTo>
                  <a:cubicBezTo>
                    <a:pt x="13" y="6"/>
                    <a:pt x="7" y="0"/>
                    <a:pt x="0" y="0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3" y="7"/>
                    <a:pt x="7" y="10"/>
                    <a:pt x="7" y="14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9" y="61"/>
                    <a:pt x="7" y="64"/>
                    <a:pt x="7" y="69"/>
                  </a:cubicBezTo>
                  <a:cubicBezTo>
                    <a:pt x="7" y="76"/>
                    <a:pt x="13" y="82"/>
                    <a:pt x="20" y="82"/>
                  </a:cubicBezTo>
                  <a:cubicBezTo>
                    <a:pt x="102" y="82"/>
                    <a:pt x="102" y="82"/>
                    <a:pt x="102" y="82"/>
                  </a:cubicBezTo>
                  <a:cubicBezTo>
                    <a:pt x="102" y="76"/>
                    <a:pt x="102" y="76"/>
                    <a:pt x="102" y="76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16" y="76"/>
                    <a:pt x="13" y="73"/>
                    <a:pt x="13" y="69"/>
                  </a:cubicBezTo>
                  <a:cubicBezTo>
                    <a:pt x="13" y="69"/>
                    <a:pt x="13" y="69"/>
                    <a:pt x="13" y="69"/>
                  </a:cubicBezTo>
                  <a:lnTo>
                    <a:pt x="102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5" name="任意多边形: 形状 104">
              <a:extLst>
                <a:ext uri="{FF2B5EF4-FFF2-40B4-BE49-F238E27FC236}">
                  <a16:creationId xmlns:a16="http://schemas.microsoft.com/office/drawing/2014/main" id="{E980880B-0703-45CB-8B12-3D054E445B3A}"/>
                </a:ext>
              </a:extLst>
            </p:cNvPr>
            <p:cNvSpPr/>
            <p:nvPr/>
          </p:nvSpPr>
          <p:spPr bwMode="auto">
            <a:xfrm>
              <a:off x="9965105" y="1600726"/>
              <a:ext cx="274026" cy="268154"/>
            </a:xfrm>
            <a:custGeom>
              <a:avLst/>
              <a:gdLst>
                <a:gd name="T0" fmla="*/ 82 w 86"/>
                <a:gd name="T1" fmla="*/ 47 h 84"/>
                <a:gd name="T2" fmla="*/ 82 w 86"/>
                <a:gd name="T3" fmla="*/ 42 h 84"/>
                <a:gd name="T4" fmla="*/ 43 w 86"/>
                <a:gd name="T5" fmla="*/ 3 h 84"/>
                <a:gd name="T6" fmla="*/ 36 w 86"/>
                <a:gd name="T7" fmla="*/ 4 h 84"/>
                <a:gd name="T8" fmla="*/ 24 w 86"/>
                <a:gd name="T9" fmla="*/ 0 h 84"/>
                <a:gd name="T10" fmla="*/ 0 w 86"/>
                <a:gd name="T11" fmla="*/ 23 h 84"/>
                <a:gd name="T12" fmla="*/ 4 w 86"/>
                <a:gd name="T13" fmla="*/ 36 h 84"/>
                <a:gd name="T14" fmla="*/ 4 w 86"/>
                <a:gd name="T15" fmla="*/ 42 h 84"/>
                <a:gd name="T16" fmla="*/ 43 w 86"/>
                <a:gd name="T17" fmla="*/ 81 h 84"/>
                <a:gd name="T18" fmla="*/ 50 w 86"/>
                <a:gd name="T19" fmla="*/ 80 h 84"/>
                <a:gd name="T20" fmla="*/ 62 w 86"/>
                <a:gd name="T21" fmla="*/ 84 h 84"/>
                <a:gd name="T22" fmla="*/ 86 w 86"/>
                <a:gd name="T23" fmla="*/ 61 h 84"/>
                <a:gd name="T24" fmla="*/ 82 w 86"/>
                <a:gd name="T25" fmla="*/ 47 h 84"/>
                <a:gd name="T26" fmla="*/ 46 w 86"/>
                <a:gd name="T27" fmla="*/ 71 h 84"/>
                <a:gd name="T28" fmla="*/ 23 w 86"/>
                <a:gd name="T29" fmla="*/ 64 h 84"/>
                <a:gd name="T30" fmla="*/ 24 w 86"/>
                <a:gd name="T31" fmla="*/ 51 h 84"/>
                <a:gd name="T32" fmla="*/ 34 w 86"/>
                <a:gd name="T33" fmla="*/ 59 h 84"/>
                <a:gd name="T34" fmla="*/ 52 w 86"/>
                <a:gd name="T35" fmla="*/ 58 h 84"/>
                <a:gd name="T36" fmla="*/ 41 w 86"/>
                <a:gd name="T37" fmla="*/ 47 h 84"/>
                <a:gd name="T38" fmla="*/ 20 w 86"/>
                <a:gd name="T39" fmla="*/ 30 h 84"/>
                <a:gd name="T40" fmla="*/ 37 w 86"/>
                <a:gd name="T41" fmla="*/ 13 h 84"/>
                <a:gd name="T42" fmla="*/ 61 w 86"/>
                <a:gd name="T43" fmla="*/ 19 h 84"/>
                <a:gd name="T44" fmla="*/ 59 w 86"/>
                <a:gd name="T45" fmla="*/ 31 h 84"/>
                <a:gd name="T46" fmla="*/ 42 w 86"/>
                <a:gd name="T47" fmla="*/ 22 h 84"/>
                <a:gd name="T48" fmla="*/ 38 w 86"/>
                <a:gd name="T49" fmla="*/ 35 h 84"/>
                <a:gd name="T50" fmla="*/ 66 w 86"/>
                <a:gd name="T51" fmla="*/ 49 h 84"/>
                <a:gd name="T52" fmla="*/ 46 w 86"/>
                <a:gd name="T53" fmla="*/ 71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86" h="84">
                  <a:moveTo>
                    <a:pt x="82" y="47"/>
                  </a:moveTo>
                  <a:cubicBezTo>
                    <a:pt x="82" y="46"/>
                    <a:pt x="82" y="44"/>
                    <a:pt x="82" y="42"/>
                  </a:cubicBezTo>
                  <a:cubicBezTo>
                    <a:pt x="82" y="21"/>
                    <a:pt x="64" y="3"/>
                    <a:pt x="43" y="3"/>
                  </a:cubicBezTo>
                  <a:cubicBezTo>
                    <a:pt x="41" y="3"/>
                    <a:pt x="39" y="3"/>
                    <a:pt x="36" y="4"/>
                  </a:cubicBezTo>
                  <a:cubicBezTo>
                    <a:pt x="33" y="1"/>
                    <a:pt x="28" y="0"/>
                    <a:pt x="24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28"/>
                    <a:pt x="2" y="32"/>
                    <a:pt x="4" y="36"/>
                  </a:cubicBezTo>
                  <a:cubicBezTo>
                    <a:pt x="4" y="38"/>
                    <a:pt x="4" y="40"/>
                    <a:pt x="4" y="42"/>
                  </a:cubicBezTo>
                  <a:cubicBezTo>
                    <a:pt x="4" y="64"/>
                    <a:pt x="21" y="81"/>
                    <a:pt x="43" y="81"/>
                  </a:cubicBezTo>
                  <a:cubicBezTo>
                    <a:pt x="45" y="81"/>
                    <a:pt x="48" y="81"/>
                    <a:pt x="50" y="80"/>
                  </a:cubicBezTo>
                  <a:cubicBezTo>
                    <a:pt x="54" y="83"/>
                    <a:pt x="58" y="84"/>
                    <a:pt x="62" y="84"/>
                  </a:cubicBezTo>
                  <a:cubicBezTo>
                    <a:pt x="75" y="84"/>
                    <a:pt x="86" y="73"/>
                    <a:pt x="86" y="61"/>
                  </a:cubicBezTo>
                  <a:cubicBezTo>
                    <a:pt x="86" y="56"/>
                    <a:pt x="84" y="51"/>
                    <a:pt x="82" y="47"/>
                  </a:cubicBezTo>
                  <a:close/>
                  <a:moveTo>
                    <a:pt x="46" y="71"/>
                  </a:moveTo>
                  <a:cubicBezTo>
                    <a:pt x="34" y="71"/>
                    <a:pt x="28" y="69"/>
                    <a:pt x="23" y="64"/>
                  </a:cubicBezTo>
                  <a:cubicBezTo>
                    <a:pt x="17" y="58"/>
                    <a:pt x="19" y="52"/>
                    <a:pt x="24" y="51"/>
                  </a:cubicBezTo>
                  <a:cubicBezTo>
                    <a:pt x="29" y="51"/>
                    <a:pt x="32" y="57"/>
                    <a:pt x="34" y="59"/>
                  </a:cubicBezTo>
                  <a:cubicBezTo>
                    <a:pt x="37" y="60"/>
                    <a:pt x="47" y="64"/>
                    <a:pt x="52" y="58"/>
                  </a:cubicBezTo>
                  <a:cubicBezTo>
                    <a:pt x="58" y="51"/>
                    <a:pt x="48" y="48"/>
                    <a:pt x="41" y="47"/>
                  </a:cubicBezTo>
                  <a:cubicBezTo>
                    <a:pt x="32" y="46"/>
                    <a:pt x="19" y="40"/>
                    <a:pt x="20" y="30"/>
                  </a:cubicBezTo>
                  <a:cubicBezTo>
                    <a:pt x="21" y="19"/>
                    <a:pt x="29" y="14"/>
                    <a:pt x="37" y="13"/>
                  </a:cubicBezTo>
                  <a:cubicBezTo>
                    <a:pt x="48" y="12"/>
                    <a:pt x="55" y="15"/>
                    <a:pt x="61" y="19"/>
                  </a:cubicBezTo>
                  <a:cubicBezTo>
                    <a:pt x="67" y="25"/>
                    <a:pt x="63" y="31"/>
                    <a:pt x="59" y="31"/>
                  </a:cubicBezTo>
                  <a:cubicBezTo>
                    <a:pt x="55" y="32"/>
                    <a:pt x="51" y="22"/>
                    <a:pt x="42" y="22"/>
                  </a:cubicBezTo>
                  <a:cubicBezTo>
                    <a:pt x="33" y="22"/>
                    <a:pt x="27" y="32"/>
                    <a:pt x="38" y="35"/>
                  </a:cubicBezTo>
                  <a:cubicBezTo>
                    <a:pt x="49" y="37"/>
                    <a:pt x="61" y="38"/>
                    <a:pt x="66" y="49"/>
                  </a:cubicBezTo>
                  <a:cubicBezTo>
                    <a:pt x="70" y="59"/>
                    <a:pt x="59" y="70"/>
                    <a:pt x="46" y="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6" name="任意多边形: 形状 105">
              <a:extLst>
                <a:ext uri="{FF2B5EF4-FFF2-40B4-BE49-F238E27FC236}">
                  <a16:creationId xmlns:a16="http://schemas.microsoft.com/office/drawing/2014/main" id="{DAC5B241-2DAA-4E79-B391-6E34A09D0F80}"/>
                </a:ext>
              </a:extLst>
            </p:cNvPr>
            <p:cNvSpPr/>
            <p:nvPr/>
          </p:nvSpPr>
          <p:spPr bwMode="auto">
            <a:xfrm>
              <a:off x="10082545" y="1367801"/>
              <a:ext cx="152672" cy="199649"/>
            </a:xfrm>
            <a:custGeom>
              <a:avLst/>
              <a:gdLst>
                <a:gd name="T0" fmla="*/ 42 w 48"/>
                <a:gd name="T1" fmla="*/ 8 h 63"/>
                <a:gd name="T2" fmla="*/ 6 w 48"/>
                <a:gd name="T3" fmla="*/ 8 h 63"/>
                <a:gd name="T4" fmla="*/ 0 w 48"/>
                <a:gd name="T5" fmla="*/ 14 h 63"/>
                <a:gd name="T6" fmla="*/ 0 w 48"/>
                <a:gd name="T7" fmla="*/ 16 h 63"/>
                <a:gd name="T8" fmla="*/ 48 w 48"/>
                <a:gd name="T9" fmla="*/ 16 h 63"/>
                <a:gd name="T10" fmla="*/ 48 w 48"/>
                <a:gd name="T11" fmla="*/ 14 h 63"/>
                <a:gd name="T12" fmla="*/ 42 w 48"/>
                <a:gd name="T13" fmla="*/ 8 h 63"/>
                <a:gd name="T14" fmla="*/ 31 w 48"/>
                <a:gd name="T15" fmla="*/ 4 h 63"/>
                <a:gd name="T16" fmla="*/ 32 w 48"/>
                <a:gd name="T17" fmla="*/ 10 h 63"/>
                <a:gd name="T18" fmla="*/ 16 w 48"/>
                <a:gd name="T19" fmla="*/ 10 h 63"/>
                <a:gd name="T20" fmla="*/ 17 w 48"/>
                <a:gd name="T21" fmla="*/ 4 h 63"/>
                <a:gd name="T22" fmla="*/ 31 w 48"/>
                <a:gd name="T23" fmla="*/ 4 h 63"/>
                <a:gd name="T24" fmla="*/ 32 w 48"/>
                <a:gd name="T25" fmla="*/ 0 h 63"/>
                <a:gd name="T26" fmla="*/ 16 w 48"/>
                <a:gd name="T27" fmla="*/ 0 h 63"/>
                <a:gd name="T28" fmla="*/ 13 w 48"/>
                <a:gd name="T29" fmla="*/ 3 h 63"/>
                <a:gd name="T30" fmla="*/ 12 w 48"/>
                <a:gd name="T31" fmla="*/ 11 h 63"/>
                <a:gd name="T32" fmla="*/ 14 w 48"/>
                <a:gd name="T33" fmla="*/ 14 h 63"/>
                <a:gd name="T34" fmla="*/ 34 w 48"/>
                <a:gd name="T35" fmla="*/ 14 h 63"/>
                <a:gd name="T36" fmla="*/ 36 w 48"/>
                <a:gd name="T37" fmla="*/ 11 h 63"/>
                <a:gd name="T38" fmla="*/ 35 w 48"/>
                <a:gd name="T39" fmla="*/ 3 h 63"/>
                <a:gd name="T40" fmla="*/ 32 w 48"/>
                <a:gd name="T41" fmla="*/ 0 h 63"/>
                <a:gd name="T42" fmla="*/ 43 w 48"/>
                <a:gd name="T43" fmla="*/ 20 h 63"/>
                <a:gd name="T44" fmla="*/ 5 w 48"/>
                <a:gd name="T45" fmla="*/ 20 h 63"/>
                <a:gd name="T46" fmla="*/ 2 w 48"/>
                <a:gd name="T47" fmla="*/ 24 h 63"/>
                <a:gd name="T48" fmla="*/ 5 w 48"/>
                <a:gd name="T49" fmla="*/ 59 h 63"/>
                <a:gd name="T50" fmla="*/ 9 w 48"/>
                <a:gd name="T51" fmla="*/ 63 h 63"/>
                <a:gd name="T52" fmla="*/ 39 w 48"/>
                <a:gd name="T53" fmla="*/ 63 h 63"/>
                <a:gd name="T54" fmla="*/ 43 w 48"/>
                <a:gd name="T55" fmla="*/ 59 h 63"/>
                <a:gd name="T56" fmla="*/ 46 w 48"/>
                <a:gd name="T57" fmla="*/ 24 h 63"/>
                <a:gd name="T58" fmla="*/ 43 w 48"/>
                <a:gd name="T59" fmla="*/ 20 h 63"/>
                <a:gd name="T60" fmla="*/ 16 w 48"/>
                <a:gd name="T61" fmla="*/ 55 h 63"/>
                <a:gd name="T62" fmla="*/ 10 w 48"/>
                <a:gd name="T63" fmla="*/ 55 h 63"/>
                <a:gd name="T64" fmla="*/ 8 w 48"/>
                <a:gd name="T65" fmla="*/ 28 h 63"/>
                <a:gd name="T66" fmla="*/ 16 w 48"/>
                <a:gd name="T67" fmla="*/ 28 h 63"/>
                <a:gd name="T68" fmla="*/ 16 w 48"/>
                <a:gd name="T69" fmla="*/ 55 h 63"/>
                <a:gd name="T70" fmla="*/ 28 w 48"/>
                <a:gd name="T71" fmla="*/ 55 h 63"/>
                <a:gd name="T72" fmla="*/ 20 w 48"/>
                <a:gd name="T73" fmla="*/ 55 h 63"/>
                <a:gd name="T74" fmla="*/ 20 w 48"/>
                <a:gd name="T75" fmla="*/ 28 h 63"/>
                <a:gd name="T76" fmla="*/ 28 w 48"/>
                <a:gd name="T77" fmla="*/ 28 h 63"/>
                <a:gd name="T78" fmla="*/ 28 w 48"/>
                <a:gd name="T79" fmla="*/ 55 h 63"/>
                <a:gd name="T80" fmla="*/ 38 w 48"/>
                <a:gd name="T81" fmla="*/ 55 h 63"/>
                <a:gd name="T82" fmla="*/ 32 w 48"/>
                <a:gd name="T83" fmla="*/ 55 h 63"/>
                <a:gd name="T84" fmla="*/ 32 w 48"/>
                <a:gd name="T85" fmla="*/ 28 h 63"/>
                <a:gd name="T86" fmla="*/ 40 w 48"/>
                <a:gd name="T87" fmla="*/ 28 h 63"/>
                <a:gd name="T88" fmla="*/ 38 w 48"/>
                <a:gd name="T89" fmla="*/ 55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8" h="63">
                  <a:moveTo>
                    <a:pt x="42" y="8"/>
                  </a:moveTo>
                  <a:cubicBezTo>
                    <a:pt x="6" y="8"/>
                    <a:pt x="6" y="8"/>
                    <a:pt x="6" y="8"/>
                  </a:cubicBezTo>
                  <a:cubicBezTo>
                    <a:pt x="3" y="8"/>
                    <a:pt x="0" y="11"/>
                    <a:pt x="0" y="14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48" y="16"/>
                    <a:pt x="48" y="16"/>
                    <a:pt x="48" y="16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8" y="11"/>
                    <a:pt x="45" y="8"/>
                    <a:pt x="42" y="8"/>
                  </a:cubicBezTo>
                  <a:close/>
                  <a:moveTo>
                    <a:pt x="31" y="4"/>
                  </a:moveTo>
                  <a:cubicBezTo>
                    <a:pt x="32" y="10"/>
                    <a:pt x="32" y="10"/>
                    <a:pt x="32" y="10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7" y="4"/>
                    <a:pt x="17" y="4"/>
                    <a:pt x="17" y="4"/>
                  </a:cubicBezTo>
                  <a:cubicBezTo>
                    <a:pt x="31" y="4"/>
                    <a:pt x="31" y="4"/>
                    <a:pt x="31" y="4"/>
                  </a:cubicBezTo>
                  <a:moveTo>
                    <a:pt x="32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15" y="0"/>
                    <a:pt x="13" y="1"/>
                    <a:pt x="13" y="3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1" y="13"/>
                    <a:pt x="13" y="14"/>
                    <a:pt x="14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6" y="14"/>
                    <a:pt x="37" y="13"/>
                    <a:pt x="36" y="11"/>
                  </a:cubicBezTo>
                  <a:cubicBezTo>
                    <a:pt x="35" y="3"/>
                    <a:pt x="35" y="3"/>
                    <a:pt x="35" y="3"/>
                  </a:cubicBezTo>
                  <a:cubicBezTo>
                    <a:pt x="35" y="1"/>
                    <a:pt x="34" y="0"/>
                    <a:pt x="32" y="0"/>
                  </a:cubicBezTo>
                  <a:close/>
                  <a:moveTo>
                    <a:pt x="43" y="20"/>
                  </a:moveTo>
                  <a:cubicBezTo>
                    <a:pt x="5" y="20"/>
                    <a:pt x="5" y="20"/>
                    <a:pt x="5" y="20"/>
                  </a:cubicBezTo>
                  <a:cubicBezTo>
                    <a:pt x="3" y="20"/>
                    <a:pt x="2" y="22"/>
                    <a:pt x="2" y="24"/>
                  </a:cubicBezTo>
                  <a:cubicBezTo>
                    <a:pt x="5" y="59"/>
                    <a:pt x="5" y="59"/>
                    <a:pt x="5" y="59"/>
                  </a:cubicBezTo>
                  <a:cubicBezTo>
                    <a:pt x="5" y="61"/>
                    <a:pt x="7" y="63"/>
                    <a:pt x="9" y="63"/>
                  </a:cubicBezTo>
                  <a:cubicBezTo>
                    <a:pt x="39" y="63"/>
                    <a:pt x="39" y="63"/>
                    <a:pt x="39" y="63"/>
                  </a:cubicBezTo>
                  <a:cubicBezTo>
                    <a:pt x="41" y="63"/>
                    <a:pt x="43" y="61"/>
                    <a:pt x="43" y="59"/>
                  </a:cubicBezTo>
                  <a:cubicBezTo>
                    <a:pt x="46" y="24"/>
                    <a:pt x="46" y="24"/>
                    <a:pt x="46" y="24"/>
                  </a:cubicBezTo>
                  <a:cubicBezTo>
                    <a:pt x="47" y="22"/>
                    <a:pt x="45" y="20"/>
                    <a:pt x="43" y="20"/>
                  </a:cubicBezTo>
                  <a:close/>
                  <a:moveTo>
                    <a:pt x="16" y="55"/>
                  </a:moveTo>
                  <a:cubicBezTo>
                    <a:pt x="10" y="55"/>
                    <a:pt x="10" y="55"/>
                    <a:pt x="10" y="55"/>
                  </a:cubicBezTo>
                  <a:cubicBezTo>
                    <a:pt x="8" y="28"/>
                    <a:pt x="8" y="28"/>
                    <a:pt x="8" y="28"/>
                  </a:cubicBezTo>
                  <a:cubicBezTo>
                    <a:pt x="16" y="28"/>
                    <a:pt x="16" y="28"/>
                    <a:pt x="16" y="28"/>
                  </a:cubicBezTo>
                  <a:lnTo>
                    <a:pt x="16" y="55"/>
                  </a:lnTo>
                  <a:close/>
                  <a:moveTo>
                    <a:pt x="28" y="55"/>
                  </a:moveTo>
                  <a:cubicBezTo>
                    <a:pt x="20" y="55"/>
                    <a:pt x="20" y="55"/>
                    <a:pt x="20" y="55"/>
                  </a:cubicBezTo>
                  <a:cubicBezTo>
                    <a:pt x="20" y="28"/>
                    <a:pt x="20" y="28"/>
                    <a:pt x="20" y="28"/>
                  </a:cubicBezTo>
                  <a:cubicBezTo>
                    <a:pt x="28" y="28"/>
                    <a:pt x="28" y="28"/>
                    <a:pt x="28" y="28"/>
                  </a:cubicBezTo>
                  <a:lnTo>
                    <a:pt x="28" y="55"/>
                  </a:lnTo>
                  <a:close/>
                  <a:moveTo>
                    <a:pt x="38" y="55"/>
                  </a:moveTo>
                  <a:cubicBezTo>
                    <a:pt x="32" y="55"/>
                    <a:pt x="32" y="55"/>
                    <a:pt x="32" y="55"/>
                  </a:cubicBezTo>
                  <a:cubicBezTo>
                    <a:pt x="32" y="28"/>
                    <a:pt x="32" y="28"/>
                    <a:pt x="32" y="28"/>
                  </a:cubicBezTo>
                  <a:cubicBezTo>
                    <a:pt x="40" y="28"/>
                    <a:pt x="40" y="28"/>
                    <a:pt x="40" y="28"/>
                  </a:cubicBezTo>
                  <a:lnTo>
                    <a:pt x="38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7" name="任意多边形: 形状 106">
              <a:extLst>
                <a:ext uri="{FF2B5EF4-FFF2-40B4-BE49-F238E27FC236}">
                  <a16:creationId xmlns:a16="http://schemas.microsoft.com/office/drawing/2014/main" id="{7E576DFA-5B02-402F-93E5-E0D4C2C158AB}"/>
                </a:ext>
              </a:extLst>
            </p:cNvPr>
            <p:cNvSpPr/>
            <p:nvPr/>
          </p:nvSpPr>
          <p:spPr bwMode="auto">
            <a:xfrm>
              <a:off x="9634317" y="3002175"/>
              <a:ext cx="416912" cy="418868"/>
            </a:xfrm>
            <a:custGeom>
              <a:avLst/>
              <a:gdLst>
                <a:gd name="T0" fmla="*/ 65 w 130"/>
                <a:gd name="T1" fmla="*/ 0 h 131"/>
                <a:gd name="T2" fmla="*/ 0 w 130"/>
                <a:gd name="T3" fmla="*/ 65 h 131"/>
                <a:gd name="T4" fmla="*/ 65 w 130"/>
                <a:gd name="T5" fmla="*/ 131 h 131"/>
                <a:gd name="T6" fmla="*/ 130 w 130"/>
                <a:gd name="T7" fmla="*/ 65 h 131"/>
                <a:gd name="T8" fmla="*/ 65 w 130"/>
                <a:gd name="T9" fmla="*/ 0 h 131"/>
                <a:gd name="T10" fmla="*/ 65 w 130"/>
                <a:gd name="T11" fmla="*/ 114 h 131"/>
                <a:gd name="T12" fmla="*/ 16 w 130"/>
                <a:gd name="T13" fmla="*/ 65 h 131"/>
                <a:gd name="T14" fmla="*/ 65 w 130"/>
                <a:gd name="T15" fmla="*/ 17 h 131"/>
                <a:gd name="T16" fmla="*/ 114 w 130"/>
                <a:gd name="T17" fmla="*/ 65 h 131"/>
                <a:gd name="T18" fmla="*/ 65 w 130"/>
                <a:gd name="T19" fmla="*/ 114 h 131"/>
                <a:gd name="T20" fmla="*/ 40 w 130"/>
                <a:gd name="T21" fmla="*/ 65 h 131"/>
                <a:gd name="T22" fmla="*/ 65 w 130"/>
                <a:gd name="T23" fmla="*/ 90 h 131"/>
                <a:gd name="T24" fmla="*/ 89 w 130"/>
                <a:gd name="T25" fmla="*/ 65 h 131"/>
                <a:gd name="T26" fmla="*/ 65 w 130"/>
                <a:gd name="T27" fmla="*/ 41 h 131"/>
                <a:gd name="T28" fmla="*/ 40 w 130"/>
                <a:gd name="T29" fmla="*/ 65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0" h="131">
                  <a:moveTo>
                    <a:pt x="65" y="0"/>
                  </a:moveTo>
                  <a:cubicBezTo>
                    <a:pt x="29" y="0"/>
                    <a:pt x="0" y="29"/>
                    <a:pt x="0" y="65"/>
                  </a:cubicBezTo>
                  <a:cubicBezTo>
                    <a:pt x="0" y="101"/>
                    <a:pt x="29" y="131"/>
                    <a:pt x="65" y="131"/>
                  </a:cubicBezTo>
                  <a:cubicBezTo>
                    <a:pt x="101" y="131"/>
                    <a:pt x="130" y="101"/>
                    <a:pt x="130" y="65"/>
                  </a:cubicBezTo>
                  <a:cubicBezTo>
                    <a:pt x="130" y="29"/>
                    <a:pt x="101" y="0"/>
                    <a:pt x="65" y="0"/>
                  </a:cubicBezTo>
                  <a:close/>
                  <a:moveTo>
                    <a:pt x="65" y="114"/>
                  </a:moveTo>
                  <a:cubicBezTo>
                    <a:pt x="38" y="114"/>
                    <a:pt x="16" y="92"/>
                    <a:pt x="16" y="65"/>
                  </a:cubicBezTo>
                  <a:cubicBezTo>
                    <a:pt x="16" y="38"/>
                    <a:pt x="38" y="17"/>
                    <a:pt x="65" y="17"/>
                  </a:cubicBezTo>
                  <a:cubicBezTo>
                    <a:pt x="92" y="17"/>
                    <a:pt x="114" y="38"/>
                    <a:pt x="114" y="65"/>
                  </a:cubicBezTo>
                  <a:cubicBezTo>
                    <a:pt x="114" y="92"/>
                    <a:pt x="92" y="114"/>
                    <a:pt x="65" y="114"/>
                  </a:cubicBezTo>
                  <a:close/>
                  <a:moveTo>
                    <a:pt x="40" y="65"/>
                  </a:moveTo>
                  <a:cubicBezTo>
                    <a:pt x="40" y="79"/>
                    <a:pt x="51" y="90"/>
                    <a:pt x="65" y="90"/>
                  </a:cubicBezTo>
                  <a:cubicBezTo>
                    <a:pt x="78" y="90"/>
                    <a:pt x="89" y="79"/>
                    <a:pt x="89" y="65"/>
                  </a:cubicBezTo>
                  <a:cubicBezTo>
                    <a:pt x="89" y="52"/>
                    <a:pt x="78" y="41"/>
                    <a:pt x="65" y="41"/>
                  </a:cubicBezTo>
                  <a:cubicBezTo>
                    <a:pt x="51" y="41"/>
                    <a:pt x="40" y="52"/>
                    <a:pt x="40" y="6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8" name="任意多边形: 形状 107">
              <a:extLst>
                <a:ext uri="{FF2B5EF4-FFF2-40B4-BE49-F238E27FC236}">
                  <a16:creationId xmlns:a16="http://schemas.microsoft.com/office/drawing/2014/main" id="{CE0D4FF8-8621-4E7F-8E59-C6230FEC90D5}"/>
                </a:ext>
              </a:extLst>
            </p:cNvPr>
            <p:cNvSpPr/>
            <p:nvPr/>
          </p:nvSpPr>
          <p:spPr bwMode="auto">
            <a:xfrm>
              <a:off x="9330930" y="1252320"/>
              <a:ext cx="690938" cy="299471"/>
            </a:xfrm>
            <a:custGeom>
              <a:avLst/>
              <a:gdLst>
                <a:gd name="T0" fmla="*/ 188 w 216"/>
                <a:gd name="T1" fmla="*/ 41 h 94"/>
                <a:gd name="T2" fmla="*/ 178 w 216"/>
                <a:gd name="T3" fmla="*/ 43 h 94"/>
                <a:gd name="T4" fmla="*/ 129 w 216"/>
                <a:gd name="T5" fmla="*/ 0 h 94"/>
                <a:gd name="T6" fmla="*/ 111 w 216"/>
                <a:gd name="T7" fmla="*/ 3 h 94"/>
                <a:gd name="T8" fmla="*/ 108 w 216"/>
                <a:gd name="T9" fmla="*/ 6 h 94"/>
                <a:gd name="T10" fmla="*/ 108 w 216"/>
                <a:gd name="T11" fmla="*/ 91 h 94"/>
                <a:gd name="T12" fmla="*/ 111 w 216"/>
                <a:gd name="T13" fmla="*/ 94 h 94"/>
                <a:gd name="T14" fmla="*/ 188 w 216"/>
                <a:gd name="T15" fmla="*/ 94 h 94"/>
                <a:gd name="T16" fmla="*/ 216 w 216"/>
                <a:gd name="T17" fmla="*/ 68 h 94"/>
                <a:gd name="T18" fmla="*/ 188 w 216"/>
                <a:gd name="T19" fmla="*/ 41 h 94"/>
                <a:gd name="T20" fmla="*/ 85 w 216"/>
                <a:gd name="T21" fmla="*/ 94 h 94"/>
                <a:gd name="T22" fmla="*/ 91 w 216"/>
                <a:gd name="T23" fmla="*/ 94 h 94"/>
                <a:gd name="T24" fmla="*/ 95 w 216"/>
                <a:gd name="T25" fmla="*/ 47 h 94"/>
                <a:gd name="T26" fmla="*/ 91 w 216"/>
                <a:gd name="T27" fmla="*/ 0 h 94"/>
                <a:gd name="T28" fmla="*/ 85 w 216"/>
                <a:gd name="T29" fmla="*/ 0 h 94"/>
                <a:gd name="T30" fmla="*/ 81 w 216"/>
                <a:gd name="T31" fmla="*/ 47 h 94"/>
                <a:gd name="T32" fmla="*/ 85 w 216"/>
                <a:gd name="T33" fmla="*/ 94 h 94"/>
                <a:gd name="T34" fmla="*/ 64 w 216"/>
                <a:gd name="T35" fmla="*/ 94 h 94"/>
                <a:gd name="T36" fmla="*/ 58 w 216"/>
                <a:gd name="T37" fmla="*/ 94 h 94"/>
                <a:gd name="T38" fmla="*/ 54 w 216"/>
                <a:gd name="T39" fmla="*/ 60 h 94"/>
                <a:gd name="T40" fmla="*/ 58 w 216"/>
                <a:gd name="T41" fmla="*/ 27 h 94"/>
                <a:gd name="T42" fmla="*/ 64 w 216"/>
                <a:gd name="T43" fmla="*/ 27 h 94"/>
                <a:gd name="T44" fmla="*/ 68 w 216"/>
                <a:gd name="T45" fmla="*/ 61 h 94"/>
                <a:gd name="T46" fmla="*/ 64 w 216"/>
                <a:gd name="T47" fmla="*/ 94 h 94"/>
                <a:gd name="T48" fmla="*/ 31 w 216"/>
                <a:gd name="T49" fmla="*/ 94 h 94"/>
                <a:gd name="T50" fmla="*/ 37 w 216"/>
                <a:gd name="T51" fmla="*/ 94 h 94"/>
                <a:gd name="T52" fmla="*/ 41 w 216"/>
                <a:gd name="T53" fmla="*/ 67 h 94"/>
                <a:gd name="T54" fmla="*/ 37 w 216"/>
                <a:gd name="T55" fmla="*/ 40 h 94"/>
                <a:gd name="T56" fmla="*/ 31 w 216"/>
                <a:gd name="T57" fmla="*/ 40 h 94"/>
                <a:gd name="T58" fmla="*/ 27 w 216"/>
                <a:gd name="T59" fmla="*/ 67 h 94"/>
                <a:gd name="T60" fmla="*/ 31 w 216"/>
                <a:gd name="T61" fmla="*/ 94 h 94"/>
                <a:gd name="T62" fmla="*/ 4 w 216"/>
                <a:gd name="T63" fmla="*/ 81 h 94"/>
                <a:gd name="T64" fmla="*/ 10 w 216"/>
                <a:gd name="T65" fmla="*/ 81 h 94"/>
                <a:gd name="T66" fmla="*/ 14 w 216"/>
                <a:gd name="T67" fmla="*/ 67 h 94"/>
                <a:gd name="T68" fmla="*/ 10 w 216"/>
                <a:gd name="T69" fmla="*/ 54 h 94"/>
                <a:gd name="T70" fmla="*/ 4 w 216"/>
                <a:gd name="T71" fmla="*/ 54 h 94"/>
                <a:gd name="T72" fmla="*/ 0 w 216"/>
                <a:gd name="T73" fmla="*/ 67 h 94"/>
                <a:gd name="T74" fmla="*/ 4 w 216"/>
                <a:gd name="T75" fmla="*/ 81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6" h="94">
                  <a:moveTo>
                    <a:pt x="188" y="41"/>
                  </a:moveTo>
                  <a:cubicBezTo>
                    <a:pt x="184" y="41"/>
                    <a:pt x="181" y="42"/>
                    <a:pt x="178" y="43"/>
                  </a:cubicBezTo>
                  <a:cubicBezTo>
                    <a:pt x="175" y="19"/>
                    <a:pt x="154" y="0"/>
                    <a:pt x="129" y="0"/>
                  </a:cubicBezTo>
                  <a:cubicBezTo>
                    <a:pt x="122" y="0"/>
                    <a:pt x="116" y="1"/>
                    <a:pt x="111" y="3"/>
                  </a:cubicBezTo>
                  <a:cubicBezTo>
                    <a:pt x="109" y="4"/>
                    <a:pt x="108" y="5"/>
                    <a:pt x="108" y="6"/>
                  </a:cubicBezTo>
                  <a:cubicBezTo>
                    <a:pt x="108" y="91"/>
                    <a:pt x="108" y="91"/>
                    <a:pt x="108" y="91"/>
                  </a:cubicBezTo>
                  <a:cubicBezTo>
                    <a:pt x="108" y="93"/>
                    <a:pt x="110" y="94"/>
                    <a:pt x="111" y="94"/>
                  </a:cubicBezTo>
                  <a:cubicBezTo>
                    <a:pt x="111" y="94"/>
                    <a:pt x="188" y="94"/>
                    <a:pt x="188" y="94"/>
                  </a:cubicBezTo>
                  <a:cubicBezTo>
                    <a:pt x="204" y="94"/>
                    <a:pt x="216" y="82"/>
                    <a:pt x="216" y="68"/>
                  </a:cubicBezTo>
                  <a:cubicBezTo>
                    <a:pt x="216" y="53"/>
                    <a:pt x="204" y="41"/>
                    <a:pt x="188" y="41"/>
                  </a:cubicBezTo>
                  <a:close/>
                  <a:moveTo>
                    <a:pt x="85" y="94"/>
                  </a:moveTo>
                  <a:cubicBezTo>
                    <a:pt x="91" y="94"/>
                    <a:pt x="91" y="94"/>
                    <a:pt x="91" y="94"/>
                  </a:cubicBezTo>
                  <a:cubicBezTo>
                    <a:pt x="95" y="47"/>
                    <a:pt x="95" y="47"/>
                    <a:pt x="95" y="47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1" y="47"/>
                    <a:pt x="81" y="47"/>
                    <a:pt x="81" y="47"/>
                  </a:cubicBezTo>
                  <a:lnTo>
                    <a:pt x="85" y="94"/>
                  </a:lnTo>
                  <a:close/>
                  <a:moveTo>
                    <a:pt x="64" y="94"/>
                  </a:moveTo>
                  <a:cubicBezTo>
                    <a:pt x="58" y="94"/>
                    <a:pt x="58" y="94"/>
                    <a:pt x="58" y="94"/>
                  </a:cubicBezTo>
                  <a:cubicBezTo>
                    <a:pt x="54" y="60"/>
                    <a:pt x="54" y="60"/>
                    <a:pt x="54" y="60"/>
                  </a:cubicBezTo>
                  <a:cubicBezTo>
                    <a:pt x="58" y="27"/>
                    <a:pt x="58" y="27"/>
                    <a:pt x="58" y="27"/>
                  </a:cubicBezTo>
                  <a:cubicBezTo>
                    <a:pt x="64" y="27"/>
                    <a:pt x="64" y="27"/>
                    <a:pt x="64" y="27"/>
                  </a:cubicBezTo>
                  <a:cubicBezTo>
                    <a:pt x="68" y="61"/>
                    <a:pt x="68" y="61"/>
                    <a:pt x="68" y="61"/>
                  </a:cubicBezTo>
                  <a:lnTo>
                    <a:pt x="64" y="94"/>
                  </a:lnTo>
                  <a:close/>
                  <a:moveTo>
                    <a:pt x="31" y="94"/>
                  </a:moveTo>
                  <a:cubicBezTo>
                    <a:pt x="37" y="94"/>
                    <a:pt x="37" y="94"/>
                    <a:pt x="37" y="94"/>
                  </a:cubicBezTo>
                  <a:cubicBezTo>
                    <a:pt x="41" y="67"/>
                    <a:pt x="41" y="67"/>
                    <a:pt x="41" y="67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1" y="40"/>
                    <a:pt x="31" y="40"/>
                    <a:pt x="31" y="40"/>
                  </a:cubicBezTo>
                  <a:cubicBezTo>
                    <a:pt x="27" y="67"/>
                    <a:pt x="27" y="67"/>
                    <a:pt x="27" y="67"/>
                  </a:cubicBezTo>
                  <a:lnTo>
                    <a:pt x="31" y="94"/>
                  </a:lnTo>
                  <a:close/>
                  <a:moveTo>
                    <a:pt x="4" y="81"/>
                  </a:moveTo>
                  <a:cubicBezTo>
                    <a:pt x="10" y="81"/>
                    <a:pt x="10" y="81"/>
                    <a:pt x="10" y="81"/>
                  </a:cubicBezTo>
                  <a:cubicBezTo>
                    <a:pt x="14" y="67"/>
                    <a:pt x="14" y="67"/>
                    <a:pt x="14" y="67"/>
                  </a:cubicBezTo>
                  <a:cubicBezTo>
                    <a:pt x="10" y="54"/>
                    <a:pt x="10" y="54"/>
                    <a:pt x="10" y="54"/>
                  </a:cubicBezTo>
                  <a:cubicBezTo>
                    <a:pt x="4" y="54"/>
                    <a:pt x="4" y="54"/>
                    <a:pt x="4" y="54"/>
                  </a:cubicBezTo>
                  <a:cubicBezTo>
                    <a:pt x="0" y="67"/>
                    <a:pt x="0" y="67"/>
                    <a:pt x="0" y="67"/>
                  </a:cubicBezTo>
                  <a:lnTo>
                    <a:pt x="4" y="8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9" name="任意多边形: 形状 108">
              <a:extLst>
                <a:ext uri="{FF2B5EF4-FFF2-40B4-BE49-F238E27FC236}">
                  <a16:creationId xmlns:a16="http://schemas.microsoft.com/office/drawing/2014/main" id="{9FFCEA0B-57A2-4ABF-AAC2-1C237251140F}"/>
                </a:ext>
              </a:extLst>
            </p:cNvPr>
            <p:cNvSpPr/>
            <p:nvPr/>
          </p:nvSpPr>
          <p:spPr bwMode="auto">
            <a:xfrm>
              <a:off x="9462071" y="1610511"/>
              <a:ext cx="383635" cy="342533"/>
            </a:xfrm>
            <a:custGeom>
              <a:avLst/>
              <a:gdLst>
                <a:gd name="T0" fmla="*/ 50 w 120"/>
                <a:gd name="T1" fmla="*/ 0 h 107"/>
                <a:gd name="T2" fmla="*/ 50 w 120"/>
                <a:gd name="T3" fmla="*/ 0 h 107"/>
                <a:gd name="T4" fmla="*/ 100 w 120"/>
                <a:gd name="T5" fmla="*/ 41 h 107"/>
                <a:gd name="T6" fmla="*/ 50 w 120"/>
                <a:gd name="T7" fmla="*/ 81 h 107"/>
                <a:gd name="T8" fmla="*/ 42 w 120"/>
                <a:gd name="T9" fmla="*/ 81 h 107"/>
                <a:gd name="T10" fmla="*/ 7 w 120"/>
                <a:gd name="T11" fmla="*/ 93 h 107"/>
                <a:gd name="T12" fmla="*/ 7 w 120"/>
                <a:gd name="T13" fmla="*/ 91 h 107"/>
                <a:gd name="T14" fmla="*/ 19 w 120"/>
                <a:gd name="T15" fmla="*/ 75 h 107"/>
                <a:gd name="T16" fmla="*/ 19 w 120"/>
                <a:gd name="T17" fmla="*/ 72 h 107"/>
                <a:gd name="T18" fmla="*/ 0 w 120"/>
                <a:gd name="T19" fmla="*/ 41 h 107"/>
                <a:gd name="T20" fmla="*/ 50 w 120"/>
                <a:gd name="T21" fmla="*/ 0 h 107"/>
                <a:gd name="T22" fmla="*/ 104 w 120"/>
                <a:gd name="T23" fmla="*/ 91 h 107"/>
                <a:gd name="T24" fmla="*/ 113 w 120"/>
                <a:gd name="T25" fmla="*/ 104 h 107"/>
                <a:gd name="T26" fmla="*/ 113 w 120"/>
                <a:gd name="T27" fmla="*/ 107 h 107"/>
                <a:gd name="T28" fmla="*/ 83 w 120"/>
                <a:gd name="T29" fmla="*/ 96 h 107"/>
                <a:gd name="T30" fmla="*/ 77 w 120"/>
                <a:gd name="T31" fmla="*/ 96 h 107"/>
                <a:gd name="T32" fmla="*/ 50 w 120"/>
                <a:gd name="T33" fmla="*/ 89 h 107"/>
                <a:gd name="T34" fmla="*/ 90 w 120"/>
                <a:gd name="T35" fmla="*/ 75 h 107"/>
                <a:gd name="T36" fmla="*/ 103 w 120"/>
                <a:gd name="T37" fmla="*/ 60 h 107"/>
                <a:gd name="T38" fmla="*/ 108 w 120"/>
                <a:gd name="T39" fmla="*/ 41 h 107"/>
                <a:gd name="T40" fmla="*/ 108 w 120"/>
                <a:gd name="T41" fmla="*/ 37 h 107"/>
                <a:gd name="T42" fmla="*/ 120 w 120"/>
                <a:gd name="T43" fmla="*/ 62 h 107"/>
                <a:gd name="T44" fmla="*/ 104 w 120"/>
                <a:gd name="T45" fmla="*/ 88 h 107"/>
                <a:gd name="T46" fmla="*/ 104 w 120"/>
                <a:gd name="T47" fmla="*/ 91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0" h="107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78" y="0"/>
                    <a:pt x="100" y="18"/>
                    <a:pt x="100" y="41"/>
                  </a:cubicBezTo>
                  <a:cubicBezTo>
                    <a:pt x="100" y="63"/>
                    <a:pt x="78" y="81"/>
                    <a:pt x="50" y="81"/>
                  </a:cubicBezTo>
                  <a:cubicBezTo>
                    <a:pt x="47" y="81"/>
                    <a:pt x="45" y="81"/>
                    <a:pt x="42" y="81"/>
                  </a:cubicBezTo>
                  <a:cubicBezTo>
                    <a:pt x="32" y="91"/>
                    <a:pt x="19" y="93"/>
                    <a:pt x="7" y="93"/>
                  </a:cubicBezTo>
                  <a:cubicBezTo>
                    <a:pt x="7" y="91"/>
                    <a:pt x="7" y="91"/>
                    <a:pt x="7" y="91"/>
                  </a:cubicBezTo>
                  <a:cubicBezTo>
                    <a:pt x="14" y="87"/>
                    <a:pt x="19" y="82"/>
                    <a:pt x="19" y="75"/>
                  </a:cubicBezTo>
                  <a:cubicBezTo>
                    <a:pt x="19" y="74"/>
                    <a:pt x="19" y="73"/>
                    <a:pt x="19" y="72"/>
                  </a:cubicBezTo>
                  <a:cubicBezTo>
                    <a:pt x="8" y="65"/>
                    <a:pt x="0" y="53"/>
                    <a:pt x="0" y="41"/>
                  </a:cubicBezTo>
                  <a:cubicBezTo>
                    <a:pt x="0" y="18"/>
                    <a:pt x="23" y="0"/>
                    <a:pt x="50" y="0"/>
                  </a:cubicBezTo>
                  <a:close/>
                  <a:moveTo>
                    <a:pt x="104" y="91"/>
                  </a:moveTo>
                  <a:cubicBezTo>
                    <a:pt x="104" y="97"/>
                    <a:pt x="107" y="102"/>
                    <a:pt x="113" y="104"/>
                  </a:cubicBezTo>
                  <a:cubicBezTo>
                    <a:pt x="113" y="107"/>
                    <a:pt x="113" y="107"/>
                    <a:pt x="113" y="107"/>
                  </a:cubicBezTo>
                  <a:cubicBezTo>
                    <a:pt x="102" y="106"/>
                    <a:pt x="93" y="105"/>
                    <a:pt x="83" y="96"/>
                  </a:cubicBezTo>
                  <a:cubicBezTo>
                    <a:pt x="81" y="96"/>
                    <a:pt x="79" y="96"/>
                    <a:pt x="77" y="96"/>
                  </a:cubicBezTo>
                  <a:cubicBezTo>
                    <a:pt x="67" y="96"/>
                    <a:pt x="58" y="93"/>
                    <a:pt x="50" y="89"/>
                  </a:cubicBezTo>
                  <a:cubicBezTo>
                    <a:pt x="65" y="89"/>
                    <a:pt x="79" y="84"/>
                    <a:pt x="90" y="75"/>
                  </a:cubicBezTo>
                  <a:cubicBezTo>
                    <a:pt x="96" y="71"/>
                    <a:pt x="100" y="66"/>
                    <a:pt x="103" y="60"/>
                  </a:cubicBezTo>
                  <a:cubicBezTo>
                    <a:pt x="106" y="54"/>
                    <a:pt x="108" y="47"/>
                    <a:pt x="108" y="41"/>
                  </a:cubicBezTo>
                  <a:cubicBezTo>
                    <a:pt x="108" y="40"/>
                    <a:pt x="108" y="39"/>
                    <a:pt x="108" y="37"/>
                  </a:cubicBezTo>
                  <a:cubicBezTo>
                    <a:pt x="115" y="44"/>
                    <a:pt x="120" y="52"/>
                    <a:pt x="120" y="62"/>
                  </a:cubicBezTo>
                  <a:cubicBezTo>
                    <a:pt x="120" y="72"/>
                    <a:pt x="114" y="82"/>
                    <a:pt x="104" y="88"/>
                  </a:cubicBezTo>
                  <a:cubicBezTo>
                    <a:pt x="104" y="89"/>
                    <a:pt x="104" y="90"/>
                    <a:pt x="104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CABDBE36-5B74-4C14-8D70-18DB39AA35CF}"/>
                </a:ext>
              </a:extLst>
            </p:cNvPr>
            <p:cNvSpPr/>
            <p:nvPr/>
          </p:nvSpPr>
          <p:spPr bwMode="auto">
            <a:xfrm>
              <a:off x="9501219" y="1990233"/>
              <a:ext cx="338618" cy="336662"/>
            </a:xfrm>
            <a:custGeom>
              <a:avLst/>
              <a:gdLst>
                <a:gd name="T0" fmla="*/ 20 w 106"/>
                <a:gd name="T1" fmla="*/ 53 h 105"/>
                <a:gd name="T2" fmla="*/ 20 w 106"/>
                <a:gd name="T3" fmla="*/ 49 h 105"/>
                <a:gd name="T4" fmla="*/ 1 w 106"/>
                <a:gd name="T5" fmla="*/ 43 h 105"/>
                <a:gd name="T6" fmla="*/ 0 w 106"/>
                <a:gd name="T7" fmla="*/ 53 h 105"/>
                <a:gd name="T8" fmla="*/ 17 w 106"/>
                <a:gd name="T9" fmla="*/ 91 h 105"/>
                <a:gd name="T10" fmla="*/ 29 w 106"/>
                <a:gd name="T11" fmla="*/ 75 h 105"/>
                <a:gd name="T12" fmla="*/ 20 w 106"/>
                <a:gd name="T13" fmla="*/ 53 h 105"/>
                <a:gd name="T14" fmla="*/ 86 w 106"/>
                <a:gd name="T15" fmla="*/ 53 h 105"/>
                <a:gd name="T16" fmla="*/ 77 w 106"/>
                <a:gd name="T17" fmla="*/ 75 h 105"/>
                <a:gd name="T18" fmla="*/ 89 w 106"/>
                <a:gd name="T19" fmla="*/ 91 h 105"/>
                <a:gd name="T20" fmla="*/ 106 w 106"/>
                <a:gd name="T21" fmla="*/ 53 h 105"/>
                <a:gd name="T22" fmla="*/ 105 w 106"/>
                <a:gd name="T23" fmla="*/ 43 h 105"/>
                <a:gd name="T24" fmla="*/ 86 w 106"/>
                <a:gd name="T25" fmla="*/ 49 h 105"/>
                <a:gd name="T26" fmla="*/ 86 w 106"/>
                <a:gd name="T27" fmla="*/ 53 h 105"/>
                <a:gd name="T28" fmla="*/ 59 w 106"/>
                <a:gd name="T29" fmla="*/ 20 h 105"/>
                <a:gd name="T30" fmla="*/ 82 w 106"/>
                <a:gd name="T31" fmla="*/ 36 h 105"/>
                <a:gd name="T32" fmla="*/ 101 w 106"/>
                <a:gd name="T33" fmla="*/ 30 h 105"/>
                <a:gd name="T34" fmla="*/ 59 w 106"/>
                <a:gd name="T35" fmla="*/ 0 h 105"/>
                <a:gd name="T36" fmla="*/ 59 w 106"/>
                <a:gd name="T37" fmla="*/ 20 h 105"/>
                <a:gd name="T38" fmla="*/ 24 w 106"/>
                <a:gd name="T39" fmla="*/ 36 h 105"/>
                <a:gd name="T40" fmla="*/ 46 w 106"/>
                <a:gd name="T41" fmla="*/ 20 h 105"/>
                <a:gd name="T42" fmla="*/ 46 w 106"/>
                <a:gd name="T43" fmla="*/ 0 h 105"/>
                <a:gd name="T44" fmla="*/ 5 w 106"/>
                <a:gd name="T45" fmla="*/ 30 h 105"/>
                <a:gd name="T46" fmla="*/ 24 w 106"/>
                <a:gd name="T47" fmla="*/ 36 h 105"/>
                <a:gd name="T48" fmla="*/ 67 w 106"/>
                <a:gd name="T49" fmla="*/ 83 h 105"/>
                <a:gd name="T50" fmla="*/ 53 w 106"/>
                <a:gd name="T51" fmla="*/ 85 h 105"/>
                <a:gd name="T52" fmla="*/ 39 w 106"/>
                <a:gd name="T53" fmla="*/ 83 h 105"/>
                <a:gd name="T54" fmla="*/ 28 w 106"/>
                <a:gd name="T55" fmla="*/ 99 h 105"/>
                <a:gd name="T56" fmla="*/ 53 w 106"/>
                <a:gd name="T57" fmla="*/ 105 h 105"/>
                <a:gd name="T58" fmla="*/ 78 w 106"/>
                <a:gd name="T59" fmla="*/ 99 h 105"/>
                <a:gd name="T60" fmla="*/ 67 w 106"/>
                <a:gd name="T61" fmla="*/ 83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105">
                  <a:moveTo>
                    <a:pt x="20" y="53"/>
                  </a:moveTo>
                  <a:cubicBezTo>
                    <a:pt x="20" y="51"/>
                    <a:pt x="20" y="50"/>
                    <a:pt x="20" y="49"/>
                  </a:cubicBezTo>
                  <a:cubicBezTo>
                    <a:pt x="1" y="43"/>
                    <a:pt x="1" y="43"/>
                    <a:pt x="1" y="43"/>
                  </a:cubicBezTo>
                  <a:cubicBezTo>
                    <a:pt x="1" y="46"/>
                    <a:pt x="0" y="49"/>
                    <a:pt x="0" y="53"/>
                  </a:cubicBezTo>
                  <a:cubicBezTo>
                    <a:pt x="0" y="68"/>
                    <a:pt x="7" y="81"/>
                    <a:pt x="17" y="91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3" y="69"/>
                    <a:pt x="20" y="61"/>
                    <a:pt x="20" y="53"/>
                  </a:cubicBezTo>
                  <a:close/>
                  <a:moveTo>
                    <a:pt x="86" y="53"/>
                  </a:moveTo>
                  <a:cubicBezTo>
                    <a:pt x="86" y="61"/>
                    <a:pt x="83" y="69"/>
                    <a:pt x="77" y="75"/>
                  </a:cubicBezTo>
                  <a:cubicBezTo>
                    <a:pt x="89" y="91"/>
                    <a:pt x="89" y="91"/>
                    <a:pt x="89" y="91"/>
                  </a:cubicBezTo>
                  <a:cubicBezTo>
                    <a:pt x="99" y="81"/>
                    <a:pt x="106" y="68"/>
                    <a:pt x="106" y="53"/>
                  </a:cubicBezTo>
                  <a:cubicBezTo>
                    <a:pt x="106" y="49"/>
                    <a:pt x="105" y="46"/>
                    <a:pt x="105" y="43"/>
                  </a:cubicBezTo>
                  <a:cubicBezTo>
                    <a:pt x="86" y="49"/>
                    <a:pt x="86" y="49"/>
                    <a:pt x="86" y="49"/>
                  </a:cubicBezTo>
                  <a:cubicBezTo>
                    <a:pt x="86" y="50"/>
                    <a:pt x="86" y="51"/>
                    <a:pt x="86" y="53"/>
                  </a:cubicBezTo>
                  <a:close/>
                  <a:moveTo>
                    <a:pt x="59" y="20"/>
                  </a:moveTo>
                  <a:cubicBezTo>
                    <a:pt x="69" y="22"/>
                    <a:pt x="77" y="28"/>
                    <a:pt x="82" y="36"/>
                  </a:cubicBezTo>
                  <a:cubicBezTo>
                    <a:pt x="101" y="30"/>
                    <a:pt x="101" y="30"/>
                    <a:pt x="101" y="30"/>
                  </a:cubicBezTo>
                  <a:cubicBezTo>
                    <a:pt x="93" y="14"/>
                    <a:pt x="78" y="3"/>
                    <a:pt x="59" y="0"/>
                  </a:cubicBezTo>
                  <a:lnTo>
                    <a:pt x="59" y="20"/>
                  </a:lnTo>
                  <a:close/>
                  <a:moveTo>
                    <a:pt x="24" y="36"/>
                  </a:moveTo>
                  <a:cubicBezTo>
                    <a:pt x="29" y="28"/>
                    <a:pt x="37" y="22"/>
                    <a:pt x="46" y="2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28" y="3"/>
                    <a:pt x="13" y="14"/>
                    <a:pt x="5" y="30"/>
                  </a:cubicBezTo>
                  <a:lnTo>
                    <a:pt x="24" y="36"/>
                  </a:lnTo>
                  <a:close/>
                  <a:moveTo>
                    <a:pt x="67" y="83"/>
                  </a:moveTo>
                  <a:cubicBezTo>
                    <a:pt x="62" y="84"/>
                    <a:pt x="58" y="85"/>
                    <a:pt x="53" y="85"/>
                  </a:cubicBezTo>
                  <a:cubicBezTo>
                    <a:pt x="48" y="85"/>
                    <a:pt x="43" y="84"/>
                    <a:pt x="39" y="83"/>
                  </a:cubicBezTo>
                  <a:cubicBezTo>
                    <a:pt x="28" y="99"/>
                    <a:pt x="28" y="99"/>
                    <a:pt x="28" y="99"/>
                  </a:cubicBezTo>
                  <a:cubicBezTo>
                    <a:pt x="35" y="103"/>
                    <a:pt x="44" y="105"/>
                    <a:pt x="53" y="105"/>
                  </a:cubicBezTo>
                  <a:cubicBezTo>
                    <a:pt x="62" y="105"/>
                    <a:pt x="71" y="103"/>
                    <a:pt x="78" y="99"/>
                  </a:cubicBezTo>
                  <a:lnTo>
                    <a:pt x="67" y="8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1" name="任意多边形: 形状 110">
              <a:extLst>
                <a:ext uri="{FF2B5EF4-FFF2-40B4-BE49-F238E27FC236}">
                  <a16:creationId xmlns:a16="http://schemas.microsoft.com/office/drawing/2014/main" id="{6D67EF91-CC8B-4B98-B02D-52FF9DAD5F43}"/>
                </a:ext>
              </a:extLst>
            </p:cNvPr>
            <p:cNvSpPr/>
            <p:nvPr/>
          </p:nvSpPr>
          <p:spPr bwMode="auto">
            <a:xfrm>
              <a:off x="9522749" y="2397359"/>
              <a:ext cx="317087" cy="334704"/>
            </a:xfrm>
            <a:custGeom>
              <a:avLst/>
              <a:gdLst>
                <a:gd name="T0" fmla="*/ 75 w 162"/>
                <a:gd name="T1" fmla="*/ 65 h 171"/>
                <a:gd name="T2" fmla="*/ 54 w 162"/>
                <a:gd name="T3" fmla="*/ 86 h 171"/>
                <a:gd name="T4" fmla="*/ 87 w 162"/>
                <a:gd name="T5" fmla="*/ 65 h 171"/>
                <a:gd name="T6" fmla="*/ 108 w 162"/>
                <a:gd name="T7" fmla="*/ 86 h 171"/>
                <a:gd name="T8" fmla="*/ 87 w 162"/>
                <a:gd name="T9" fmla="*/ 65 h 171"/>
                <a:gd name="T10" fmla="*/ 139 w 162"/>
                <a:gd name="T11" fmla="*/ 65 h 171"/>
                <a:gd name="T12" fmla="*/ 118 w 162"/>
                <a:gd name="T13" fmla="*/ 86 h 171"/>
                <a:gd name="T14" fmla="*/ 21 w 162"/>
                <a:gd name="T15" fmla="*/ 129 h 171"/>
                <a:gd name="T16" fmla="*/ 43 w 162"/>
                <a:gd name="T17" fmla="*/ 150 h 171"/>
                <a:gd name="T18" fmla="*/ 21 w 162"/>
                <a:gd name="T19" fmla="*/ 129 h 171"/>
                <a:gd name="T20" fmla="*/ 75 w 162"/>
                <a:gd name="T21" fmla="*/ 129 h 171"/>
                <a:gd name="T22" fmla="*/ 54 w 162"/>
                <a:gd name="T23" fmla="*/ 150 h 171"/>
                <a:gd name="T24" fmla="*/ 87 w 162"/>
                <a:gd name="T25" fmla="*/ 129 h 171"/>
                <a:gd name="T26" fmla="*/ 108 w 162"/>
                <a:gd name="T27" fmla="*/ 150 h 171"/>
                <a:gd name="T28" fmla="*/ 87 w 162"/>
                <a:gd name="T29" fmla="*/ 129 h 171"/>
                <a:gd name="T30" fmla="*/ 75 w 162"/>
                <a:gd name="T31" fmla="*/ 96 h 171"/>
                <a:gd name="T32" fmla="*/ 54 w 162"/>
                <a:gd name="T33" fmla="*/ 117 h 171"/>
                <a:gd name="T34" fmla="*/ 87 w 162"/>
                <a:gd name="T35" fmla="*/ 96 h 171"/>
                <a:gd name="T36" fmla="*/ 108 w 162"/>
                <a:gd name="T37" fmla="*/ 117 h 171"/>
                <a:gd name="T38" fmla="*/ 87 w 162"/>
                <a:gd name="T39" fmla="*/ 96 h 171"/>
                <a:gd name="T40" fmla="*/ 139 w 162"/>
                <a:gd name="T41" fmla="*/ 96 h 171"/>
                <a:gd name="T42" fmla="*/ 118 w 162"/>
                <a:gd name="T43" fmla="*/ 117 h 171"/>
                <a:gd name="T44" fmla="*/ 21 w 162"/>
                <a:gd name="T45" fmla="*/ 96 h 171"/>
                <a:gd name="T46" fmla="*/ 43 w 162"/>
                <a:gd name="T47" fmla="*/ 117 h 171"/>
                <a:gd name="T48" fmla="*/ 21 w 162"/>
                <a:gd name="T49" fmla="*/ 96 h 171"/>
                <a:gd name="T50" fmla="*/ 139 w 162"/>
                <a:gd name="T51" fmla="*/ 11 h 171"/>
                <a:gd name="T52" fmla="*/ 118 w 162"/>
                <a:gd name="T53" fmla="*/ 0 h 171"/>
                <a:gd name="T54" fmla="*/ 43 w 162"/>
                <a:gd name="T55" fmla="*/ 11 h 171"/>
                <a:gd name="T56" fmla="*/ 21 w 162"/>
                <a:gd name="T57" fmla="*/ 0 h 171"/>
                <a:gd name="T58" fmla="*/ 0 w 162"/>
                <a:gd name="T59" fmla="*/ 171 h 171"/>
                <a:gd name="T60" fmla="*/ 162 w 162"/>
                <a:gd name="T61" fmla="*/ 0 h 171"/>
                <a:gd name="T62" fmla="*/ 150 w 162"/>
                <a:gd name="T63" fmla="*/ 161 h 171"/>
                <a:gd name="T64" fmla="*/ 11 w 162"/>
                <a:gd name="T65" fmla="*/ 44 h 171"/>
                <a:gd name="T66" fmla="*/ 150 w 162"/>
                <a:gd name="T67" fmla="*/ 16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2" h="171">
                  <a:moveTo>
                    <a:pt x="54" y="65"/>
                  </a:moveTo>
                  <a:lnTo>
                    <a:pt x="75" y="65"/>
                  </a:lnTo>
                  <a:lnTo>
                    <a:pt x="75" y="86"/>
                  </a:lnTo>
                  <a:lnTo>
                    <a:pt x="54" y="86"/>
                  </a:lnTo>
                  <a:lnTo>
                    <a:pt x="54" y="65"/>
                  </a:lnTo>
                  <a:close/>
                  <a:moveTo>
                    <a:pt x="87" y="65"/>
                  </a:moveTo>
                  <a:lnTo>
                    <a:pt x="108" y="65"/>
                  </a:lnTo>
                  <a:lnTo>
                    <a:pt x="108" y="86"/>
                  </a:lnTo>
                  <a:lnTo>
                    <a:pt x="87" y="86"/>
                  </a:lnTo>
                  <a:lnTo>
                    <a:pt x="87" y="65"/>
                  </a:lnTo>
                  <a:close/>
                  <a:moveTo>
                    <a:pt x="118" y="65"/>
                  </a:moveTo>
                  <a:lnTo>
                    <a:pt x="139" y="65"/>
                  </a:lnTo>
                  <a:lnTo>
                    <a:pt x="139" y="86"/>
                  </a:lnTo>
                  <a:lnTo>
                    <a:pt x="118" y="86"/>
                  </a:lnTo>
                  <a:lnTo>
                    <a:pt x="118" y="65"/>
                  </a:lnTo>
                  <a:close/>
                  <a:moveTo>
                    <a:pt x="21" y="129"/>
                  </a:moveTo>
                  <a:lnTo>
                    <a:pt x="43" y="129"/>
                  </a:lnTo>
                  <a:lnTo>
                    <a:pt x="43" y="150"/>
                  </a:lnTo>
                  <a:lnTo>
                    <a:pt x="21" y="150"/>
                  </a:lnTo>
                  <a:lnTo>
                    <a:pt x="21" y="129"/>
                  </a:lnTo>
                  <a:close/>
                  <a:moveTo>
                    <a:pt x="54" y="129"/>
                  </a:moveTo>
                  <a:lnTo>
                    <a:pt x="75" y="129"/>
                  </a:lnTo>
                  <a:lnTo>
                    <a:pt x="75" y="150"/>
                  </a:lnTo>
                  <a:lnTo>
                    <a:pt x="54" y="150"/>
                  </a:lnTo>
                  <a:lnTo>
                    <a:pt x="54" y="129"/>
                  </a:lnTo>
                  <a:close/>
                  <a:moveTo>
                    <a:pt x="87" y="129"/>
                  </a:moveTo>
                  <a:lnTo>
                    <a:pt x="108" y="129"/>
                  </a:lnTo>
                  <a:lnTo>
                    <a:pt x="108" y="150"/>
                  </a:lnTo>
                  <a:lnTo>
                    <a:pt x="87" y="150"/>
                  </a:lnTo>
                  <a:lnTo>
                    <a:pt x="87" y="129"/>
                  </a:lnTo>
                  <a:close/>
                  <a:moveTo>
                    <a:pt x="54" y="96"/>
                  </a:moveTo>
                  <a:lnTo>
                    <a:pt x="75" y="96"/>
                  </a:lnTo>
                  <a:lnTo>
                    <a:pt x="75" y="117"/>
                  </a:lnTo>
                  <a:lnTo>
                    <a:pt x="54" y="117"/>
                  </a:lnTo>
                  <a:lnTo>
                    <a:pt x="54" y="96"/>
                  </a:lnTo>
                  <a:close/>
                  <a:moveTo>
                    <a:pt x="87" y="96"/>
                  </a:moveTo>
                  <a:lnTo>
                    <a:pt x="108" y="96"/>
                  </a:lnTo>
                  <a:lnTo>
                    <a:pt x="108" y="117"/>
                  </a:lnTo>
                  <a:lnTo>
                    <a:pt x="87" y="117"/>
                  </a:lnTo>
                  <a:lnTo>
                    <a:pt x="87" y="96"/>
                  </a:lnTo>
                  <a:close/>
                  <a:moveTo>
                    <a:pt x="118" y="96"/>
                  </a:moveTo>
                  <a:lnTo>
                    <a:pt x="139" y="96"/>
                  </a:lnTo>
                  <a:lnTo>
                    <a:pt x="139" y="117"/>
                  </a:lnTo>
                  <a:lnTo>
                    <a:pt x="118" y="117"/>
                  </a:lnTo>
                  <a:lnTo>
                    <a:pt x="118" y="96"/>
                  </a:lnTo>
                  <a:close/>
                  <a:moveTo>
                    <a:pt x="21" y="96"/>
                  </a:moveTo>
                  <a:lnTo>
                    <a:pt x="43" y="96"/>
                  </a:lnTo>
                  <a:lnTo>
                    <a:pt x="43" y="117"/>
                  </a:lnTo>
                  <a:lnTo>
                    <a:pt x="21" y="117"/>
                  </a:lnTo>
                  <a:lnTo>
                    <a:pt x="21" y="96"/>
                  </a:lnTo>
                  <a:close/>
                  <a:moveTo>
                    <a:pt x="139" y="0"/>
                  </a:moveTo>
                  <a:lnTo>
                    <a:pt x="139" y="11"/>
                  </a:lnTo>
                  <a:lnTo>
                    <a:pt x="118" y="11"/>
                  </a:lnTo>
                  <a:lnTo>
                    <a:pt x="118" y="0"/>
                  </a:lnTo>
                  <a:lnTo>
                    <a:pt x="43" y="0"/>
                  </a:lnTo>
                  <a:lnTo>
                    <a:pt x="43" y="11"/>
                  </a:lnTo>
                  <a:lnTo>
                    <a:pt x="21" y="11"/>
                  </a:lnTo>
                  <a:lnTo>
                    <a:pt x="21" y="0"/>
                  </a:lnTo>
                  <a:lnTo>
                    <a:pt x="0" y="0"/>
                  </a:lnTo>
                  <a:lnTo>
                    <a:pt x="0" y="171"/>
                  </a:lnTo>
                  <a:lnTo>
                    <a:pt x="162" y="171"/>
                  </a:lnTo>
                  <a:lnTo>
                    <a:pt x="162" y="0"/>
                  </a:lnTo>
                  <a:lnTo>
                    <a:pt x="139" y="0"/>
                  </a:lnTo>
                  <a:close/>
                  <a:moveTo>
                    <a:pt x="150" y="161"/>
                  </a:moveTo>
                  <a:lnTo>
                    <a:pt x="11" y="161"/>
                  </a:lnTo>
                  <a:lnTo>
                    <a:pt x="11" y="44"/>
                  </a:lnTo>
                  <a:lnTo>
                    <a:pt x="150" y="44"/>
                  </a:lnTo>
                  <a:lnTo>
                    <a:pt x="150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2" name="任意多边形: 形状 111">
              <a:extLst>
                <a:ext uri="{FF2B5EF4-FFF2-40B4-BE49-F238E27FC236}">
                  <a16:creationId xmlns:a16="http://schemas.microsoft.com/office/drawing/2014/main" id="{476F8914-463E-4919-90DB-123B292FEBDD}"/>
                </a:ext>
              </a:extLst>
            </p:cNvPr>
            <p:cNvSpPr/>
            <p:nvPr/>
          </p:nvSpPr>
          <p:spPr bwMode="auto">
            <a:xfrm>
              <a:off x="10025783" y="3945609"/>
              <a:ext cx="268154" cy="268154"/>
            </a:xfrm>
            <a:custGeom>
              <a:avLst/>
              <a:gdLst>
                <a:gd name="T0" fmla="*/ 42 w 84"/>
                <a:gd name="T1" fmla="*/ 0 h 84"/>
                <a:gd name="T2" fmla="*/ 0 w 84"/>
                <a:gd name="T3" fmla="*/ 42 h 84"/>
                <a:gd name="T4" fmla="*/ 42 w 84"/>
                <a:gd name="T5" fmla="*/ 84 h 84"/>
                <a:gd name="T6" fmla="*/ 84 w 84"/>
                <a:gd name="T7" fmla="*/ 42 h 84"/>
                <a:gd name="T8" fmla="*/ 42 w 84"/>
                <a:gd name="T9" fmla="*/ 0 h 84"/>
                <a:gd name="T10" fmla="*/ 42 w 84"/>
                <a:gd name="T11" fmla="*/ 76 h 84"/>
                <a:gd name="T12" fmla="*/ 8 w 84"/>
                <a:gd name="T13" fmla="*/ 42 h 84"/>
                <a:gd name="T14" fmla="*/ 42 w 84"/>
                <a:gd name="T15" fmla="*/ 8 h 84"/>
                <a:gd name="T16" fmla="*/ 76 w 84"/>
                <a:gd name="T17" fmla="*/ 42 h 84"/>
                <a:gd name="T18" fmla="*/ 42 w 84"/>
                <a:gd name="T19" fmla="*/ 76 h 84"/>
                <a:gd name="T20" fmla="*/ 26 w 84"/>
                <a:gd name="T21" fmla="*/ 26 h 84"/>
                <a:gd name="T22" fmla="*/ 58 w 84"/>
                <a:gd name="T23" fmla="*/ 26 h 84"/>
                <a:gd name="T24" fmla="*/ 58 w 84"/>
                <a:gd name="T25" fmla="*/ 58 h 84"/>
                <a:gd name="T26" fmla="*/ 26 w 84"/>
                <a:gd name="T27" fmla="*/ 58 h 84"/>
                <a:gd name="T28" fmla="*/ 26 w 84"/>
                <a:gd name="T29" fmla="*/ 2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4" h="84">
                  <a:moveTo>
                    <a:pt x="42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5"/>
                    <a:pt x="19" y="84"/>
                    <a:pt x="42" y="84"/>
                  </a:cubicBezTo>
                  <a:cubicBezTo>
                    <a:pt x="65" y="84"/>
                    <a:pt x="84" y="65"/>
                    <a:pt x="84" y="42"/>
                  </a:cubicBezTo>
                  <a:cubicBezTo>
                    <a:pt x="84" y="19"/>
                    <a:pt x="65" y="0"/>
                    <a:pt x="42" y="0"/>
                  </a:cubicBezTo>
                  <a:close/>
                  <a:moveTo>
                    <a:pt x="42" y="76"/>
                  </a:moveTo>
                  <a:cubicBezTo>
                    <a:pt x="23" y="76"/>
                    <a:pt x="8" y="61"/>
                    <a:pt x="8" y="42"/>
                  </a:cubicBezTo>
                  <a:cubicBezTo>
                    <a:pt x="8" y="23"/>
                    <a:pt x="23" y="8"/>
                    <a:pt x="42" y="8"/>
                  </a:cubicBezTo>
                  <a:cubicBezTo>
                    <a:pt x="61" y="8"/>
                    <a:pt x="76" y="23"/>
                    <a:pt x="76" y="42"/>
                  </a:cubicBezTo>
                  <a:cubicBezTo>
                    <a:pt x="76" y="61"/>
                    <a:pt x="61" y="76"/>
                    <a:pt x="42" y="76"/>
                  </a:cubicBezTo>
                  <a:close/>
                  <a:moveTo>
                    <a:pt x="26" y="26"/>
                  </a:moveTo>
                  <a:cubicBezTo>
                    <a:pt x="58" y="26"/>
                    <a:pt x="58" y="26"/>
                    <a:pt x="58" y="26"/>
                  </a:cubicBezTo>
                  <a:cubicBezTo>
                    <a:pt x="58" y="58"/>
                    <a:pt x="58" y="58"/>
                    <a:pt x="58" y="58"/>
                  </a:cubicBezTo>
                  <a:cubicBezTo>
                    <a:pt x="26" y="58"/>
                    <a:pt x="26" y="58"/>
                    <a:pt x="26" y="58"/>
                  </a:cubicBezTo>
                  <a:lnTo>
                    <a:pt x="26" y="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3" name="任意多边形: 形状 112">
              <a:extLst>
                <a:ext uri="{FF2B5EF4-FFF2-40B4-BE49-F238E27FC236}">
                  <a16:creationId xmlns:a16="http://schemas.microsoft.com/office/drawing/2014/main" id="{83C2E6C3-B46B-47C8-A825-83E1C417C80B}"/>
                </a:ext>
              </a:extLst>
            </p:cNvPr>
            <p:cNvSpPr/>
            <p:nvPr/>
          </p:nvSpPr>
          <p:spPr bwMode="auto">
            <a:xfrm>
              <a:off x="9634317" y="3906464"/>
              <a:ext cx="467802" cy="467803"/>
            </a:xfrm>
            <a:custGeom>
              <a:avLst/>
              <a:gdLst>
                <a:gd name="T0" fmla="*/ 140 w 146"/>
                <a:gd name="T1" fmla="*/ 123 h 146"/>
                <a:gd name="T2" fmla="*/ 106 w 146"/>
                <a:gd name="T3" fmla="*/ 94 h 146"/>
                <a:gd name="T4" fmla="*/ 96 w 146"/>
                <a:gd name="T5" fmla="*/ 89 h 146"/>
                <a:gd name="T6" fmla="*/ 109 w 146"/>
                <a:gd name="T7" fmla="*/ 54 h 146"/>
                <a:gd name="T8" fmla="*/ 54 w 146"/>
                <a:gd name="T9" fmla="*/ 0 h 146"/>
                <a:gd name="T10" fmla="*/ 0 w 146"/>
                <a:gd name="T11" fmla="*/ 54 h 146"/>
                <a:gd name="T12" fmla="*/ 54 w 146"/>
                <a:gd name="T13" fmla="*/ 108 h 146"/>
                <a:gd name="T14" fmla="*/ 90 w 146"/>
                <a:gd name="T15" fmla="*/ 95 h 146"/>
                <a:gd name="T16" fmla="*/ 94 w 146"/>
                <a:gd name="T17" fmla="*/ 106 h 146"/>
                <a:gd name="T18" fmla="*/ 123 w 146"/>
                <a:gd name="T19" fmla="*/ 140 h 146"/>
                <a:gd name="T20" fmla="*/ 141 w 146"/>
                <a:gd name="T21" fmla="*/ 141 h 146"/>
                <a:gd name="T22" fmla="*/ 140 w 146"/>
                <a:gd name="T23" fmla="*/ 123 h 146"/>
                <a:gd name="T24" fmla="*/ 54 w 146"/>
                <a:gd name="T25" fmla="*/ 90 h 146"/>
                <a:gd name="T26" fmla="*/ 18 w 146"/>
                <a:gd name="T27" fmla="*/ 54 h 146"/>
                <a:gd name="T28" fmla="*/ 54 w 146"/>
                <a:gd name="T29" fmla="*/ 18 h 146"/>
                <a:gd name="T30" fmla="*/ 91 w 146"/>
                <a:gd name="T31" fmla="*/ 54 h 146"/>
                <a:gd name="T32" fmla="*/ 54 w 146"/>
                <a:gd name="T33" fmla="*/ 90 h 146"/>
                <a:gd name="T34" fmla="*/ 63 w 146"/>
                <a:gd name="T35" fmla="*/ 27 h 146"/>
                <a:gd name="T36" fmla="*/ 45 w 146"/>
                <a:gd name="T37" fmla="*/ 27 h 146"/>
                <a:gd name="T38" fmla="*/ 45 w 146"/>
                <a:gd name="T39" fmla="*/ 45 h 146"/>
                <a:gd name="T40" fmla="*/ 27 w 146"/>
                <a:gd name="T41" fmla="*/ 45 h 146"/>
                <a:gd name="T42" fmla="*/ 27 w 146"/>
                <a:gd name="T43" fmla="*/ 63 h 146"/>
                <a:gd name="T44" fmla="*/ 45 w 146"/>
                <a:gd name="T45" fmla="*/ 63 h 146"/>
                <a:gd name="T46" fmla="*/ 45 w 146"/>
                <a:gd name="T47" fmla="*/ 81 h 146"/>
                <a:gd name="T48" fmla="*/ 63 w 146"/>
                <a:gd name="T49" fmla="*/ 81 h 146"/>
                <a:gd name="T50" fmla="*/ 63 w 146"/>
                <a:gd name="T51" fmla="*/ 63 h 146"/>
                <a:gd name="T52" fmla="*/ 81 w 146"/>
                <a:gd name="T53" fmla="*/ 63 h 146"/>
                <a:gd name="T54" fmla="*/ 81 w 146"/>
                <a:gd name="T55" fmla="*/ 45 h 146"/>
                <a:gd name="T56" fmla="*/ 63 w 146"/>
                <a:gd name="T57" fmla="*/ 45 h 146"/>
                <a:gd name="T58" fmla="*/ 63 w 146"/>
                <a:gd name="T59" fmla="*/ 27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46" h="146">
                  <a:moveTo>
                    <a:pt x="140" y="123"/>
                  </a:moveTo>
                  <a:cubicBezTo>
                    <a:pt x="106" y="94"/>
                    <a:pt x="106" y="94"/>
                    <a:pt x="106" y="94"/>
                  </a:cubicBezTo>
                  <a:cubicBezTo>
                    <a:pt x="103" y="91"/>
                    <a:pt x="99" y="89"/>
                    <a:pt x="96" y="89"/>
                  </a:cubicBezTo>
                  <a:cubicBezTo>
                    <a:pt x="104" y="80"/>
                    <a:pt x="109" y="67"/>
                    <a:pt x="109" y="54"/>
                  </a:cubicBezTo>
                  <a:cubicBezTo>
                    <a:pt x="109" y="24"/>
                    <a:pt x="84" y="0"/>
                    <a:pt x="54" y="0"/>
                  </a:cubicBezTo>
                  <a:cubicBezTo>
                    <a:pt x="24" y="0"/>
                    <a:pt x="0" y="24"/>
                    <a:pt x="0" y="54"/>
                  </a:cubicBezTo>
                  <a:cubicBezTo>
                    <a:pt x="0" y="84"/>
                    <a:pt x="24" y="108"/>
                    <a:pt x="54" y="108"/>
                  </a:cubicBezTo>
                  <a:cubicBezTo>
                    <a:pt x="68" y="108"/>
                    <a:pt x="80" y="103"/>
                    <a:pt x="90" y="95"/>
                  </a:cubicBezTo>
                  <a:cubicBezTo>
                    <a:pt x="89" y="98"/>
                    <a:pt x="91" y="102"/>
                    <a:pt x="94" y="106"/>
                  </a:cubicBezTo>
                  <a:cubicBezTo>
                    <a:pt x="123" y="140"/>
                    <a:pt x="123" y="140"/>
                    <a:pt x="123" y="140"/>
                  </a:cubicBezTo>
                  <a:cubicBezTo>
                    <a:pt x="128" y="146"/>
                    <a:pt x="136" y="146"/>
                    <a:pt x="141" y="141"/>
                  </a:cubicBezTo>
                  <a:cubicBezTo>
                    <a:pt x="146" y="136"/>
                    <a:pt x="146" y="128"/>
                    <a:pt x="140" y="123"/>
                  </a:cubicBezTo>
                  <a:close/>
                  <a:moveTo>
                    <a:pt x="54" y="90"/>
                  </a:moveTo>
                  <a:cubicBezTo>
                    <a:pt x="34" y="90"/>
                    <a:pt x="18" y="74"/>
                    <a:pt x="18" y="54"/>
                  </a:cubicBezTo>
                  <a:cubicBezTo>
                    <a:pt x="18" y="34"/>
                    <a:pt x="34" y="18"/>
                    <a:pt x="54" y="18"/>
                  </a:cubicBezTo>
                  <a:cubicBezTo>
                    <a:pt x="74" y="18"/>
                    <a:pt x="91" y="34"/>
                    <a:pt x="91" y="54"/>
                  </a:cubicBezTo>
                  <a:cubicBezTo>
                    <a:pt x="91" y="74"/>
                    <a:pt x="74" y="90"/>
                    <a:pt x="54" y="90"/>
                  </a:cubicBezTo>
                  <a:close/>
                  <a:moveTo>
                    <a:pt x="63" y="27"/>
                  </a:moveTo>
                  <a:cubicBezTo>
                    <a:pt x="45" y="27"/>
                    <a:pt x="45" y="27"/>
                    <a:pt x="45" y="27"/>
                  </a:cubicBezTo>
                  <a:cubicBezTo>
                    <a:pt x="45" y="45"/>
                    <a:pt x="45" y="45"/>
                    <a:pt x="45" y="45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7" y="63"/>
                    <a:pt x="27" y="63"/>
                    <a:pt x="27" y="63"/>
                  </a:cubicBezTo>
                  <a:cubicBezTo>
                    <a:pt x="45" y="63"/>
                    <a:pt x="45" y="63"/>
                    <a:pt x="45" y="63"/>
                  </a:cubicBezTo>
                  <a:cubicBezTo>
                    <a:pt x="45" y="81"/>
                    <a:pt x="45" y="81"/>
                    <a:pt x="45" y="81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3" y="63"/>
                    <a:pt x="63" y="63"/>
                    <a:pt x="63" y="63"/>
                  </a:cubicBezTo>
                  <a:cubicBezTo>
                    <a:pt x="81" y="63"/>
                    <a:pt x="81" y="63"/>
                    <a:pt x="81" y="63"/>
                  </a:cubicBezTo>
                  <a:cubicBezTo>
                    <a:pt x="81" y="45"/>
                    <a:pt x="81" y="45"/>
                    <a:pt x="81" y="45"/>
                  </a:cubicBezTo>
                  <a:cubicBezTo>
                    <a:pt x="63" y="45"/>
                    <a:pt x="63" y="45"/>
                    <a:pt x="63" y="45"/>
                  </a:cubicBezTo>
                  <a:lnTo>
                    <a:pt x="63" y="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lnSpcReduction="1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C88F24EA-45C7-4D8B-AA7D-9F9F1A76D17D}"/>
                </a:ext>
              </a:extLst>
            </p:cNvPr>
            <p:cNvSpPr/>
            <p:nvPr/>
          </p:nvSpPr>
          <p:spPr bwMode="auto">
            <a:xfrm>
              <a:off x="10248917" y="4744202"/>
              <a:ext cx="272069" cy="275983"/>
            </a:xfrm>
            <a:custGeom>
              <a:avLst/>
              <a:gdLst>
                <a:gd name="T0" fmla="*/ 16 w 85"/>
                <a:gd name="T1" fmla="*/ 49 h 86"/>
                <a:gd name="T2" fmla="*/ 16 w 85"/>
                <a:gd name="T3" fmla="*/ 86 h 86"/>
                <a:gd name="T4" fmla="*/ 18 w 85"/>
                <a:gd name="T5" fmla="*/ 86 h 86"/>
                <a:gd name="T6" fmla="*/ 21 w 85"/>
                <a:gd name="T7" fmla="*/ 86 h 86"/>
                <a:gd name="T8" fmla="*/ 21 w 85"/>
                <a:gd name="T9" fmla="*/ 49 h 86"/>
                <a:gd name="T10" fmla="*/ 18 w 85"/>
                <a:gd name="T11" fmla="*/ 49 h 86"/>
                <a:gd name="T12" fmla="*/ 16 w 85"/>
                <a:gd name="T13" fmla="*/ 49 h 86"/>
                <a:gd name="T14" fmla="*/ 64 w 85"/>
                <a:gd name="T15" fmla="*/ 49 h 86"/>
                <a:gd name="T16" fmla="*/ 64 w 85"/>
                <a:gd name="T17" fmla="*/ 86 h 86"/>
                <a:gd name="T18" fmla="*/ 67 w 85"/>
                <a:gd name="T19" fmla="*/ 86 h 86"/>
                <a:gd name="T20" fmla="*/ 69 w 85"/>
                <a:gd name="T21" fmla="*/ 86 h 86"/>
                <a:gd name="T22" fmla="*/ 69 w 85"/>
                <a:gd name="T23" fmla="*/ 49 h 86"/>
                <a:gd name="T24" fmla="*/ 67 w 85"/>
                <a:gd name="T25" fmla="*/ 49 h 86"/>
                <a:gd name="T26" fmla="*/ 64 w 85"/>
                <a:gd name="T27" fmla="*/ 49 h 86"/>
                <a:gd name="T28" fmla="*/ 85 w 85"/>
                <a:gd name="T29" fmla="*/ 43 h 86"/>
                <a:gd name="T30" fmla="*/ 42 w 85"/>
                <a:gd name="T31" fmla="*/ 0 h 86"/>
                <a:gd name="T32" fmla="*/ 0 w 85"/>
                <a:gd name="T33" fmla="*/ 43 h 86"/>
                <a:gd name="T34" fmla="*/ 2 w 85"/>
                <a:gd name="T35" fmla="*/ 58 h 86"/>
                <a:gd name="T36" fmla="*/ 0 w 85"/>
                <a:gd name="T37" fmla="*/ 67 h 86"/>
                <a:gd name="T38" fmla="*/ 10 w 85"/>
                <a:gd name="T39" fmla="*/ 84 h 86"/>
                <a:gd name="T40" fmla="*/ 10 w 85"/>
                <a:gd name="T41" fmla="*/ 51 h 86"/>
                <a:gd name="T42" fmla="*/ 6 w 85"/>
                <a:gd name="T43" fmla="*/ 54 h 86"/>
                <a:gd name="T44" fmla="*/ 5 w 85"/>
                <a:gd name="T45" fmla="*/ 46 h 86"/>
                <a:gd name="T46" fmla="*/ 42 w 85"/>
                <a:gd name="T47" fmla="*/ 8 h 86"/>
                <a:gd name="T48" fmla="*/ 80 w 85"/>
                <a:gd name="T49" fmla="*/ 46 h 86"/>
                <a:gd name="T50" fmla="*/ 79 w 85"/>
                <a:gd name="T51" fmla="*/ 54 h 86"/>
                <a:gd name="T52" fmla="*/ 75 w 85"/>
                <a:gd name="T53" fmla="*/ 51 h 86"/>
                <a:gd name="T54" fmla="*/ 75 w 85"/>
                <a:gd name="T55" fmla="*/ 84 h 86"/>
                <a:gd name="T56" fmla="*/ 85 w 85"/>
                <a:gd name="T57" fmla="*/ 67 h 86"/>
                <a:gd name="T58" fmla="*/ 83 w 85"/>
                <a:gd name="T59" fmla="*/ 58 h 86"/>
                <a:gd name="T60" fmla="*/ 85 w 85"/>
                <a:gd name="T61" fmla="*/ 4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5" h="86">
                  <a:moveTo>
                    <a:pt x="16" y="49"/>
                  </a:moveTo>
                  <a:cubicBezTo>
                    <a:pt x="16" y="86"/>
                    <a:pt x="16" y="86"/>
                    <a:pt x="16" y="86"/>
                  </a:cubicBezTo>
                  <a:cubicBezTo>
                    <a:pt x="17" y="86"/>
                    <a:pt x="17" y="86"/>
                    <a:pt x="18" y="86"/>
                  </a:cubicBezTo>
                  <a:cubicBezTo>
                    <a:pt x="21" y="86"/>
                    <a:pt x="21" y="86"/>
                    <a:pt x="21" y="86"/>
                  </a:cubicBezTo>
                  <a:cubicBezTo>
                    <a:pt x="21" y="49"/>
                    <a:pt x="21" y="49"/>
                    <a:pt x="21" y="49"/>
                  </a:cubicBezTo>
                  <a:cubicBezTo>
                    <a:pt x="18" y="49"/>
                    <a:pt x="18" y="49"/>
                    <a:pt x="18" y="49"/>
                  </a:cubicBezTo>
                  <a:cubicBezTo>
                    <a:pt x="17" y="49"/>
                    <a:pt x="17" y="49"/>
                    <a:pt x="16" y="49"/>
                  </a:cubicBezTo>
                  <a:close/>
                  <a:moveTo>
                    <a:pt x="64" y="49"/>
                  </a:moveTo>
                  <a:cubicBezTo>
                    <a:pt x="64" y="86"/>
                    <a:pt x="64" y="86"/>
                    <a:pt x="64" y="86"/>
                  </a:cubicBezTo>
                  <a:cubicBezTo>
                    <a:pt x="67" y="86"/>
                    <a:pt x="67" y="86"/>
                    <a:pt x="67" y="86"/>
                  </a:cubicBezTo>
                  <a:cubicBezTo>
                    <a:pt x="68" y="86"/>
                    <a:pt x="68" y="86"/>
                    <a:pt x="69" y="86"/>
                  </a:cubicBezTo>
                  <a:cubicBezTo>
                    <a:pt x="69" y="49"/>
                    <a:pt x="69" y="49"/>
                    <a:pt x="69" y="49"/>
                  </a:cubicBezTo>
                  <a:cubicBezTo>
                    <a:pt x="68" y="49"/>
                    <a:pt x="68" y="49"/>
                    <a:pt x="67" y="49"/>
                  </a:cubicBezTo>
                  <a:lnTo>
                    <a:pt x="64" y="49"/>
                  </a:lnTo>
                  <a:close/>
                  <a:moveTo>
                    <a:pt x="85" y="43"/>
                  </a:moveTo>
                  <a:cubicBezTo>
                    <a:pt x="85" y="20"/>
                    <a:pt x="66" y="0"/>
                    <a:pt x="42" y="0"/>
                  </a:cubicBezTo>
                  <a:cubicBezTo>
                    <a:pt x="19" y="0"/>
                    <a:pt x="0" y="20"/>
                    <a:pt x="0" y="43"/>
                  </a:cubicBezTo>
                  <a:cubicBezTo>
                    <a:pt x="0" y="48"/>
                    <a:pt x="0" y="53"/>
                    <a:pt x="2" y="58"/>
                  </a:cubicBezTo>
                  <a:cubicBezTo>
                    <a:pt x="0" y="61"/>
                    <a:pt x="0" y="64"/>
                    <a:pt x="0" y="67"/>
                  </a:cubicBezTo>
                  <a:cubicBezTo>
                    <a:pt x="0" y="75"/>
                    <a:pt x="4" y="81"/>
                    <a:pt x="10" y="84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1"/>
                    <a:pt x="7" y="52"/>
                    <a:pt x="6" y="54"/>
                  </a:cubicBezTo>
                  <a:cubicBezTo>
                    <a:pt x="5" y="51"/>
                    <a:pt x="5" y="49"/>
                    <a:pt x="5" y="46"/>
                  </a:cubicBezTo>
                  <a:cubicBezTo>
                    <a:pt x="5" y="25"/>
                    <a:pt x="22" y="8"/>
                    <a:pt x="42" y="8"/>
                  </a:cubicBezTo>
                  <a:cubicBezTo>
                    <a:pt x="63" y="8"/>
                    <a:pt x="80" y="25"/>
                    <a:pt x="80" y="46"/>
                  </a:cubicBezTo>
                  <a:cubicBezTo>
                    <a:pt x="80" y="49"/>
                    <a:pt x="80" y="51"/>
                    <a:pt x="79" y="54"/>
                  </a:cubicBezTo>
                  <a:cubicBezTo>
                    <a:pt x="78" y="52"/>
                    <a:pt x="76" y="51"/>
                    <a:pt x="75" y="51"/>
                  </a:cubicBezTo>
                  <a:cubicBezTo>
                    <a:pt x="75" y="84"/>
                    <a:pt x="75" y="84"/>
                    <a:pt x="75" y="84"/>
                  </a:cubicBezTo>
                  <a:cubicBezTo>
                    <a:pt x="81" y="81"/>
                    <a:pt x="85" y="75"/>
                    <a:pt x="85" y="67"/>
                  </a:cubicBezTo>
                  <a:cubicBezTo>
                    <a:pt x="85" y="64"/>
                    <a:pt x="84" y="61"/>
                    <a:pt x="83" y="58"/>
                  </a:cubicBezTo>
                  <a:cubicBezTo>
                    <a:pt x="85" y="53"/>
                    <a:pt x="85" y="48"/>
                    <a:pt x="85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5" name="任意多边形: 形状 114">
              <a:extLst>
                <a:ext uri="{FF2B5EF4-FFF2-40B4-BE49-F238E27FC236}">
                  <a16:creationId xmlns:a16="http://schemas.microsoft.com/office/drawing/2014/main" id="{01B3ED81-F334-4B27-BC99-36DA98A757E7}"/>
                </a:ext>
              </a:extLst>
            </p:cNvPr>
            <p:cNvSpPr/>
            <p:nvPr/>
          </p:nvSpPr>
          <p:spPr bwMode="auto">
            <a:xfrm>
              <a:off x="9835921" y="4409497"/>
              <a:ext cx="332745" cy="330789"/>
            </a:xfrm>
            <a:custGeom>
              <a:avLst/>
              <a:gdLst>
                <a:gd name="T0" fmla="*/ 52 w 104"/>
                <a:gd name="T1" fmla="*/ 0 h 104"/>
                <a:gd name="T2" fmla="*/ 0 w 104"/>
                <a:gd name="T3" fmla="*/ 52 h 104"/>
                <a:gd name="T4" fmla="*/ 52 w 104"/>
                <a:gd name="T5" fmla="*/ 104 h 104"/>
                <a:gd name="T6" fmla="*/ 104 w 104"/>
                <a:gd name="T7" fmla="*/ 52 h 104"/>
                <a:gd name="T8" fmla="*/ 52 w 104"/>
                <a:gd name="T9" fmla="*/ 0 h 104"/>
                <a:gd name="T10" fmla="*/ 32 w 104"/>
                <a:gd name="T11" fmla="*/ 52 h 104"/>
                <a:gd name="T12" fmla="*/ 52 w 104"/>
                <a:gd name="T13" fmla="*/ 32 h 104"/>
                <a:gd name="T14" fmla="*/ 72 w 104"/>
                <a:gd name="T15" fmla="*/ 52 h 104"/>
                <a:gd name="T16" fmla="*/ 52 w 104"/>
                <a:gd name="T17" fmla="*/ 71 h 104"/>
                <a:gd name="T18" fmla="*/ 32 w 104"/>
                <a:gd name="T19" fmla="*/ 52 h 104"/>
                <a:gd name="T20" fmla="*/ 94 w 104"/>
                <a:gd name="T21" fmla="*/ 69 h 104"/>
                <a:gd name="T22" fmla="*/ 94 w 104"/>
                <a:gd name="T23" fmla="*/ 69 h 104"/>
                <a:gd name="T24" fmla="*/ 76 w 104"/>
                <a:gd name="T25" fmla="*/ 62 h 104"/>
                <a:gd name="T26" fmla="*/ 78 w 104"/>
                <a:gd name="T27" fmla="*/ 52 h 104"/>
                <a:gd name="T28" fmla="*/ 76 w 104"/>
                <a:gd name="T29" fmla="*/ 42 h 104"/>
                <a:gd name="T30" fmla="*/ 89 w 104"/>
                <a:gd name="T31" fmla="*/ 37 h 104"/>
                <a:gd name="T32" fmla="*/ 94 w 104"/>
                <a:gd name="T33" fmla="*/ 34 h 104"/>
                <a:gd name="T34" fmla="*/ 98 w 104"/>
                <a:gd name="T35" fmla="*/ 52 h 104"/>
                <a:gd name="T36" fmla="*/ 94 w 104"/>
                <a:gd name="T37" fmla="*/ 69 h 104"/>
                <a:gd name="T38" fmla="*/ 69 w 104"/>
                <a:gd name="T39" fmla="*/ 10 h 104"/>
                <a:gd name="T40" fmla="*/ 69 w 104"/>
                <a:gd name="T41" fmla="*/ 10 h 104"/>
                <a:gd name="T42" fmla="*/ 69 w 104"/>
                <a:gd name="T43" fmla="*/ 10 h 104"/>
                <a:gd name="T44" fmla="*/ 62 w 104"/>
                <a:gd name="T45" fmla="*/ 28 h 104"/>
                <a:gd name="T46" fmla="*/ 52 w 104"/>
                <a:gd name="T47" fmla="*/ 26 h 104"/>
                <a:gd name="T48" fmla="*/ 42 w 104"/>
                <a:gd name="T49" fmla="*/ 28 h 104"/>
                <a:gd name="T50" fmla="*/ 38 w 104"/>
                <a:gd name="T51" fmla="*/ 19 h 104"/>
                <a:gd name="T52" fmla="*/ 35 w 104"/>
                <a:gd name="T53" fmla="*/ 10 h 104"/>
                <a:gd name="T54" fmla="*/ 52 w 104"/>
                <a:gd name="T55" fmla="*/ 6 h 104"/>
                <a:gd name="T56" fmla="*/ 69 w 104"/>
                <a:gd name="T57" fmla="*/ 10 h 104"/>
                <a:gd name="T58" fmla="*/ 10 w 104"/>
                <a:gd name="T59" fmla="*/ 34 h 104"/>
                <a:gd name="T60" fmla="*/ 19 w 104"/>
                <a:gd name="T61" fmla="*/ 38 h 104"/>
                <a:gd name="T62" fmla="*/ 28 w 104"/>
                <a:gd name="T63" fmla="*/ 42 h 104"/>
                <a:gd name="T64" fmla="*/ 26 w 104"/>
                <a:gd name="T65" fmla="*/ 52 h 104"/>
                <a:gd name="T66" fmla="*/ 28 w 104"/>
                <a:gd name="T67" fmla="*/ 62 h 104"/>
                <a:gd name="T68" fmla="*/ 10 w 104"/>
                <a:gd name="T69" fmla="*/ 69 h 104"/>
                <a:gd name="T70" fmla="*/ 6 w 104"/>
                <a:gd name="T71" fmla="*/ 52 h 104"/>
                <a:gd name="T72" fmla="*/ 10 w 104"/>
                <a:gd name="T73" fmla="*/ 34 h 104"/>
                <a:gd name="T74" fmla="*/ 35 w 104"/>
                <a:gd name="T75" fmla="*/ 94 h 104"/>
                <a:gd name="T76" fmla="*/ 37 w 104"/>
                <a:gd name="T77" fmla="*/ 88 h 104"/>
                <a:gd name="T78" fmla="*/ 42 w 104"/>
                <a:gd name="T79" fmla="*/ 76 h 104"/>
                <a:gd name="T80" fmla="*/ 52 w 104"/>
                <a:gd name="T81" fmla="*/ 78 h 104"/>
                <a:gd name="T82" fmla="*/ 62 w 104"/>
                <a:gd name="T83" fmla="*/ 76 h 104"/>
                <a:gd name="T84" fmla="*/ 69 w 104"/>
                <a:gd name="T85" fmla="*/ 94 h 104"/>
                <a:gd name="T86" fmla="*/ 69 w 104"/>
                <a:gd name="T87" fmla="*/ 94 h 104"/>
                <a:gd name="T88" fmla="*/ 69 w 104"/>
                <a:gd name="T89" fmla="*/ 94 h 104"/>
                <a:gd name="T90" fmla="*/ 52 w 104"/>
                <a:gd name="T91" fmla="*/ 97 h 104"/>
                <a:gd name="T92" fmla="*/ 35 w 104"/>
                <a:gd name="T93" fmla="*/ 9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4" h="104">
                  <a:moveTo>
                    <a:pt x="52" y="0"/>
                  </a:moveTo>
                  <a:cubicBezTo>
                    <a:pt x="23" y="0"/>
                    <a:pt x="0" y="23"/>
                    <a:pt x="0" y="52"/>
                  </a:cubicBezTo>
                  <a:cubicBezTo>
                    <a:pt x="0" y="81"/>
                    <a:pt x="23" y="104"/>
                    <a:pt x="52" y="104"/>
                  </a:cubicBezTo>
                  <a:cubicBezTo>
                    <a:pt x="81" y="104"/>
                    <a:pt x="104" y="81"/>
                    <a:pt x="104" y="52"/>
                  </a:cubicBezTo>
                  <a:cubicBezTo>
                    <a:pt x="104" y="23"/>
                    <a:pt x="81" y="0"/>
                    <a:pt x="52" y="0"/>
                  </a:cubicBezTo>
                  <a:close/>
                  <a:moveTo>
                    <a:pt x="32" y="52"/>
                  </a:moveTo>
                  <a:cubicBezTo>
                    <a:pt x="32" y="41"/>
                    <a:pt x="41" y="32"/>
                    <a:pt x="52" y="32"/>
                  </a:cubicBezTo>
                  <a:cubicBezTo>
                    <a:pt x="63" y="32"/>
                    <a:pt x="72" y="41"/>
                    <a:pt x="72" y="52"/>
                  </a:cubicBezTo>
                  <a:cubicBezTo>
                    <a:pt x="72" y="63"/>
                    <a:pt x="63" y="71"/>
                    <a:pt x="52" y="71"/>
                  </a:cubicBezTo>
                  <a:cubicBezTo>
                    <a:pt x="41" y="71"/>
                    <a:pt x="32" y="63"/>
                    <a:pt x="32" y="52"/>
                  </a:cubicBezTo>
                  <a:close/>
                  <a:moveTo>
                    <a:pt x="94" y="69"/>
                  </a:moveTo>
                  <a:cubicBezTo>
                    <a:pt x="94" y="69"/>
                    <a:pt x="94" y="69"/>
                    <a:pt x="94" y="69"/>
                  </a:cubicBezTo>
                  <a:cubicBezTo>
                    <a:pt x="76" y="62"/>
                    <a:pt x="76" y="62"/>
                    <a:pt x="76" y="62"/>
                  </a:cubicBezTo>
                  <a:cubicBezTo>
                    <a:pt x="77" y="59"/>
                    <a:pt x="78" y="55"/>
                    <a:pt x="78" y="52"/>
                  </a:cubicBezTo>
                  <a:cubicBezTo>
                    <a:pt x="78" y="48"/>
                    <a:pt x="77" y="45"/>
                    <a:pt x="76" y="42"/>
                  </a:cubicBezTo>
                  <a:cubicBezTo>
                    <a:pt x="89" y="37"/>
                    <a:pt x="89" y="37"/>
                    <a:pt x="89" y="37"/>
                  </a:cubicBezTo>
                  <a:cubicBezTo>
                    <a:pt x="94" y="34"/>
                    <a:pt x="94" y="34"/>
                    <a:pt x="94" y="34"/>
                  </a:cubicBezTo>
                  <a:cubicBezTo>
                    <a:pt x="96" y="40"/>
                    <a:pt x="98" y="46"/>
                    <a:pt x="98" y="52"/>
                  </a:cubicBezTo>
                  <a:cubicBezTo>
                    <a:pt x="98" y="58"/>
                    <a:pt x="96" y="64"/>
                    <a:pt x="94" y="69"/>
                  </a:cubicBezTo>
                  <a:close/>
                  <a:moveTo>
                    <a:pt x="69" y="10"/>
                  </a:moveTo>
                  <a:cubicBezTo>
                    <a:pt x="69" y="10"/>
                    <a:pt x="69" y="10"/>
                    <a:pt x="69" y="10"/>
                  </a:cubicBezTo>
                  <a:cubicBezTo>
                    <a:pt x="69" y="10"/>
                    <a:pt x="69" y="10"/>
                    <a:pt x="69" y="10"/>
                  </a:cubicBezTo>
                  <a:cubicBezTo>
                    <a:pt x="62" y="28"/>
                    <a:pt x="62" y="28"/>
                    <a:pt x="62" y="28"/>
                  </a:cubicBezTo>
                  <a:cubicBezTo>
                    <a:pt x="59" y="26"/>
                    <a:pt x="56" y="26"/>
                    <a:pt x="52" y="26"/>
                  </a:cubicBezTo>
                  <a:cubicBezTo>
                    <a:pt x="48" y="26"/>
                    <a:pt x="45" y="26"/>
                    <a:pt x="42" y="28"/>
                  </a:cubicBezTo>
                  <a:cubicBezTo>
                    <a:pt x="38" y="19"/>
                    <a:pt x="38" y="19"/>
                    <a:pt x="38" y="19"/>
                  </a:cubicBezTo>
                  <a:cubicBezTo>
                    <a:pt x="35" y="10"/>
                    <a:pt x="35" y="10"/>
                    <a:pt x="35" y="10"/>
                  </a:cubicBezTo>
                  <a:cubicBezTo>
                    <a:pt x="40" y="7"/>
                    <a:pt x="46" y="6"/>
                    <a:pt x="52" y="6"/>
                  </a:cubicBezTo>
                  <a:cubicBezTo>
                    <a:pt x="58" y="6"/>
                    <a:pt x="64" y="7"/>
                    <a:pt x="69" y="10"/>
                  </a:cubicBezTo>
                  <a:close/>
                  <a:moveTo>
                    <a:pt x="10" y="34"/>
                  </a:moveTo>
                  <a:cubicBezTo>
                    <a:pt x="19" y="38"/>
                    <a:pt x="19" y="38"/>
                    <a:pt x="19" y="38"/>
                  </a:cubicBezTo>
                  <a:cubicBezTo>
                    <a:pt x="28" y="42"/>
                    <a:pt x="28" y="42"/>
                    <a:pt x="28" y="42"/>
                  </a:cubicBezTo>
                  <a:cubicBezTo>
                    <a:pt x="27" y="45"/>
                    <a:pt x="26" y="48"/>
                    <a:pt x="26" y="52"/>
                  </a:cubicBezTo>
                  <a:cubicBezTo>
                    <a:pt x="26" y="55"/>
                    <a:pt x="27" y="59"/>
                    <a:pt x="28" y="62"/>
                  </a:cubicBezTo>
                  <a:cubicBezTo>
                    <a:pt x="10" y="69"/>
                    <a:pt x="10" y="69"/>
                    <a:pt x="10" y="69"/>
                  </a:cubicBezTo>
                  <a:cubicBezTo>
                    <a:pt x="8" y="64"/>
                    <a:pt x="6" y="58"/>
                    <a:pt x="6" y="52"/>
                  </a:cubicBezTo>
                  <a:cubicBezTo>
                    <a:pt x="6" y="46"/>
                    <a:pt x="8" y="40"/>
                    <a:pt x="10" y="34"/>
                  </a:cubicBezTo>
                  <a:close/>
                  <a:moveTo>
                    <a:pt x="35" y="94"/>
                  </a:moveTo>
                  <a:cubicBezTo>
                    <a:pt x="37" y="88"/>
                    <a:pt x="37" y="88"/>
                    <a:pt x="37" y="88"/>
                  </a:cubicBezTo>
                  <a:cubicBezTo>
                    <a:pt x="42" y="76"/>
                    <a:pt x="42" y="76"/>
                    <a:pt x="42" y="76"/>
                  </a:cubicBezTo>
                  <a:cubicBezTo>
                    <a:pt x="45" y="77"/>
                    <a:pt x="48" y="78"/>
                    <a:pt x="52" y="78"/>
                  </a:cubicBezTo>
                  <a:cubicBezTo>
                    <a:pt x="56" y="78"/>
                    <a:pt x="59" y="77"/>
                    <a:pt x="62" y="76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69" y="94"/>
                    <a:pt x="69" y="94"/>
                    <a:pt x="69" y="94"/>
                  </a:cubicBezTo>
                  <a:cubicBezTo>
                    <a:pt x="64" y="96"/>
                    <a:pt x="58" y="97"/>
                    <a:pt x="52" y="97"/>
                  </a:cubicBezTo>
                  <a:cubicBezTo>
                    <a:pt x="46" y="97"/>
                    <a:pt x="40" y="96"/>
                    <a:pt x="35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21D5F725-9D74-4813-8D66-320A7CA9BDC0}"/>
                </a:ext>
              </a:extLst>
            </p:cNvPr>
            <p:cNvSpPr/>
            <p:nvPr/>
          </p:nvSpPr>
          <p:spPr bwMode="auto">
            <a:xfrm>
              <a:off x="9935746" y="4810750"/>
              <a:ext cx="383635" cy="387552"/>
            </a:xfrm>
            <a:custGeom>
              <a:avLst/>
              <a:gdLst>
                <a:gd name="T0" fmla="*/ 0 w 120"/>
                <a:gd name="T1" fmla="*/ 70 h 121"/>
                <a:gd name="T2" fmla="*/ 10 w 120"/>
                <a:gd name="T3" fmla="*/ 80 h 121"/>
                <a:gd name="T4" fmla="*/ 20 w 120"/>
                <a:gd name="T5" fmla="*/ 70 h 121"/>
                <a:gd name="T6" fmla="*/ 20 w 120"/>
                <a:gd name="T7" fmla="*/ 34 h 121"/>
                <a:gd name="T8" fmla="*/ 103 w 120"/>
                <a:gd name="T9" fmla="*/ 117 h 121"/>
                <a:gd name="T10" fmla="*/ 117 w 120"/>
                <a:gd name="T11" fmla="*/ 117 h 121"/>
                <a:gd name="T12" fmla="*/ 120 w 120"/>
                <a:gd name="T13" fmla="*/ 110 h 121"/>
                <a:gd name="T14" fmla="*/ 117 w 120"/>
                <a:gd name="T15" fmla="*/ 103 h 121"/>
                <a:gd name="T16" fmla="*/ 34 w 120"/>
                <a:gd name="T17" fmla="*/ 20 h 121"/>
                <a:gd name="T18" fmla="*/ 70 w 120"/>
                <a:gd name="T19" fmla="*/ 20 h 121"/>
                <a:gd name="T20" fmla="*/ 80 w 120"/>
                <a:gd name="T21" fmla="*/ 10 h 121"/>
                <a:gd name="T22" fmla="*/ 70 w 120"/>
                <a:gd name="T23" fmla="*/ 0 h 121"/>
                <a:gd name="T24" fmla="*/ 0 w 120"/>
                <a:gd name="T25" fmla="*/ 0 h 121"/>
                <a:gd name="T26" fmla="*/ 0 w 120"/>
                <a:gd name="T27" fmla="*/ 7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21">
                  <a:moveTo>
                    <a:pt x="0" y="70"/>
                  </a:moveTo>
                  <a:cubicBezTo>
                    <a:pt x="0" y="76"/>
                    <a:pt x="4" y="80"/>
                    <a:pt x="10" y="80"/>
                  </a:cubicBezTo>
                  <a:cubicBezTo>
                    <a:pt x="15" y="80"/>
                    <a:pt x="20" y="76"/>
                    <a:pt x="20" y="70"/>
                  </a:cubicBezTo>
                  <a:cubicBezTo>
                    <a:pt x="20" y="34"/>
                    <a:pt x="20" y="34"/>
                    <a:pt x="20" y="34"/>
                  </a:cubicBezTo>
                  <a:cubicBezTo>
                    <a:pt x="103" y="117"/>
                    <a:pt x="103" y="117"/>
                    <a:pt x="103" y="117"/>
                  </a:cubicBezTo>
                  <a:cubicBezTo>
                    <a:pt x="107" y="121"/>
                    <a:pt x="113" y="121"/>
                    <a:pt x="117" y="117"/>
                  </a:cubicBezTo>
                  <a:cubicBezTo>
                    <a:pt x="119" y="115"/>
                    <a:pt x="120" y="113"/>
                    <a:pt x="120" y="110"/>
                  </a:cubicBezTo>
                  <a:cubicBezTo>
                    <a:pt x="120" y="108"/>
                    <a:pt x="119" y="105"/>
                    <a:pt x="117" y="103"/>
                  </a:cubicBezTo>
                  <a:cubicBezTo>
                    <a:pt x="34" y="20"/>
                    <a:pt x="34" y="20"/>
                    <a:pt x="34" y="20"/>
                  </a:cubicBezTo>
                  <a:cubicBezTo>
                    <a:pt x="70" y="20"/>
                    <a:pt x="70" y="20"/>
                    <a:pt x="70" y="20"/>
                  </a:cubicBezTo>
                  <a:cubicBezTo>
                    <a:pt x="75" y="20"/>
                    <a:pt x="80" y="15"/>
                    <a:pt x="80" y="10"/>
                  </a:cubicBezTo>
                  <a:cubicBezTo>
                    <a:pt x="80" y="4"/>
                    <a:pt x="75" y="0"/>
                    <a:pt x="70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7" name="任意多边形: 形状 116">
              <a:extLst>
                <a:ext uri="{FF2B5EF4-FFF2-40B4-BE49-F238E27FC236}">
                  <a16:creationId xmlns:a16="http://schemas.microsoft.com/office/drawing/2014/main" id="{5E38634B-232E-4D68-893D-1825B1BA938E}"/>
                </a:ext>
              </a:extLst>
            </p:cNvPr>
            <p:cNvSpPr/>
            <p:nvPr/>
          </p:nvSpPr>
          <p:spPr bwMode="auto">
            <a:xfrm>
              <a:off x="9426839" y="3544356"/>
              <a:ext cx="399295" cy="330789"/>
            </a:xfrm>
            <a:custGeom>
              <a:avLst/>
              <a:gdLst>
                <a:gd name="T0" fmla="*/ 125 w 125"/>
                <a:gd name="T1" fmla="*/ 55 h 103"/>
                <a:gd name="T2" fmla="*/ 110 w 125"/>
                <a:gd name="T3" fmla="*/ 24 h 103"/>
                <a:gd name="T4" fmla="*/ 86 w 125"/>
                <a:gd name="T5" fmla="*/ 24 h 103"/>
                <a:gd name="T6" fmla="*/ 86 w 125"/>
                <a:gd name="T7" fmla="*/ 8 h 103"/>
                <a:gd name="T8" fmla="*/ 78 w 125"/>
                <a:gd name="T9" fmla="*/ 0 h 103"/>
                <a:gd name="T10" fmla="*/ 8 w 125"/>
                <a:gd name="T11" fmla="*/ 0 h 103"/>
                <a:gd name="T12" fmla="*/ 0 w 125"/>
                <a:gd name="T13" fmla="*/ 8 h 103"/>
                <a:gd name="T14" fmla="*/ 0 w 125"/>
                <a:gd name="T15" fmla="*/ 71 h 103"/>
                <a:gd name="T16" fmla="*/ 8 w 125"/>
                <a:gd name="T17" fmla="*/ 79 h 103"/>
                <a:gd name="T18" fmla="*/ 18 w 125"/>
                <a:gd name="T19" fmla="*/ 79 h 103"/>
                <a:gd name="T20" fmla="*/ 16 w 125"/>
                <a:gd name="T21" fmla="*/ 87 h 103"/>
                <a:gd name="T22" fmla="*/ 31 w 125"/>
                <a:gd name="T23" fmla="*/ 103 h 103"/>
                <a:gd name="T24" fmla="*/ 47 w 125"/>
                <a:gd name="T25" fmla="*/ 87 h 103"/>
                <a:gd name="T26" fmla="*/ 45 w 125"/>
                <a:gd name="T27" fmla="*/ 79 h 103"/>
                <a:gd name="T28" fmla="*/ 88 w 125"/>
                <a:gd name="T29" fmla="*/ 79 h 103"/>
                <a:gd name="T30" fmla="*/ 86 w 125"/>
                <a:gd name="T31" fmla="*/ 87 h 103"/>
                <a:gd name="T32" fmla="*/ 102 w 125"/>
                <a:gd name="T33" fmla="*/ 103 h 103"/>
                <a:gd name="T34" fmla="*/ 118 w 125"/>
                <a:gd name="T35" fmla="*/ 87 h 103"/>
                <a:gd name="T36" fmla="*/ 115 w 125"/>
                <a:gd name="T37" fmla="*/ 79 h 103"/>
                <a:gd name="T38" fmla="*/ 125 w 125"/>
                <a:gd name="T39" fmla="*/ 79 h 103"/>
                <a:gd name="T40" fmla="*/ 125 w 125"/>
                <a:gd name="T41" fmla="*/ 55 h 103"/>
                <a:gd name="T42" fmla="*/ 86 w 125"/>
                <a:gd name="T43" fmla="*/ 55 h 103"/>
                <a:gd name="T44" fmla="*/ 86 w 125"/>
                <a:gd name="T45" fmla="*/ 36 h 103"/>
                <a:gd name="T46" fmla="*/ 102 w 125"/>
                <a:gd name="T47" fmla="*/ 36 h 103"/>
                <a:gd name="T48" fmla="*/ 112 w 125"/>
                <a:gd name="T49" fmla="*/ 55 h 103"/>
                <a:gd name="T50" fmla="*/ 86 w 125"/>
                <a:gd name="T51" fmla="*/ 5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5" h="103">
                  <a:moveTo>
                    <a:pt x="125" y="55"/>
                  </a:moveTo>
                  <a:cubicBezTo>
                    <a:pt x="110" y="24"/>
                    <a:pt x="110" y="24"/>
                    <a:pt x="110" y="24"/>
                  </a:cubicBezTo>
                  <a:cubicBezTo>
                    <a:pt x="86" y="24"/>
                    <a:pt x="86" y="24"/>
                    <a:pt x="86" y="24"/>
                  </a:cubicBezTo>
                  <a:cubicBezTo>
                    <a:pt x="86" y="8"/>
                    <a:pt x="86" y="8"/>
                    <a:pt x="86" y="8"/>
                  </a:cubicBezTo>
                  <a:cubicBezTo>
                    <a:pt x="86" y="4"/>
                    <a:pt x="83" y="0"/>
                    <a:pt x="78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71"/>
                    <a:pt x="0" y="71"/>
                    <a:pt x="0" y="71"/>
                  </a:cubicBezTo>
                  <a:cubicBezTo>
                    <a:pt x="8" y="79"/>
                    <a:pt x="8" y="79"/>
                    <a:pt x="8" y="79"/>
                  </a:cubicBezTo>
                  <a:cubicBezTo>
                    <a:pt x="18" y="79"/>
                    <a:pt x="18" y="79"/>
                    <a:pt x="18" y="79"/>
                  </a:cubicBezTo>
                  <a:cubicBezTo>
                    <a:pt x="16" y="81"/>
                    <a:pt x="16" y="84"/>
                    <a:pt x="16" y="87"/>
                  </a:cubicBezTo>
                  <a:cubicBezTo>
                    <a:pt x="16" y="96"/>
                    <a:pt x="23" y="103"/>
                    <a:pt x="31" y="103"/>
                  </a:cubicBezTo>
                  <a:cubicBezTo>
                    <a:pt x="40" y="103"/>
                    <a:pt x="47" y="96"/>
                    <a:pt x="47" y="87"/>
                  </a:cubicBezTo>
                  <a:cubicBezTo>
                    <a:pt x="47" y="84"/>
                    <a:pt x="46" y="81"/>
                    <a:pt x="45" y="79"/>
                  </a:cubicBezTo>
                  <a:cubicBezTo>
                    <a:pt x="88" y="79"/>
                    <a:pt x="88" y="79"/>
                    <a:pt x="88" y="79"/>
                  </a:cubicBezTo>
                  <a:cubicBezTo>
                    <a:pt x="87" y="81"/>
                    <a:pt x="86" y="84"/>
                    <a:pt x="86" y="87"/>
                  </a:cubicBezTo>
                  <a:cubicBezTo>
                    <a:pt x="86" y="96"/>
                    <a:pt x="93" y="103"/>
                    <a:pt x="102" y="103"/>
                  </a:cubicBezTo>
                  <a:cubicBezTo>
                    <a:pt x="111" y="103"/>
                    <a:pt x="118" y="96"/>
                    <a:pt x="118" y="87"/>
                  </a:cubicBezTo>
                  <a:cubicBezTo>
                    <a:pt x="118" y="84"/>
                    <a:pt x="117" y="81"/>
                    <a:pt x="115" y="79"/>
                  </a:cubicBezTo>
                  <a:cubicBezTo>
                    <a:pt x="125" y="79"/>
                    <a:pt x="125" y="79"/>
                    <a:pt x="125" y="79"/>
                  </a:cubicBezTo>
                  <a:lnTo>
                    <a:pt x="125" y="55"/>
                  </a:lnTo>
                  <a:close/>
                  <a:moveTo>
                    <a:pt x="86" y="55"/>
                  </a:moveTo>
                  <a:cubicBezTo>
                    <a:pt x="86" y="36"/>
                    <a:pt x="86" y="36"/>
                    <a:pt x="86" y="36"/>
                  </a:cubicBezTo>
                  <a:cubicBezTo>
                    <a:pt x="102" y="36"/>
                    <a:pt x="102" y="36"/>
                    <a:pt x="102" y="36"/>
                  </a:cubicBezTo>
                  <a:cubicBezTo>
                    <a:pt x="112" y="55"/>
                    <a:pt x="112" y="55"/>
                    <a:pt x="112" y="55"/>
                  </a:cubicBezTo>
                  <a:lnTo>
                    <a:pt x="86" y="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DF713071-5F87-41F7-9CCB-665959A83881}"/>
                </a:ext>
              </a:extLst>
            </p:cNvPr>
            <p:cNvSpPr/>
            <p:nvPr/>
          </p:nvSpPr>
          <p:spPr bwMode="auto">
            <a:xfrm>
              <a:off x="9250680" y="3160718"/>
              <a:ext cx="336661" cy="336662"/>
            </a:xfrm>
            <a:custGeom>
              <a:avLst/>
              <a:gdLst>
                <a:gd name="T0" fmla="*/ 101 w 105"/>
                <a:gd name="T1" fmla="*/ 29 h 105"/>
                <a:gd name="T2" fmla="*/ 72 w 105"/>
                <a:gd name="T3" fmla="*/ 26 h 105"/>
                <a:gd name="T4" fmla="*/ 89 w 105"/>
                <a:gd name="T5" fmla="*/ 10 h 105"/>
                <a:gd name="T6" fmla="*/ 82 w 105"/>
                <a:gd name="T7" fmla="*/ 3 h 105"/>
                <a:gd name="T8" fmla="*/ 59 w 105"/>
                <a:gd name="T9" fmla="*/ 26 h 105"/>
                <a:gd name="T10" fmla="*/ 53 w 105"/>
                <a:gd name="T11" fmla="*/ 26 h 105"/>
                <a:gd name="T12" fmla="*/ 53 w 105"/>
                <a:gd name="T13" fmla="*/ 26 h 105"/>
                <a:gd name="T14" fmla="*/ 26 w 105"/>
                <a:gd name="T15" fmla="*/ 0 h 105"/>
                <a:gd name="T16" fmla="*/ 20 w 105"/>
                <a:gd name="T17" fmla="*/ 6 h 105"/>
                <a:gd name="T18" fmla="*/ 40 w 105"/>
                <a:gd name="T19" fmla="*/ 26 h 105"/>
                <a:gd name="T20" fmla="*/ 4 w 105"/>
                <a:gd name="T21" fmla="*/ 29 h 105"/>
                <a:gd name="T22" fmla="*/ 0 w 105"/>
                <a:gd name="T23" fmla="*/ 65 h 105"/>
                <a:gd name="T24" fmla="*/ 4 w 105"/>
                <a:gd name="T25" fmla="*/ 102 h 105"/>
                <a:gd name="T26" fmla="*/ 53 w 105"/>
                <a:gd name="T27" fmla="*/ 105 h 105"/>
                <a:gd name="T28" fmla="*/ 101 w 105"/>
                <a:gd name="T29" fmla="*/ 102 h 105"/>
                <a:gd name="T30" fmla="*/ 105 w 105"/>
                <a:gd name="T31" fmla="*/ 65 h 105"/>
                <a:gd name="T32" fmla="*/ 101 w 105"/>
                <a:gd name="T33" fmla="*/ 29 h 105"/>
                <a:gd name="T34" fmla="*/ 89 w 105"/>
                <a:gd name="T35" fmla="*/ 90 h 105"/>
                <a:gd name="T36" fmla="*/ 53 w 105"/>
                <a:gd name="T37" fmla="*/ 92 h 105"/>
                <a:gd name="T38" fmla="*/ 16 w 105"/>
                <a:gd name="T39" fmla="*/ 90 h 105"/>
                <a:gd name="T40" fmla="*/ 13 w 105"/>
                <a:gd name="T41" fmla="*/ 65 h 105"/>
                <a:gd name="T42" fmla="*/ 16 w 105"/>
                <a:gd name="T43" fmla="*/ 41 h 105"/>
                <a:gd name="T44" fmla="*/ 53 w 105"/>
                <a:gd name="T45" fmla="*/ 39 h 105"/>
                <a:gd name="T46" fmla="*/ 89 w 105"/>
                <a:gd name="T47" fmla="*/ 41 h 105"/>
                <a:gd name="T48" fmla="*/ 92 w 105"/>
                <a:gd name="T49" fmla="*/ 65 h 105"/>
                <a:gd name="T50" fmla="*/ 89 w 105"/>
                <a:gd name="T51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5">
                  <a:moveTo>
                    <a:pt x="101" y="29"/>
                  </a:moveTo>
                  <a:cubicBezTo>
                    <a:pt x="92" y="28"/>
                    <a:pt x="82" y="27"/>
                    <a:pt x="72" y="26"/>
                  </a:cubicBezTo>
                  <a:cubicBezTo>
                    <a:pt x="89" y="10"/>
                    <a:pt x="89" y="10"/>
                    <a:pt x="89" y="10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7" y="26"/>
                    <a:pt x="55" y="26"/>
                    <a:pt x="53" y="26"/>
                  </a:cubicBezTo>
                  <a:cubicBezTo>
                    <a:pt x="53" y="26"/>
                    <a:pt x="53" y="26"/>
                    <a:pt x="53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20" y="6"/>
                    <a:pt x="20" y="6"/>
                    <a:pt x="20" y="6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27" y="27"/>
                    <a:pt x="15" y="28"/>
                    <a:pt x="4" y="29"/>
                  </a:cubicBezTo>
                  <a:cubicBezTo>
                    <a:pt x="2" y="40"/>
                    <a:pt x="0" y="53"/>
                    <a:pt x="0" y="65"/>
                  </a:cubicBezTo>
                  <a:cubicBezTo>
                    <a:pt x="0" y="78"/>
                    <a:pt x="2" y="91"/>
                    <a:pt x="4" y="102"/>
                  </a:cubicBezTo>
                  <a:cubicBezTo>
                    <a:pt x="19" y="104"/>
                    <a:pt x="35" y="105"/>
                    <a:pt x="53" y="105"/>
                  </a:cubicBezTo>
                  <a:cubicBezTo>
                    <a:pt x="70" y="105"/>
                    <a:pt x="86" y="104"/>
                    <a:pt x="101" y="102"/>
                  </a:cubicBezTo>
                  <a:cubicBezTo>
                    <a:pt x="104" y="91"/>
                    <a:pt x="105" y="78"/>
                    <a:pt x="105" y="65"/>
                  </a:cubicBezTo>
                  <a:cubicBezTo>
                    <a:pt x="105" y="53"/>
                    <a:pt x="104" y="40"/>
                    <a:pt x="101" y="29"/>
                  </a:cubicBezTo>
                  <a:close/>
                  <a:moveTo>
                    <a:pt x="89" y="90"/>
                  </a:moveTo>
                  <a:cubicBezTo>
                    <a:pt x="78" y="91"/>
                    <a:pt x="65" y="92"/>
                    <a:pt x="53" y="92"/>
                  </a:cubicBezTo>
                  <a:cubicBezTo>
                    <a:pt x="40" y="92"/>
                    <a:pt x="27" y="91"/>
                    <a:pt x="16" y="90"/>
                  </a:cubicBezTo>
                  <a:cubicBezTo>
                    <a:pt x="14" y="82"/>
                    <a:pt x="13" y="74"/>
                    <a:pt x="13" y="65"/>
                  </a:cubicBezTo>
                  <a:cubicBezTo>
                    <a:pt x="13" y="57"/>
                    <a:pt x="14" y="49"/>
                    <a:pt x="16" y="41"/>
                  </a:cubicBezTo>
                  <a:cubicBezTo>
                    <a:pt x="27" y="40"/>
                    <a:pt x="40" y="39"/>
                    <a:pt x="53" y="39"/>
                  </a:cubicBezTo>
                  <a:cubicBezTo>
                    <a:pt x="65" y="39"/>
                    <a:pt x="78" y="40"/>
                    <a:pt x="89" y="41"/>
                  </a:cubicBezTo>
                  <a:cubicBezTo>
                    <a:pt x="91" y="49"/>
                    <a:pt x="92" y="57"/>
                    <a:pt x="92" y="65"/>
                  </a:cubicBezTo>
                  <a:cubicBezTo>
                    <a:pt x="92" y="74"/>
                    <a:pt x="91" y="82"/>
                    <a:pt x="89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9" name="任意多边形: 形状 118">
              <a:extLst>
                <a:ext uri="{FF2B5EF4-FFF2-40B4-BE49-F238E27FC236}">
                  <a16:creationId xmlns:a16="http://schemas.microsoft.com/office/drawing/2014/main" id="{300C0DEE-25B6-4C79-8601-B527EB44F898}"/>
                </a:ext>
              </a:extLst>
            </p:cNvPr>
            <p:cNvSpPr/>
            <p:nvPr/>
          </p:nvSpPr>
          <p:spPr bwMode="auto">
            <a:xfrm>
              <a:off x="9274168" y="2775125"/>
              <a:ext cx="428657" cy="348404"/>
            </a:xfrm>
            <a:custGeom>
              <a:avLst/>
              <a:gdLst>
                <a:gd name="T0" fmla="*/ 134 w 134"/>
                <a:gd name="T1" fmla="*/ 13 h 109"/>
                <a:gd name="T2" fmla="*/ 118 w 134"/>
                <a:gd name="T3" fmla="*/ 17 h 109"/>
                <a:gd name="T4" fmla="*/ 130 w 134"/>
                <a:gd name="T5" fmla="*/ 2 h 109"/>
                <a:gd name="T6" fmla="*/ 113 w 134"/>
                <a:gd name="T7" fmla="*/ 9 h 109"/>
                <a:gd name="T8" fmla="*/ 93 w 134"/>
                <a:gd name="T9" fmla="*/ 0 h 109"/>
                <a:gd name="T10" fmla="*/ 65 w 134"/>
                <a:gd name="T11" fmla="*/ 28 h 109"/>
                <a:gd name="T12" fmla="*/ 66 w 134"/>
                <a:gd name="T13" fmla="*/ 34 h 109"/>
                <a:gd name="T14" fmla="*/ 10 w 134"/>
                <a:gd name="T15" fmla="*/ 5 h 109"/>
                <a:gd name="T16" fmla="*/ 6 w 134"/>
                <a:gd name="T17" fmla="*/ 19 h 109"/>
                <a:gd name="T18" fmla="*/ 18 w 134"/>
                <a:gd name="T19" fmla="*/ 42 h 109"/>
                <a:gd name="T20" fmla="*/ 6 w 134"/>
                <a:gd name="T21" fmla="*/ 38 h 109"/>
                <a:gd name="T22" fmla="*/ 6 w 134"/>
                <a:gd name="T23" fmla="*/ 39 h 109"/>
                <a:gd name="T24" fmla="*/ 28 w 134"/>
                <a:gd name="T25" fmla="*/ 66 h 109"/>
                <a:gd name="T26" fmla="*/ 20 w 134"/>
                <a:gd name="T27" fmla="*/ 67 h 109"/>
                <a:gd name="T28" fmla="*/ 15 w 134"/>
                <a:gd name="T29" fmla="*/ 66 h 109"/>
                <a:gd name="T30" fmla="*/ 41 w 134"/>
                <a:gd name="T31" fmla="*/ 85 h 109"/>
                <a:gd name="T32" fmla="*/ 7 w 134"/>
                <a:gd name="T33" fmla="*/ 97 h 109"/>
                <a:gd name="T34" fmla="*/ 0 w 134"/>
                <a:gd name="T35" fmla="*/ 96 h 109"/>
                <a:gd name="T36" fmla="*/ 42 w 134"/>
                <a:gd name="T37" fmla="*/ 109 h 109"/>
                <a:gd name="T38" fmla="*/ 120 w 134"/>
                <a:gd name="T39" fmla="*/ 31 h 109"/>
                <a:gd name="T40" fmla="*/ 120 w 134"/>
                <a:gd name="T41" fmla="*/ 27 h 109"/>
                <a:gd name="T42" fmla="*/ 134 w 134"/>
                <a:gd name="T43" fmla="*/ 13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109">
                  <a:moveTo>
                    <a:pt x="134" y="13"/>
                  </a:moveTo>
                  <a:cubicBezTo>
                    <a:pt x="129" y="15"/>
                    <a:pt x="124" y="17"/>
                    <a:pt x="118" y="17"/>
                  </a:cubicBezTo>
                  <a:cubicBezTo>
                    <a:pt x="124" y="14"/>
                    <a:pt x="128" y="9"/>
                    <a:pt x="130" y="2"/>
                  </a:cubicBezTo>
                  <a:cubicBezTo>
                    <a:pt x="125" y="5"/>
                    <a:pt x="119" y="8"/>
                    <a:pt x="113" y="9"/>
                  </a:cubicBezTo>
                  <a:cubicBezTo>
                    <a:pt x="108" y="3"/>
                    <a:pt x="101" y="0"/>
                    <a:pt x="93" y="0"/>
                  </a:cubicBezTo>
                  <a:cubicBezTo>
                    <a:pt x="78" y="0"/>
                    <a:pt x="65" y="12"/>
                    <a:pt x="65" y="28"/>
                  </a:cubicBezTo>
                  <a:cubicBezTo>
                    <a:pt x="65" y="30"/>
                    <a:pt x="66" y="32"/>
                    <a:pt x="66" y="34"/>
                  </a:cubicBezTo>
                  <a:cubicBezTo>
                    <a:pt x="43" y="33"/>
                    <a:pt x="23" y="22"/>
                    <a:pt x="10" y="5"/>
                  </a:cubicBezTo>
                  <a:cubicBezTo>
                    <a:pt x="7" y="9"/>
                    <a:pt x="6" y="14"/>
                    <a:pt x="6" y="19"/>
                  </a:cubicBezTo>
                  <a:cubicBezTo>
                    <a:pt x="6" y="28"/>
                    <a:pt x="11" y="37"/>
                    <a:pt x="18" y="42"/>
                  </a:cubicBezTo>
                  <a:cubicBezTo>
                    <a:pt x="14" y="42"/>
                    <a:pt x="9" y="40"/>
                    <a:pt x="6" y="38"/>
                  </a:cubicBezTo>
                  <a:cubicBezTo>
                    <a:pt x="6" y="38"/>
                    <a:pt x="6" y="39"/>
                    <a:pt x="6" y="39"/>
                  </a:cubicBezTo>
                  <a:cubicBezTo>
                    <a:pt x="6" y="52"/>
                    <a:pt x="15" y="63"/>
                    <a:pt x="28" y="66"/>
                  </a:cubicBezTo>
                  <a:cubicBezTo>
                    <a:pt x="25" y="66"/>
                    <a:pt x="23" y="67"/>
                    <a:pt x="20" y="67"/>
                  </a:cubicBezTo>
                  <a:cubicBezTo>
                    <a:pt x="19" y="67"/>
                    <a:pt x="17" y="66"/>
                    <a:pt x="15" y="66"/>
                  </a:cubicBezTo>
                  <a:cubicBezTo>
                    <a:pt x="19" y="77"/>
                    <a:pt x="29" y="85"/>
                    <a:pt x="41" y="85"/>
                  </a:cubicBezTo>
                  <a:cubicBezTo>
                    <a:pt x="31" y="92"/>
                    <a:pt x="20" y="97"/>
                    <a:pt x="7" y="97"/>
                  </a:cubicBezTo>
                  <a:cubicBezTo>
                    <a:pt x="5" y="97"/>
                    <a:pt x="2" y="97"/>
                    <a:pt x="0" y="96"/>
                  </a:cubicBezTo>
                  <a:cubicBezTo>
                    <a:pt x="12" y="104"/>
                    <a:pt x="27" y="109"/>
                    <a:pt x="42" y="109"/>
                  </a:cubicBezTo>
                  <a:cubicBezTo>
                    <a:pt x="93" y="109"/>
                    <a:pt x="120" y="67"/>
                    <a:pt x="120" y="31"/>
                  </a:cubicBezTo>
                  <a:cubicBezTo>
                    <a:pt x="120" y="30"/>
                    <a:pt x="120" y="28"/>
                    <a:pt x="120" y="27"/>
                  </a:cubicBezTo>
                  <a:cubicBezTo>
                    <a:pt x="126" y="23"/>
                    <a:pt x="130" y="18"/>
                    <a:pt x="134" y="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0" name="任意多边形: 形状 119">
              <a:extLst>
                <a:ext uri="{FF2B5EF4-FFF2-40B4-BE49-F238E27FC236}">
                  <a16:creationId xmlns:a16="http://schemas.microsoft.com/office/drawing/2014/main" id="{B7A93F74-B7FC-4D90-AE67-459833A39DBE}"/>
                </a:ext>
              </a:extLst>
            </p:cNvPr>
            <p:cNvSpPr/>
            <p:nvPr/>
          </p:nvSpPr>
          <p:spPr bwMode="auto">
            <a:xfrm>
              <a:off x="9465987" y="4558254"/>
              <a:ext cx="414954" cy="391467"/>
            </a:xfrm>
            <a:custGeom>
              <a:avLst/>
              <a:gdLst>
                <a:gd name="T0" fmla="*/ 93 w 212"/>
                <a:gd name="T1" fmla="*/ 107 h 200"/>
                <a:gd name="T2" fmla="*/ 119 w 212"/>
                <a:gd name="T3" fmla="*/ 107 h 200"/>
                <a:gd name="T4" fmla="*/ 119 w 212"/>
                <a:gd name="T5" fmla="*/ 54 h 200"/>
                <a:gd name="T6" fmla="*/ 158 w 212"/>
                <a:gd name="T7" fmla="*/ 54 h 200"/>
                <a:gd name="T8" fmla="*/ 106 w 212"/>
                <a:gd name="T9" fmla="*/ 0 h 200"/>
                <a:gd name="T10" fmla="*/ 52 w 212"/>
                <a:gd name="T11" fmla="*/ 54 h 200"/>
                <a:gd name="T12" fmla="*/ 93 w 212"/>
                <a:gd name="T13" fmla="*/ 54 h 200"/>
                <a:gd name="T14" fmla="*/ 93 w 212"/>
                <a:gd name="T15" fmla="*/ 107 h 200"/>
                <a:gd name="T16" fmla="*/ 132 w 212"/>
                <a:gd name="T17" fmla="*/ 77 h 200"/>
                <a:gd name="T18" fmla="*/ 132 w 212"/>
                <a:gd name="T19" fmla="*/ 97 h 200"/>
                <a:gd name="T20" fmla="*/ 192 w 212"/>
                <a:gd name="T21" fmla="*/ 120 h 200"/>
                <a:gd name="T22" fmla="*/ 106 w 212"/>
                <a:gd name="T23" fmla="*/ 152 h 200"/>
                <a:gd name="T24" fmla="*/ 18 w 212"/>
                <a:gd name="T25" fmla="*/ 120 h 200"/>
                <a:gd name="T26" fmla="*/ 78 w 212"/>
                <a:gd name="T27" fmla="*/ 97 h 200"/>
                <a:gd name="T28" fmla="*/ 78 w 212"/>
                <a:gd name="T29" fmla="*/ 77 h 200"/>
                <a:gd name="T30" fmla="*/ 0 w 212"/>
                <a:gd name="T31" fmla="*/ 107 h 200"/>
                <a:gd name="T32" fmla="*/ 0 w 212"/>
                <a:gd name="T33" fmla="*/ 160 h 200"/>
                <a:gd name="T34" fmla="*/ 106 w 212"/>
                <a:gd name="T35" fmla="*/ 200 h 200"/>
                <a:gd name="T36" fmla="*/ 212 w 212"/>
                <a:gd name="T37" fmla="*/ 160 h 200"/>
                <a:gd name="T38" fmla="*/ 212 w 212"/>
                <a:gd name="T39" fmla="*/ 107 h 200"/>
                <a:gd name="T40" fmla="*/ 132 w 212"/>
                <a:gd name="T41" fmla="*/ 77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12" h="200">
                  <a:moveTo>
                    <a:pt x="93" y="107"/>
                  </a:moveTo>
                  <a:lnTo>
                    <a:pt x="119" y="107"/>
                  </a:lnTo>
                  <a:lnTo>
                    <a:pt x="119" y="54"/>
                  </a:lnTo>
                  <a:lnTo>
                    <a:pt x="158" y="54"/>
                  </a:lnTo>
                  <a:lnTo>
                    <a:pt x="106" y="0"/>
                  </a:lnTo>
                  <a:lnTo>
                    <a:pt x="52" y="54"/>
                  </a:lnTo>
                  <a:lnTo>
                    <a:pt x="93" y="54"/>
                  </a:lnTo>
                  <a:lnTo>
                    <a:pt x="93" y="107"/>
                  </a:lnTo>
                  <a:close/>
                  <a:moveTo>
                    <a:pt x="132" y="77"/>
                  </a:moveTo>
                  <a:lnTo>
                    <a:pt x="132" y="97"/>
                  </a:lnTo>
                  <a:lnTo>
                    <a:pt x="192" y="120"/>
                  </a:lnTo>
                  <a:lnTo>
                    <a:pt x="106" y="152"/>
                  </a:lnTo>
                  <a:lnTo>
                    <a:pt x="18" y="120"/>
                  </a:lnTo>
                  <a:lnTo>
                    <a:pt x="78" y="97"/>
                  </a:lnTo>
                  <a:lnTo>
                    <a:pt x="78" y="77"/>
                  </a:lnTo>
                  <a:lnTo>
                    <a:pt x="0" y="107"/>
                  </a:lnTo>
                  <a:lnTo>
                    <a:pt x="0" y="160"/>
                  </a:lnTo>
                  <a:lnTo>
                    <a:pt x="106" y="200"/>
                  </a:lnTo>
                  <a:lnTo>
                    <a:pt x="212" y="160"/>
                  </a:lnTo>
                  <a:lnTo>
                    <a:pt x="212" y="107"/>
                  </a:lnTo>
                  <a:lnTo>
                    <a:pt x="132" y="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8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1" name="任意多边形: 形状 120">
              <a:extLst>
                <a:ext uri="{FF2B5EF4-FFF2-40B4-BE49-F238E27FC236}">
                  <a16:creationId xmlns:a16="http://schemas.microsoft.com/office/drawing/2014/main" id="{B9B473D2-8707-412E-AC26-8A5012AE5E24}"/>
                </a:ext>
              </a:extLst>
            </p:cNvPr>
            <p:cNvSpPr/>
            <p:nvPr/>
          </p:nvSpPr>
          <p:spPr bwMode="auto">
            <a:xfrm>
              <a:off x="9446413" y="4981038"/>
              <a:ext cx="317087" cy="240751"/>
            </a:xfrm>
            <a:custGeom>
              <a:avLst/>
              <a:gdLst>
                <a:gd name="T0" fmla="*/ 37 w 99"/>
                <a:gd name="T1" fmla="*/ 16 h 75"/>
                <a:gd name="T2" fmla="*/ 53 w 99"/>
                <a:gd name="T3" fmla="*/ 31 h 75"/>
                <a:gd name="T4" fmla="*/ 68 w 99"/>
                <a:gd name="T5" fmla="*/ 16 h 75"/>
                <a:gd name="T6" fmla="*/ 53 w 99"/>
                <a:gd name="T7" fmla="*/ 0 h 75"/>
                <a:gd name="T8" fmla="*/ 37 w 99"/>
                <a:gd name="T9" fmla="*/ 16 h 75"/>
                <a:gd name="T10" fmla="*/ 0 w 99"/>
                <a:gd name="T11" fmla="*/ 16 h 75"/>
                <a:gd name="T12" fmla="*/ 16 w 99"/>
                <a:gd name="T13" fmla="*/ 31 h 75"/>
                <a:gd name="T14" fmla="*/ 31 w 99"/>
                <a:gd name="T15" fmla="*/ 16 h 75"/>
                <a:gd name="T16" fmla="*/ 16 w 99"/>
                <a:gd name="T17" fmla="*/ 0 h 75"/>
                <a:gd name="T18" fmla="*/ 0 w 99"/>
                <a:gd name="T19" fmla="*/ 16 h 75"/>
                <a:gd name="T20" fmla="*/ 74 w 99"/>
                <a:gd name="T21" fmla="*/ 47 h 75"/>
                <a:gd name="T22" fmla="*/ 74 w 99"/>
                <a:gd name="T23" fmla="*/ 37 h 75"/>
                <a:gd name="T24" fmla="*/ 68 w 99"/>
                <a:gd name="T25" fmla="*/ 31 h 75"/>
                <a:gd name="T26" fmla="*/ 53 w 99"/>
                <a:gd name="T27" fmla="*/ 31 h 75"/>
                <a:gd name="T28" fmla="*/ 16 w 99"/>
                <a:gd name="T29" fmla="*/ 31 h 75"/>
                <a:gd name="T30" fmla="*/ 6 w 99"/>
                <a:gd name="T31" fmla="*/ 31 h 75"/>
                <a:gd name="T32" fmla="*/ 0 w 99"/>
                <a:gd name="T33" fmla="*/ 37 h 75"/>
                <a:gd name="T34" fmla="*/ 0 w 99"/>
                <a:gd name="T35" fmla="*/ 68 h 75"/>
                <a:gd name="T36" fmla="*/ 6 w 99"/>
                <a:gd name="T37" fmla="*/ 75 h 75"/>
                <a:gd name="T38" fmla="*/ 68 w 99"/>
                <a:gd name="T39" fmla="*/ 75 h 75"/>
                <a:gd name="T40" fmla="*/ 74 w 99"/>
                <a:gd name="T41" fmla="*/ 68 h 75"/>
                <a:gd name="T42" fmla="*/ 74 w 99"/>
                <a:gd name="T43" fmla="*/ 59 h 75"/>
                <a:gd name="T44" fmla="*/ 99 w 99"/>
                <a:gd name="T45" fmla="*/ 75 h 75"/>
                <a:gd name="T46" fmla="*/ 99 w 99"/>
                <a:gd name="T47" fmla="*/ 31 h 75"/>
                <a:gd name="T48" fmla="*/ 74 w 99"/>
                <a:gd name="T49" fmla="*/ 47 h 75"/>
                <a:gd name="T50" fmla="*/ 62 w 99"/>
                <a:gd name="T51" fmla="*/ 62 h 75"/>
                <a:gd name="T52" fmla="*/ 13 w 99"/>
                <a:gd name="T53" fmla="*/ 62 h 75"/>
                <a:gd name="T54" fmla="*/ 13 w 99"/>
                <a:gd name="T55" fmla="*/ 44 h 75"/>
                <a:gd name="T56" fmla="*/ 62 w 99"/>
                <a:gd name="T57" fmla="*/ 44 h 75"/>
                <a:gd name="T58" fmla="*/ 62 w 99"/>
                <a:gd name="T59" fmla="*/ 62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99" h="75">
                  <a:moveTo>
                    <a:pt x="37" y="16"/>
                  </a:moveTo>
                  <a:cubicBezTo>
                    <a:pt x="37" y="24"/>
                    <a:pt x="44" y="31"/>
                    <a:pt x="53" y="31"/>
                  </a:cubicBezTo>
                  <a:cubicBezTo>
                    <a:pt x="61" y="31"/>
                    <a:pt x="68" y="24"/>
                    <a:pt x="68" y="16"/>
                  </a:cubicBezTo>
                  <a:cubicBezTo>
                    <a:pt x="68" y="7"/>
                    <a:pt x="61" y="0"/>
                    <a:pt x="53" y="0"/>
                  </a:cubicBezTo>
                  <a:cubicBezTo>
                    <a:pt x="44" y="0"/>
                    <a:pt x="37" y="7"/>
                    <a:pt x="37" y="16"/>
                  </a:cubicBezTo>
                  <a:close/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1" y="24"/>
                    <a:pt x="31" y="16"/>
                  </a:cubicBezTo>
                  <a:cubicBezTo>
                    <a:pt x="31" y="7"/>
                    <a:pt x="24" y="0"/>
                    <a:pt x="16" y="0"/>
                  </a:cubicBezTo>
                  <a:cubicBezTo>
                    <a:pt x="7" y="0"/>
                    <a:pt x="0" y="7"/>
                    <a:pt x="0" y="16"/>
                  </a:cubicBezTo>
                  <a:close/>
                  <a:moveTo>
                    <a:pt x="74" y="47"/>
                  </a:moveTo>
                  <a:cubicBezTo>
                    <a:pt x="74" y="37"/>
                    <a:pt x="74" y="37"/>
                    <a:pt x="74" y="37"/>
                  </a:cubicBezTo>
                  <a:cubicBezTo>
                    <a:pt x="74" y="34"/>
                    <a:pt x="72" y="31"/>
                    <a:pt x="68" y="31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16" y="31"/>
                    <a:pt x="16" y="31"/>
                    <a:pt x="16" y="31"/>
                  </a:cubicBezTo>
                  <a:cubicBezTo>
                    <a:pt x="6" y="31"/>
                    <a:pt x="6" y="31"/>
                    <a:pt x="6" y="31"/>
                  </a:cubicBezTo>
                  <a:cubicBezTo>
                    <a:pt x="3" y="31"/>
                    <a:pt x="0" y="34"/>
                    <a:pt x="0" y="37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72"/>
                    <a:pt x="3" y="75"/>
                    <a:pt x="6" y="75"/>
                  </a:cubicBezTo>
                  <a:cubicBezTo>
                    <a:pt x="68" y="75"/>
                    <a:pt x="68" y="75"/>
                    <a:pt x="68" y="75"/>
                  </a:cubicBezTo>
                  <a:cubicBezTo>
                    <a:pt x="72" y="75"/>
                    <a:pt x="74" y="72"/>
                    <a:pt x="74" y="68"/>
                  </a:cubicBezTo>
                  <a:cubicBezTo>
                    <a:pt x="74" y="59"/>
                    <a:pt x="74" y="59"/>
                    <a:pt x="74" y="59"/>
                  </a:cubicBezTo>
                  <a:cubicBezTo>
                    <a:pt x="99" y="75"/>
                    <a:pt x="99" y="75"/>
                    <a:pt x="99" y="75"/>
                  </a:cubicBezTo>
                  <a:cubicBezTo>
                    <a:pt x="99" y="31"/>
                    <a:pt x="99" y="31"/>
                    <a:pt x="99" y="31"/>
                  </a:cubicBezTo>
                  <a:lnTo>
                    <a:pt x="74" y="47"/>
                  </a:lnTo>
                  <a:close/>
                  <a:moveTo>
                    <a:pt x="62" y="62"/>
                  </a:moveTo>
                  <a:cubicBezTo>
                    <a:pt x="13" y="62"/>
                    <a:pt x="13" y="62"/>
                    <a:pt x="13" y="62"/>
                  </a:cubicBezTo>
                  <a:cubicBezTo>
                    <a:pt x="13" y="44"/>
                    <a:pt x="13" y="44"/>
                    <a:pt x="13" y="44"/>
                  </a:cubicBezTo>
                  <a:cubicBezTo>
                    <a:pt x="62" y="44"/>
                    <a:pt x="62" y="44"/>
                    <a:pt x="62" y="44"/>
                  </a:cubicBezTo>
                  <a:lnTo>
                    <a:pt x="62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2" name="任意多边形: 形状 121">
              <a:extLst>
                <a:ext uri="{FF2B5EF4-FFF2-40B4-BE49-F238E27FC236}">
                  <a16:creationId xmlns:a16="http://schemas.microsoft.com/office/drawing/2014/main" id="{6D0B011F-D76B-4B2C-BC00-12D607E27136}"/>
                </a:ext>
              </a:extLst>
            </p:cNvPr>
            <p:cNvSpPr/>
            <p:nvPr/>
          </p:nvSpPr>
          <p:spPr bwMode="auto">
            <a:xfrm>
              <a:off x="9372034" y="4200063"/>
              <a:ext cx="336661" cy="340575"/>
            </a:xfrm>
            <a:custGeom>
              <a:avLst/>
              <a:gdLst>
                <a:gd name="T0" fmla="*/ 53 w 105"/>
                <a:gd name="T1" fmla="*/ 0 h 106"/>
                <a:gd name="T2" fmla="*/ 0 w 105"/>
                <a:gd name="T3" fmla="*/ 53 h 106"/>
                <a:gd name="T4" fmla="*/ 53 w 105"/>
                <a:gd name="T5" fmla="*/ 106 h 106"/>
                <a:gd name="T6" fmla="*/ 105 w 105"/>
                <a:gd name="T7" fmla="*/ 53 h 106"/>
                <a:gd name="T8" fmla="*/ 53 w 105"/>
                <a:gd name="T9" fmla="*/ 0 h 106"/>
                <a:gd name="T10" fmla="*/ 84 w 105"/>
                <a:gd name="T11" fmla="*/ 45 h 106"/>
                <a:gd name="T12" fmla="*/ 55 w 105"/>
                <a:gd name="T13" fmla="*/ 85 h 106"/>
                <a:gd name="T14" fmla="*/ 41 w 105"/>
                <a:gd name="T15" fmla="*/ 80 h 106"/>
                <a:gd name="T16" fmla="*/ 31 w 105"/>
                <a:gd name="T17" fmla="*/ 48 h 106"/>
                <a:gd name="T18" fmla="*/ 24 w 105"/>
                <a:gd name="T19" fmla="*/ 50 h 106"/>
                <a:gd name="T20" fmla="*/ 21 w 105"/>
                <a:gd name="T21" fmla="*/ 47 h 106"/>
                <a:gd name="T22" fmla="*/ 40 w 105"/>
                <a:gd name="T23" fmla="*/ 33 h 106"/>
                <a:gd name="T24" fmla="*/ 51 w 105"/>
                <a:gd name="T25" fmla="*/ 54 h 106"/>
                <a:gd name="T26" fmla="*/ 56 w 105"/>
                <a:gd name="T27" fmla="*/ 67 h 106"/>
                <a:gd name="T28" fmla="*/ 64 w 105"/>
                <a:gd name="T29" fmla="*/ 55 h 106"/>
                <a:gd name="T30" fmla="*/ 57 w 105"/>
                <a:gd name="T31" fmla="*/ 47 h 106"/>
                <a:gd name="T32" fmla="*/ 84 w 105"/>
                <a:gd name="T33" fmla="*/ 45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5" h="106">
                  <a:moveTo>
                    <a:pt x="53" y="0"/>
                  </a:moveTo>
                  <a:cubicBezTo>
                    <a:pt x="23" y="0"/>
                    <a:pt x="0" y="24"/>
                    <a:pt x="0" y="53"/>
                  </a:cubicBezTo>
                  <a:cubicBezTo>
                    <a:pt x="0" y="82"/>
                    <a:pt x="23" y="106"/>
                    <a:pt x="53" y="106"/>
                  </a:cubicBezTo>
                  <a:cubicBezTo>
                    <a:pt x="82" y="106"/>
                    <a:pt x="105" y="82"/>
                    <a:pt x="105" y="53"/>
                  </a:cubicBezTo>
                  <a:cubicBezTo>
                    <a:pt x="105" y="24"/>
                    <a:pt x="82" y="0"/>
                    <a:pt x="53" y="0"/>
                  </a:cubicBezTo>
                  <a:close/>
                  <a:moveTo>
                    <a:pt x="84" y="45"/>
                  </a:moveTo>
                  <a:cubicBezTo>
                    <a:pt x="80" y="65"/>
                    <a:pt x="61" y="82"/>
                    <a:pt x="55" y="85"/>
                  </a:cubicBezTo>
                  <a:cubicBezTo>
                    <a:pt x="49" y="89"/>
                    <a:pt x="43" y="84"/>
                    <a:pt x="41" y="80"/>
                  </a:cubicBezTo>
                  <a:cubicBezTo>
                    <a:pt x="39" y="75"/>
                    <a:pt x="33" y="50"/>
                    <a:pt x="31" y="48"/>
                  </a:cubicBezTo>
                  <a:cubicBezTo>
                    <a:pt x="29" y="46"/>
                    <a:pt x="24" y="50"/>
                    <a:pt x="24" y="50"/>
                  </a:cubicBezTo>
                  <a:cubicBezTo>
                    <a:pt x="21" y="47"/>
                    <a:pt x="21" y="47"/>
                    <a:pt x="21" y="47"/>
                  </a:cubicBezTo>
                  <a:cubicBezTo>
                    <a:pt x="21" y="47"/>
                    <a:pt x="32" y="34"/>
                    <a:pt x="40" y="33"/>
                  </a:cubicBezTo>
                  <a:cubicBezTo>
                    <a:pt x="49" y="31"/>
                    <a:pt x="49" y="46"/>
                    <a:pt x="51" y="54"/>
                  </a:cubicBezTo>
                  <a:cubicBezTo>
                    <a:pt x="53" y="62"/>
                    <a:pt x="54" y="67"/>
                    <a:pt x="56" y="67"/>
                  </a:cubicBezTo>
                  <a:cubicBezTo>
                    <a:pt x="58" y="67"/>
                    <a:pt x="61" y="62"/>
                    <a:pt x="64" y="55"/>
                  </a:cubicBezTo>
                  <a:cubicBezTo>
                    <a:pt x="68" y="49"/>
                    <a:pt x="64" y="43"/>
                    <a:pt x="57" y="47"/>
                  </a:cubicBezTo>
                  <a:cubicBezTo>
                    <a:pt x="60" y="30"/>
                    <a:pt x="87" y="26"/>
                    <a:pt x="84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3" name="任意多边形: 形状 122">
              <a:extLst>
                <a:ext uri="{FF2B5EF4-FFF2-40B4-BE49-F238E27FC236}">
                  <a16:creationId xmlns:a16="http://schemas.microsoft.com/office/drawing/2014/main" id="{83A948C0-2DF2-47C4-9164-8ADBBF8E0AE7}"/>
                </a:ext>
              </a:extLst>
            </p:cNvPr>
            <p:cNvSpPr/>
            <p:nvPr/>
          </p:nvSpPr>
          <p:spPr bwMode="auto">
            <a:xfrm>
              <a:off x="9266339" y="3900591"/>
              <a:ext cx="326874" cy="277942"/>
            </a:xfrm>
            <a:custGeom>
              <a:avLst/>
              <a:gdLst>
                <a:gd name="T0" fmla="*/ 84 w 102"/>
                <a:gd name="T1" fmla="*/ 82 h 87"/>
                <a:gd name="T2" fmla="*/ 81 w 102"/>
                <a:gd name="T3" fmla="*/ 81 h 87"/>
                <a:gd name="T4" fmla="*/ 81 w 102"/>
                <a:gd name="T5" fmla="*/ 74 h 87"/>
                <a:gd name="T6" fmla="*/ 93 w 102"/>
                <a:gd name="T7" fmla="*/ 44 h 87"/>
                <a:gd name="T8" fmla="*/ 81 w 102"/>
                <a:gd name="T9" fmla="*/ 13 h 87"/>
                <a:gd name="T10" fmla="*/ 81 w 102"/>
                <a:gd name="T11" fmla="*/ 6 h 87"/>
                <a:gd name="T12" fmla="*/ 87 w 102"/>
                <a:gd name="T13" fmla="*/ 6 h 87"/>
                <a:gd name="T14" fmla="*/ 102 w 102"/>
                <a:gd name="T15" fmla="*/ 44 h 87"/>
                <a:gd name="T16" fmla="*/ 87 w 102"/>
                <a:gd name="T17" fmla="*/ 81 h 87"/>
                <a:gd name="T18" fmla="*/ 84 w 102"/>
                <a:gd name="T19" fmla="*/ 82 h 87"/>
                <a:gd name="T20" fmla="*/ 68 w 102"/>
                <a:gd name="T21" fmla="*/ 74 h 87"/>
                <a:gd name="T22" fmla="*/ 65 w 102"/>
                <a:gd name="T23" fmla="*/ 72 h 87"/>
                <a:gd name="T24" fmla="*/ 65 w 102"/>
                <a:gd name="T25" fmla="*/ 66 h 87"/>
                <a:gd name="T26" fmla="*/ 65 w 102"/>
                <a:gd name="T27" fmla="*/ 21 h 87"/>
                <a:gd name="T28" fmla="*/ 65 w 102"/>
                <a:gd name="T29" fmla="*/ 15 h 87"/>
                <a:gd name="T30" fmla="*/ 71 w 102"/>
                <a:gd name="T31" fmla="*/ 15 h 87"/>
                <a:gd name="T32" fmla="*/ 83 w 102"/>
                <a:gd name="T33" fmla="*/ 44 h 87"/>
                <a:gd name="T34" fmla="*/ 71 w 102"/>
                <a:gd name="T35" fmla="*/ 72 h 87"/>
                <a:gd name="T36" fmla="*/ 68 w 102"/>
                <a:gd name="T37" fmla="*/ 74 h 87"/>
                <a:gd name="T38" fmla="*/ 52 w 102"/>
                <a:gd name="T39" fmla="*/ 65 h 87"/>
                <a:gd name="T40" fmla="*/ 49 w 102"/>
                <a:gd name="T41" fmla="*/ 64 h 87"/>
                <a:gd name="T42" fmla="*/ 49 w 102"/>
                <a:gd name="T43" fmla="*/ 57 h 87"/>
                <a:gd name="T44" fmla="*/ 49 w 102"/>
                <a:gd name="T45" fmla="*/ 30 h 87"/>
                <a:gd name="T46" fmla="*/ 49 w 102"/>
                <a:gd name="T47" fmla="*/ 23 h 87"/>
                <a:gd name="T48" fmla="*/ 55 w 102"/>
                <a:gd name="T49" fmla="*/ 23 h 87"/>
                <a:gd name="T50" fmla="*/ 55 w 102"/>
                <a:gd name="T51" fmla="*/ 64 h 87"/>
                <a:gd name="T52" fmla="*/ 52 w 102"/>
                <a:gd name="T53" fmla="*/ 65 h 87"/>
                <a:gd name="T54" fmla="*/ 38 w 102"/>
                <a:gd name="T55" fmla="*/ 3 h 87"/>
                <a:gd name="T56" fmla="*/ 42 w 102"/>
                <a:gd name="T57" fmla="*/ 5 h 87"/>
                <a:gd name="T58" fmla="*/ 42 w 102"/>
                <a:gd name="T59" fmla="*/ 82 h 87"/>
                <a:gd name="T60" fmla="*/ 38 w 102"/>
                <a:gd name="T61" fmla="*/ 84 h 87"/>
                <a:gd name="T62" fmla="*/ 15 w 102"/>
                <a:gd name="T63" fmla="*/ 62 h 87"/>
                <a:gd name="T64" fmla="*/ 0 w 102"/>
                <a:gd name="T65" fmla="*/ 62 h 87"/>
                <a:gd name="T66" fmla="*/ 0 w 102"/>
                <a:gd name="T67" fmla="*/ 25 h 87"/>
                <a:gd name="T68" fmla="*/ 15 w 102"/>
                <a:gd name="T69" fmla="*/ 25 h 87"/>
                <a:gd name="T70" fmla="*/ 38 w 102"/>
                <a:gd name="T71" fmla="*/ 3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02" h="87">
                  <a:moveTo>
                    <a:pt x="84" y="82"/>
                  </a:moveTo>
                  <a:cubicBezTo>
                    <a:pt x="83" y="82"/>
                    <a:pt x="81" y="82"/>
                    <a:pt x="81" y="81"/>
                  </a:cubicBezTo>
                  <a:cubicBezTo>
                    <a:pt x="79" y="79"/>
                    <a:pt x="79" y="76"/>
                    <a:pt x="81" y="74"/>
                  </a:cubicBezTo>
                  <a:cubicBezTo>
                    <a:pt x="89" y="66"/>
                    <a:pt x="93" y="55"/>
                    <a:pt x="93" y="44"/>
                  </a:cubicBezTo>
                  <a:cubicBezTo>
                    <a:pt x="93" y="32"/>
                    <a:pt x="89" y="21"/>
                    <a:pt x="81" y="13"/>
                  </a:cubicBezTo>
                  <a:cubicBezTo>
                    <a:pt x="79" y="11"/>
                    <a:pt x="79" y="8"/>
                    <a:pt x="81" y="6"/>
                  </a:cubicBezTo>
                  <a:cubicBezTo>
                    <a:pt x="82" y="4"/>
                    <a:pt x="85" y="4"/>
                    <a:pt x="87" y="6"/>
                  </a:cubicBezTo>
                  <a:cubicBezTo>
                    <a:pt x="97" y="16"/>
                    <a:pt x="102" y="29"/>
                    <a:pt x="102" y="44"/>
                  </a:cubicBezTo>
                  <a:cubicBezTo>
                    <a:pt x="102" y="58"/>
                    <a:pt x="97" y="71"/>
                    <a:pt x="87" y="81"/>
                  </a:cubicBezTo>
                  <a:cubicBezTo>
                    <a:pt x="86" y="82"/>
                    <a:pt x="85" y="82"/>
                    <a:pt x="84" y="82"/>
                  </a:cubicBezTo>
                  <a:close/>
                  <a:moveTo>
                    <a:pt x="68" y="74"/>
                  </a:moveTo>
                  <a:cubicBezTo>
                    <a:pt x="67" y="74"/>
                    <a:pt x="65" y="73"/>
                    <a:pt x="65" y="72"/>
                  </a:cubicBezTo>
                  <a:cubicBezTo>
                    <a:pt x="63" y="70"/>
                    <a:pt x="63" y="68"/>
                    <a:pt x="65" y="66"/>
                  </a:cubicBezTo>
                  <a:cubicBezTo>
                    <a:pt x="77" y="54"/>
                    <a:pt x="77" y="33"/>
                    <a:pt x="65" y="21"/>
                  </a:cubicBezTo>
                  <a:cubicBezTo>
                    <a:pt x="63" y="19"/>
                    <a:pt x="63" y="17"/>
                    <a:pt x="65" y="15"/>
                  </a:cubicBezTo>
                  <a:cubicBezTo>
                    <a:pt x="66" y="13"/>
                    <a:pt x="69" y="13"/>
                    <a:pt x="71" y="15"/>
                  </a:cubicBezTo>
                  <a:cubicBezTo>
                    <a:pt x="79" y="22"/>
                    <a:pt x="83" y="33"/>
                    <a:pt x="83" y="44"/>
                  </a:cubicBezTo>
                  <a:cubicBezTo>
                    <a:pt x="83" y="54"/>
                    <a:pt x="79" y="65"/>
                    <a:pt x="71" y="72"/>
                  </a:cubicBezTo>
                  <a:cubicBezTo>
                    <a:pt x="70" y="73"/>
                    <a:pt x="69" y="74"/>
                    <a:pt x="68" y="74"/>
                  </a:cubicBezTo>
                  <a:close/>
                  <a:moveTo>
                    <a:pt x="52" y="65"/>
                  </a:moveTo>
                  <a:cubicBezTo>
                    <a:pt x="51" y="65"/>
                    <a:pt x="49" y="65"/>
                    <a:pt x="49" y="64"/>
                  </a:cubicBezTo>
                  <a:cubicBezTo>
                    <a:pt x="47" y="62"/>
                    <a:pt x="47" y="59"/>
                    <a:pt x="49" y="57"/>
                  </a:cubicBezTo>
                  <a:cubicBezTo>
                    <a:pt x="56" y="50"/>
                    <a:pt x="56" y="37"/>
                    <a:pt x="49" y="30"/>
                  </a:cubicBezTo>
                  <a:cubicBezTo>
                    <a:pt x="47" y="28"/>
                    <a:pt x="47" y="25"/>
                    <a:pt x="49" y="23"/>
                  </a:cubicBezTo>
                  <a:cubicBezTo>
                    <a:pt x="50" y="22"/>
                    <a:pt x="53" y="22"/>
                    <a:pt x="55" y="23"/>
                  </a:cubicBezTo>
                  <a:cubicBezTo>
                    <a:pt x="66" y="34"/>
                    <a:pt x="66" y="53"/>
                    <a:pt x="55" y="64"/>
                  </a:cubicBezTo>
                  <a:cubicBezTo>
                    <a:pt x="54" y="65"/>
                    <a:pt x="53" y="65"/>
                    <a:pt x="52" y="65"/>
                  </a:cubicBezTo>
                  <a:close/>
                  <a:moveTo>
                    <a:pt x="38" y="3"/>
                  </a:moveTo>
                  <a:cubicBezTo>
                    <a:pt x="40" y="0"/>
                    <a:pt x="42" y="1"/>
                    <a:pt x="42" y="5"/>
                  </a:cubicBezTo>
                  <a:cubicBezTo>
                    <a:pt x="42" y="82"/>
                    <a:pt x="42" y="82"/>
                    <a:pt x="42" y="82"/>
                  </a:cubicBezTo>
                  <a:cubicBezTo>
                    <a:pt x="42" y="86"/>
                    <a:pt x="40" y="87"/>
                    <a:pt x="38" y="84"/>
                  </a:cubicBezTo>
                  <a:cubicBezTo>
                    <a:pt x="15" y="62"/>
                    <a:pt x="15" y="62"/>
                    <a:pt x="15" y="62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5" y="25"/>
                    <a:pt x="15" y="25"/>
                    <a:pt x="15" y="25"/>
                  </a:cubicBezTo>
                  <a:lnTo>
                    <a:pt x="38" y="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4" name="任意多边形: 形状 123">
              <a:extLst>
                <a:ext uri="{FF2B5EF4-FFF2-40B4-BE49-F238E27FC236}">
                  <a16:creationId xmlns:a16="http://schemas.microsoft.com/office/drawing/2014/main" id="{D6CF85A3-8797-47D3-8114-4CB3C4DB785A}"/>
                </a:ext>
              </a:extLst>
            </p:cNvPr>
            <p:cNvSpPr/>
            <p:nvPr/>
          </p:nvSpPr>
          <p:spPr bwMode="auto">
            <a:xfrm>
              <a:off x="8986440" y="3544356"/>
              <a:ext cx="369936" cy="326873"/>
            </a:xfrm>
            <a:custGeom>
              <a:avLst/>
              <a:gdLst>
                <a:gd name="T0" fmla="*/ 124 w 189"/>
                <a:gd name="T1" fmla="*/ 23 h 167"/>
                <a:gd name="T2" fmla="*/ 65 w 189"/>
                <a:gd name="T3" fmla="*/ 0 h 167"/>
                <a:gd name="T4" fmla="*/ 0 w 189"/>
                <a:gd name="T5" fmla="*/ 23 h 167"/>
                <a:gd name="T6" fmla="*/ 0 w 189"/>
                <a:gd name="T7" fmla="*/ 167 h 167"/>
                <a:gd name="T8" fmla="*/ 65 w 189"/>
                <a:gd name="T9" fmla="*/ 142 h 167"/>
                <a:gd name="T10" fmla="*/ 124 w 189"/>
                <a:gd name="T11" fmla="*/ 167 h 167"/>
                <a:gd name="T12" fmla="*/ 189 w 189"/>
                <a:gd name="T13" fmla="*/ 142 h 167"/>
                <a:gd name="T14" fmla="*/ 189 w 189"/>
                <a:gd name="T15" fmla="*/ 0 h 167"/>
                <a:gd name="T16" fmla="*/ 124 w 189"/>
                <a:gd name="T17" fmla="*/ 23 h 167"/>
                <a:gd name="T18" fmla="*/ 70 w 189"/>
                <a:gd name="T19" fmla="*/ 15 h 167"/>
                <a:gd name="T20" fmla="*/ 119 w 189"/>
                <a:gd name="T21" fmla="*/ 35 h 167"/>
                <a:gd name="T22" fmla="*/ 119 w 189"/>
                <a:gd name="T23" fmla="*/ 152 h 167"/>
                <a:gd name="T24" fmla="*/ 70 w 189"/>
                <a:gd name="T25" fmla="*/ 133 h 167"/>
                <a:gd name="T26" fmla="*/ 70 w 189"/>
                <a:gd name="T27" fmla="*/ 15 h 167"/>
                <a:gd name="T28" fmla="*/ 11 w 189"/>
                <a:gd name="T29" fmla="*/ 31 h 167"/>
                <a:gd name="T30" fmla="*/ 58 w 189"/>
                <a:gd name="T31" fmla="*/ 15 h 167"/>
                <a:gd name="T32" fmla="*/ 58 w 189"/>
                <a:gd name="T33" fmla="*/ 133 h 167"/>
                <a:gd name="T34" fmla="*/ 11 w 189"/>
                <a:gd name="T35" fmla="*/ 151 h 167"/>
                <a:gd name="T36" fmla="*/ 11 w 189"/>
                <a:gd name="T37" fmla="*/ 31 h 167"/>
                <a:gd name="T38" fmla="*/ 178 w 189"/>
                <a:gd name="T39" fmla="*/ 134 h 167"/>
                <a:gd name="T40" fmla="*/ 130 w 189"/>
                <a:gd name="T41" fmla="*/ 152 h 167"/>
                <a:gd name="T42" fmla="*/ 130 w 189"/>
                <a:gd name="T43" fmla="*/ 35 h 167"/>
                <a:gd name="T44" fmla="*/ 178 w 189"/>
                <a:gd name="T45" fmla="*/ 17 h 167"/>
                <a:gd name="T46" fmla="*/ 178 w 189"/>
                <a:gd name="T47" fmla="*/ 134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9" h="167">
                  <a:moveTo>
                    <a:pt x="124" y="23"/>
                  </a:moveTo>
                  <a:lnTo>
                    <a:pt x="65" y="0"/>
                  </a:lnTo>
                  <a:lnTo>
                    <a:pt x="0" y="23"/>
                  </a:lnTo>
                  <a:lnTo>
                    <a:pt x="0" y="167"/>
                  </a:lnTo>
                  <a:lnTo>
                    <a:pt x="65" y="142"/>
                  </a:lnTo>
                  <a:lnTo>
                    <a:pt x="124" y="167"/>
                  </a:lnTo>
                  <a:lnTo>
                    <a:pt x="189" y="142"/>
                  </a:lnTo>
                  <a:lnTo>
                    <a:pt x="189" y="0"/>
                  </a:lnTo>
                  <a:lnTo>
                    <a:pt x="124" y="23"/>
                  </a:lnTo>
                  <a:close/>
                  <a:moveTo>
                    <a:pt x="70" y="15"/>
                  </a:moveTo>
                  <a:lnTo>
                    <a:pt x="119" y="35"/>
                  </a:lnTo>
                  <a:lnTo>
                    <a:pt x="119" y="152"/>
                  </a:lnTo>
                  <a:lnTo>
                    <a:pt x="70" y="133"/>
                  </a:lnTo>
                  <a:lnTo>
                    <a:pt x="70" y="15"/>
                  </a:lnTo>
                  <a:close/>
                  <a:moveTo>
                    <a:pt x="11" y="31"/>
                  </a:moveTo>
                  <a:lnTo>
                    <a:pt x="58" y="15"/>
                  </a:lnTo>
                  <a:lnTo>
                    <a:pt x="58" y="133"/>
                  </a:lnTo>
                  <a:lnTo>
                    <a:pt x="11" y="151"/>
                  </a:lnTo>
                  <a:lnTo>
                    <a:pt x="11" y="31"/>
                  </a:lnTo>
                  <a:close/>
                  <a:moveTo>
                    <a:pt x="178" y="134"/>
                  </a:moveTo>
                  <a:lnTo>
                    <a:pt x="130" y="152"/>
                  </a:lnTo>
                  <a:lnTo>
                    <a:pt x="130" y="35"/>
                  </a:lnTo>
                  <a:lnTo>
                    <a:pt x="178" y="17"/>
                  </a:lnTo>
                  <a:lnTo>
                    <a:pt x="17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5" name="任意多边形: 形状 124">
              <a:extLst>
                <a:ext uri="{FF2B5EF4-FFF2-40B4-BE49-F238E27FC236}">
                  <a16:creationId xmlns:a16="http://schemas.microsoft.com/office/drawing/2014/main" id="{F32E354D-590B-41EA-BAFB-700EE0E25ACD}"/>
                </a:ext>
              </a:extLst>
            </p:cNvPr>
            <p:cNvSpPr/>
            <p:nvPr/>
          </p:nvSpPr>
          <p:spPr bwMode="auto">
            <a:xfrm>
              <a:off x="9078435" y="2322980"/>
              <a:ext cx="405168" cy="409082"/>
            </a:xfrm>
            <a:custGeom>
              <a:avLst/>
              <a:gdLst>
                <a:gd name="T0" fmla="*/ 63 w 127"/>
                <a:gd name="T1" fmla="*/ 0 h 128"/>
                <a:gd name="T2" fmla="*/ 0 w 127"/>
                <a:gd name="T3" fmla="*/ 64 h 128"/>
                <a:gd name="T4" fmla="*/ 63 w 127"/>
                <a:gd name="T5" fmla="*/ 128 h 128"/>
                <a:gd name="T6" fmla="*/ 127 w 127"/>
                <a:gd name="T7" fmla="*/ 64 h 128"/>
                <a:gd name="T8" fmla="*/ 63 w 127"/>
                <a:gd name="T9" fmla="*/ 0 h 128"/>
                <a:gd name="T10" fmla="*/ 52 w 127"/>
                <a:gd name="T11" fmla="*/ 104 h 128"/>
                <a:gd name="T12" fmla="*/ 25 w 127"/>
                <a:gd name="T13" fmla="*/ 69 h 128"/>
                <a:gd name="T14" fmla="*/ 37 w 127"/>
                <a:gd name="T15" fmla="*/ 57 h 128"/>
                <a:gd name="T16" fmla="*/ 52 w 127"/>
                <a:gd name="T17" fmla="*/ 76 h 128"/>
                <a:gd name="T18" fmla="*/ 98 w 127"/>
                <a:gd name="T19" fmla="*/ 38 h 128"/>
                <a:gd name="T20" fmla="*/ 103 w 127"/>
                <a:gd name="T21" fmla="*/ 44 h 128"/>
                <a:gd name="T22" fmla="*/ 52 w 127"/>
                <a:gd name="T23" fmla="*/ 10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27" h="128">
                  <a:moveTo>
                    <a:pt x="63" y="0"/>
                  </a:moveTo>
                  <a:cubicBezTo>
                    <a:pt x="28" y="0"/>
                    <a:pt x="0" y="29"/>
                    <a:pt x="0" y="64"/>
                  </a:cubicBezTo>
                  <a:cubicBezTo>
                    <a:pt x="0" y="99"/>
                    <a:pt x="28" y="128"/>
                    <a:pt x="63" y="128"/>
                  </a:cubicBezTo>
                  <a:cubicBezTo>
                    <a:pt x="99" y="128"/>
                    <a:pt x="127" y="99"/>
                    <a:pt x="127" y="64"/>
                  </a:cubicBezTo>
                  <a:cubicBezTo>
                    <a:pt x="127" y="29"/>
                    <a:pt x="99" y="0"/>
                    <a:pt x="63" y="0"/>
                  </a:cubicBezTo>
                  <a:close/>
                  <a:moveTo>
                    <a:pt x="52" y="104"/>
                  </a:moveTo>
                  <a:cubicBezTo>
                    <a:pt x="25" y="69"/>
                    <a:pt x="25" y="69"/>
                    <a:pt x="25" y="69"/>
                  </a:cubicBezTo>
                  <a:cubicBezTo>
                    <a:pt x="37" y="57"/>
                    <a:pt x="37" y="57"/>
                    <a:pt x="37" y="57"/>
                  </a:cubicBezTo>
                  <a:cubicBezTo>
                    <a:pt x="52" y="76"/>
                    <a:pt x="52" y="76"/>
                    <a:pt x="52" y="76"/>
                  </a:cubicBezTo>
                  <a:cubicBezTo>
                    <a:pt x="98" y="38"/>
                    <a:pt x="98" y="38"/>
                    <a:pt x="98" y="38"/>
                  </a:cubicBezTo>
                  <a:cubicBezTo>
                    <a:pt x="103" y="44"/>
                    <a:pt x="103" y="44"/>
                    <a:pt x="103" y="44"/>
                  </a:cubicBezTo>
                  <a:lnTo>
                    <a:pt x="52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9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6" name="任意多边形: 形状 125">
              <a:extLst>
                <a:ext uri="{FF2B5EF4-FFF2-40B4-BE49-F238E27FC236}">
                  <a16:creationId xmlns:a16="http://schemas.microsoft.com/office/drawing/2014/main" id="{15DEBE0B-1D22-4187-BD9D-21ED74209342}"/>
                </a:ext>
              </a:extLst>
            </p:cNvPr>
            <p:cNvSpPr/>
            <p:nvPr/>
          </p:nvSpPr>
          <p:spPr bwMode="auto">
            <a:xfrm>
              <a:off x="10258703" y="5188516"/>
              <a:ext cx="307301" cy="307301"/>
            </a:xfrm>
            <a:custGeom>
              <a:avLst/>
              <a:gdLst>
                <a:gd name="T0" fmla="*/ 0 w 157"/>
                <a:gd name="T1" fmla="*/ 74 h 157"/>
                <a:gd name="T2" fmla="*/ 0 w 157"/>
                <a:gd name="T3" fmla="*/ 23 h 157"/>
                <a:gd name="T4" fmla="*/ 64 w 157"/>
                <a:gd name="T5" fmla="*/ 13 h 157"/>
                <a:gd name="T6" fmla="*/ 64 w 157"/>
                <a:gd name="T7" fmla="*/ 74 h 157"/>
                <a:gd name="T8" fmla="*/ 0 w 157"/>
                <a:gd name="T9" fmla="*/ 74 h 157"/>
                <a:gd name="T10" fmla="*/ 73 w 157"/>
                <a:gd name="T11" fmla="*/ 12 h 157"/>
                <a:gd name="T12" fmla="*/ 157 w 157"/>
                <a:gd name="T13" fmla="*/ 0 h 157"/>
                <a:gd name="T14" fmla="*/ 157 w 157"/>
                <a:gd name="T15" fmla="*/ 74 h 157"/>
                <a:gd name="T16" fmla="*/ 73 w 157"/>
                <a:gd name="T17" fmla="*/ 74 h 157"/>
                <a:gd name="T18" fmla="*/ 73 w 157"/>
                <a:gd name="T19" fmla="*/ 12 h 157"/>
                <a:gd name="T20" fmla="*/ 157 w 157"/>
                <a:gd name="T21" fmla="*/ 84 h 157"/>
                <a:gd name="T22" fmla="*/ 157 w 157"/>
                <a:gd name="T23" fmla="*/ 157 h 157"/>
                <a:gd name="T24" fmla="*/ 73 w 157"/>
                <a:gd name="T25" fmla="*/ 146 h 157"/>
                <a:gd name="T26" fmla="*/ 73 w 157"/>
                <a:gd name="T27" fmla="*/ 84 h 157"/>
                <a:gd name="T28" fmla="*/ 157 w 157"/>
                <a:gd name="T29" fmla="*/ 84 h 157"/>
                <a:gd name="T30" fmla="*/ 64 w 157"/>
                <a:gd name="T31" fmla="*/ 144 h 157"/>
                <a:gd name="T32" fmla="*/ 0 w 157"/>
                <a:gd name="T33" fmla="*/ 136 h 157"/>
                <a:gd name="T34" fmla="*/ 0 w 157"/>
                <a:gd name="T35" fmla="*/ 84 h 157"/>
                <a:gd name="T36" fmla="*/ 64 w 157"/>
                <a:gd name="T37" fmla="*/ 84 h 157"/>
                <a:gd name="T38" fmla="*/ 64 w 157"/>
                <a:gd name="T39" fmla="*/ 144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57" h="157">
                  <a:moveTo>
                    <a:pt x="0" y="74"/>
                  </a:moveTo>
                  <a:lnTo>
                    <a:pt x="0" y="23"/>
                  </a:lnTo>
                  <a:lnTo>
                    <a:pt x="64" y="13"/>
                  </a:lnTo>
                  <a:lnTo>
                    <a:pt x="64" y="74"/>
                  </a:lnTo>
                  <a:lnTo>
                    <a:pt x="0" y="74"/>
                  </a:lnTo>
                  <a:close/>
                  <a:moveTo>
                    <a:pt x="73" y="12"/>
                  </a:moveTo>
                  <a:lnTo>
                    <a:pt x="157" y="0"/>
                  </a:lnTo>
                  <a:lnTo>
                    <a:pt x="157" y="74"/>
                  </a:lnTo>
                  <a:lnTo>
                    <a:pt x="73" y="74"/>
                  </a:lnTo>
                  <a:lnTo>
                    <a:pt x="73" y="12"/>
                  </a:lnTo>
                  <a:close/>
                  <a:moveTo>
                    <a:pt x="157" y="84"/>
                  </a:moveTo>
                  <a:lnTo>
                    <a:pt x="157" y="157"/>
                  </a:lnTo>
                  <a:lnTo>
                    <a:pt x="73" y="146"/>
                  </a:lnTo>
                  <a:lnTo>
                    <a:pt x="73" y="84"/>
                  </a:lnTo>
                  <a:lnTo>
                    <a:pt x="157" y="84"/>
                  </a:lnTo>
                  <a:close/>
                  <a:moveTo>
                    <a:pt x="64" y="144"/>
                  </a:moveTo>
                  <a:lnTo>
                    <a:pt x="0" y="136"/>
                  </a:lnTo>
                  <a:lnTo>
                    <a:pt x="0" y="84"/>
                  </a:lnTo>
                  <a:lnTo>
                    <a:pt x="64" y="84"/>
                  </a:lnTo>
                  <a:lnTo>
                    <a:pt x="64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7" name="任意多边形: 形状 126">
              <a:extLst>
                <a:ext uri="{FF2B5EF4-FFF2-40B4-BE49-F238E27FC236}">
                  <a16:creationId xmlns:a16="http://schemas.microsoft.com/office/drawing/2014/main" id="{ACA484D1-D9D9-4836-B038-466AB71BF873}"/>
                </a:ext>
              </a:extLst>
            </p:cNvPr>
            <p:cNvSpPr/>
            <p:nvPr/>
          </p:nvSpPr>
          <p:spPr bwMode="auto">
            <a:xfrm>
              <a:off x="9922044" y="5121966"/>
              <a:ext cx="272069" cy="272069"/>
            </a:xfrm>
            <a:custGeom>
              <a:avLst/>
              <a:gdLst>
                <a:gd name="T0" fmla="*/ 11 w 85"/>
                <a:gd name="T1" fmla="*/ 42 h 85"/>
                <a:gd name="T2" fmla="*/ 29 w 85"/>
                <a:gd name="T3" fmla="*/ 70 h 85"/>
                <a:gd name="T4" fmla="*/ 14 w 85"/>
                <a:gd name="T5" fmla="*/ 30 h 85"/>
                <a:gd name="T6" fmla="*/ 11 w 85"/>
                <a:gd name="T7" fmla="*/ 42 h 85"/>
                <a:gd name="T8" fmla="*/ 64 w 85"/>
                <a:gd name="T9" fmla="*/ 41 h 85"/>
                <a:gd name="T10" fmla="*/ 62 w 85"/>
                <a:gd name="T11" fmla="*/ 32 h 85"/>
                <a:gd name="T12" fmla="*/ 59 w 85"/>
                <a:gd name="T13" fmla="*/ 25 h 85"/>
                <a:gd name="T14" fmla="*/ 64 w 85"/>
                <a:gd name="T15" fmla="*/ 20 h 85"/>
                <a:gd name="T16" fmla="*/ 64 w 85"/>
                <a:gd name="T17" fmla="*/ 20 h 85"/>
                <a:gd name="T18" fmla="*/ 43 w 85"/>
                <a:gd name="T19" fmla="*/ 11 h 85"/>
                <a:gd name="T20" fmla="*/ 16 w 85"/>
                <a:gd name="T21" fmla="*/ 25 h 85"/>
                <a:gd name="T22" fmla="*/ 18 w 85"/>
                <a:gd name="T23" fmla="*/ 25 h 85"/>
                <a:gd name="T24" fmla="*/ 27 w 85"/>
                <a:gd name="T25" fmla="*/ 25 h 85"/>
                <a:gd name="T26" fmla="*/ 27 w 85"/>
                <a:gd name="T27" fmla="*/ 28 h 85"/>
                <a:gd name="T28" fmla="*/ 23 w 85"/>
                <a:gd name="T29" fmla="*/ 28 h 85"/>
                <a:gd name="T30" fmla="*/ 35 w 85"/>
                <a:gd name="T31" fmla="*/ 61 h 85"/>
                <a:gd name="T32" fmla="*/ 42 w 85"/>
                <a:gd name="T33" fmla="*/ 41 h 85"/>
                <a:gd name="T34" fmla="*/ 37 w 85"/>
                <a:gd name="T35" fmla="*/ 28 h 85"/>
                <a:gd name="T36" fmla="*/ 34 w 85"/>
                <a:gd name="T37" fmla="*/ 28 h 85"/>
                <a:gd name="T38" fmla="*/ 34 w 85"/>
                <a:gd name="T39" fmla="*/ 25 h 85"/>
                <a:gd name="T40" fmla="*/ 42 w 85"/>
                <a:gd name="T41" fmla="*/ 25 h 85"/>
                <a:gd name="T42" fmla="*/ 51 w 85"/>
                <a:gd name="T43" fmla="*/ 25 h 85"/>
                <a:gd name="T44" fmla="*/ 51 w 85"/>
                <a:gd name="T45" fmla="*/ 28 h 85"/>
                <a:gd name="T46" fmla="*/ 47 w 85"/>
                <a:gd name="T47" fmla="*/ 28 h 85"/>
                <a:gd name="T48" fmla="*/ 59 w 85"/>
                <a:gd name="T49" fmla="*/ 61 h 85"/>
                <a:gd name="T50" fmla="*/ 62 w 85"/>
                <a:gd name="T51" fmla="*/ 51 h 85"/>
                <a:gd name="T52" fmla="*/ 64 w 85"/>
                <a:gd name="T53" fmla="*/ 41 h 85"/>
                <a:gd name="T54" fmla="*/ 43 w 85"/>
                <a:gd name="T55" fmla="*/ 45 h 85"/>
                <a:gd name="T56" fmla="*/ 34 w 85"/>
                <a:gd name="T57" fmla="*/ 72 h 85"/>
                <a:gd name="T58" fmla="*/ 43 w 85"/>
                <a:gd name="T59" fmla="*/ 73 h 85"/>
                <a:gd name="T60" fmla="*/ 53 w 85"/>
                <a:gd name="T61" fmla="*/ 72 h 85"/>
                <a:gd name="T62" fmla="*/ 53 w 85"/>
                <a:gd name="T63" fmla="*/ 71 h 85"/>
                <a:gd name="T64" fmla="*/ 43 w 85"/>
                <a:gd name="T65" fmla="*/ 45 h 85"/>
                <a:gd name="T66" fmla="*/ 71 w 85"/>
                <a:gd name="T67" fmla="*/ 28 h 85"/>
                <a:gd name="T68" fmla="*/ 71 w 85"/>
                <a:gd name="T69" fmla="*/ 31 h 85"/>
                <a:gd name="T70" fmla="*/ 69 w 85"/>
                <a:gd name="T71" fmla="*/ 42 h 85"/>
                <a:gd name="T72" fmla="*/ 59 w 85"/>
                <a:gd name="T73" fmla="*/ 69 h 85"/>
                <a:gd name="T74" fmla="*/ 75 w 85"/>
                <a:gd name="T75" fmla="*/ 42 h 85"/>
                <a:gd name="T76" fmla="*/ 71 w 85"/>
                <a:gd name="T77" fmla="*/ 28 h 85"/>
                <a:gd name="T78" fmla="*/ 43 w 85"/>
                <a:gd name="T79" fmla="*/ 0 h 85"/>
                <a:gd name="T80" fmla="*/ 0 w 85"/>
                <a:gd name="T81" fmla="*/ 42 h 85"/>
                <a:gd name="T82" fmla="*/ 43 w 85"/>
                <a:gd name="T83" fmla="*/ 85 h 85"/>
                <a:gd name="T84" fmla="*/ 85 w 85"/>
                <a:gd name="T85" fmla="*/ 42 h 85"/>
                <a:gd name="T86" fmla="*/ 43 w 85"/>
                <a:gd name="T87" fmla="*/ 0 h 85"/>
                <a:gd name="T88" fmla="*/ 43 w 85"/>
                <a:gd name="T89" fmla="*/ 79 h 85"/>
                <a:gd name="T90" fmla="*/ 6 w 85"/>
                <a:gd name="T91" fmla="*/ 42 h 85"/>
                <a:gd name="T92" fmla="*/ 43 w 85"/>
                <a:gd name="T93" fmla="*/ 5 h 85"/>
                <a:gd name="T94" fmla="*/ 80 w 85"/>
                <a:gd name="T95" fmla="*/ 42 h 85"/>
                <a:gd name="T96" fmla="*/ 43 w 85"/>
                <a:gd name="T97" fmla="*/ 79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5" h="85">
                  <a:moveTo>
                    <a:pt x="11" y="42"/>
                  </a:moveTo>
                  <a:cubicBezTo>
                    <a:pt x="11" y="55"/>
                    <a:pt x="18" y="65"/>
                    <a:pt x="29" y="7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2" y="34"/>
                    <a:pt x="11" y="38"/>
                    <a:pt x="11" y="42"/>
                  </a:cubicBezTo>
                  <a:close/>
                  <a:moveTo>
                    <a:pt x="64" y="41"/>
                  </a:moveTo>
                  <a:cubicBezTo>
                    <a:pt x="64" y="37"/>
                    <a:pt x="63" y="34"/>
                    <a:pt x="62" y="32"/>
                  </a:cubicBezTo>
                  <a:cubicBezTo>
                    <a:pt x="60" y="30"/>
                    <a:pt x="59" y="28"/>
                    <a:pt x="59" y="25"/>
                  </a:cubicBezTo>
                  <a:cubicBezTo>
                    <a:pt x="59" y="22"/>
                    <a:pt x="61" y="20"/>
                    <a:pt x="64" y="20"/>
                  </a:cubicBezTo>
                  <a:cubicBezTo>
                    <a:pt x="64" y="20"/>
                    <a:pt x="64" y="20"/>
                    <a:pt x="64" y="20"/>
                  </a:cubicBezTo>
                  <a:cubicBezTo>
                    <a:pt x="59" y="15"/>
                    <a:pt x="51" y="11"/>
                    <a:pt x="43" y="11"/>
                  </a:cubicBezTo>
                  <a:cubicBezTo>
                    <a:pt x="32" y="11"/>
                    <a:pt x="22" y="17"/>
                    <a:pt x="16" y="25"/>
                  </a:cubicBezTo>
                  <a:cubicBezTo>
                    <a:pt x="17" y="25"/>
                    <a:pt x="18" y="25"/>
                    <a:pt x="18" y="25"/>
                  </a:cubicBezTo>
                  <a:cubicBezTo>
                    <a:pt x="22" y="25"/>
                    <a:pt x="27" y="25"/>
                    <a:pt x="27" y="25"/>
                  </a:cubicBezTo>
                  <a:cubicBezTo>
                    <a:pt x="29" y="25"/>
                    <a:pt x="29" y="27"/>
                    <a:pt x="27" y="28"/>
                  </a:cubicBezTo>
                  <a:cubicBezTo>
                    <a:pt x="27" y="28"/>
                    <a:pt x="25" y="28"/>
                    <a:pt x="23" y="28"/>
                  </a:cubicBezTo>
                  <a:cubicBezTo>
                    <a:pt x="35" y="61"/>
                    <a:pt x="35" y="61"/>
                    <a:pt x="35" y="61"/>
                  </a:cubicBezTo>
                  <a:cubicBezTo>
                    <a:pt x="42" y="41"/>
                    <a:pt x="42" y="41"/>
                    <a:pt x="42" y="41"/>
                  </a:cubicBezTo>
                  <a:cubicBezTo>
                    <a:pt x="37" y="28"/>
                    <a:pt x="37" y="28"/>
                    <a:pt x="37" y="28"/>
                  </a:cubicBezTo>
                  <a:cubicBezTo>
                    <a:pt x="35" y="28"/>
                    <a:pt x="34" y="28"/>
                    <a:pt x="34" y="28"/>
                  </a:cubicBezTo>
                  <a:cubicBezTo>
                    <a:pt x="32" y="27"/>
                    <a:pt x="32" y="25"/>
                    <a:pt x="34" y="25"/>
                  </a:cubicBezTo>
                  <a:cubicBezTo>
                    <a:pt x="34" y="25"/>
                    <a:pt x="39" y="25"/>
                    <a:pt x="42" y="25"/>
                  </a:cubicBezTo>
                  <a:cubicBezTo>
                    <a:pt x="46" y="25"/>
                    <a:pt x="51" y="25"/>
                    <a:pt x="51" y="25"/>
                  </a:cubicBezTo>
                  <a:cubicBezTo>
                    <a:pt x="52" y="25"/>
                    <a:pt x="53" y="27"/>
                    <a:pt x="51" y="28"/>
                  </a:cubicBezTo>
                  <a:cubicBezTo>
                    <a:pt x="51" y="28"/>
                    <a:pt x="49" y="28"/>
                    <a:pt x="47" y="28"/>
                  </a:cubicBezTo>
                  <a:cubicBezTo>
                    <a:pt x="59" y="61"/>
                    <a:pt x="59" y="61"/>
                    <a:pt x="59" y="61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47"/>
                    <a:pt x="64" y="43"/>
                    <a:pt x="64" y="41"/>
                  </a:cubicBezTo>
                  <a:close/>
                  <a:moveTo>
                    <a:pt x="43" y="45"/>
                  </a:moveTo>
                  <a:cubicBezTo>
                    <a:pt x="34" y="72"/>
                    <a:pt x="34" y="72"/>
                    <a:pt x="34" y="72"/>
                  </a:cubicBezTo>
                  <a:cubicBezTo>
                    <a:pt x="37" y="73"/>
                    <a:pt x="40" y="73"/>
                    <a:pt x="43" y="73"/>
                  </a:cubicBezTo>
                  <a:cubicBezTo>
                    <a:pt x="47" y="73"/>
                    <a:pt x="50" y="73"/>
                    <a:pt x="53" y="72"/>
                  </a:cubicBezTo>
                  <a:cubicBezTo>
                    <a:pt x="53" y="71"/>
                    <a:pt x="53" y="71"/>
                    <a:pt x="53" y="71"/>
                  </a:cubicBezTo>
                  <a:lnTo>
                    <a:pt x="43" y="45"/>
                  </a:lnTo>
                  <a:close/>
                  <a:moveTo>
                    <a:pt x="71" y="28"/>
                  </a:moveTo>
                  <a:cubicBezTo>
                    <a:pt x="71" y="29"/>
                    <a:pt x="71" y="30"/>
                    <a:pt x="71" y="31"/>
                  </a:cubicBezTo>
                  <a:cubicBezTo>
                    <a:pt x="71" y="34"/>
                    <a:pt x="70" y="37"/>
                    <a:pt x="69" y="42"/>
                  </a:cubicBezTo>
                  <a:cubicBezTo>
                    <a:pt x="59" y="69"/>
                    <a:pt x="59" y="69"/>
                    <a:pt x="59" y="69"/>
                  </a:cubicBezTo>
                  <a:cubicBezTo>
                    <a:pt x="68" y="64"/>
                    <a:pt x="75" y="54"/>
                    <a:pt x="75" y="42"/>
                  </a:cubicBezTo>
                  <a:cubicBezTo>
                    <a:pt x="75" y="37"/>
                    <a:pt x="73" y="32"/>
                    <a:pt x="71" y="28"/>
                  </a:cubicBezTo>
                  <a:close/>
                  <a:moveTo>
                    <a:pt x="43" y="0"/>
                  </a:moveTo>
                  <a:cubicBezTo>
                    <a:pt x="19" y="0"/>
                    <a:pt x="0" y="19"/>
                    <a:pt x="0" y="42"/>
                  </a:cubicBezTo>
                  <a:cubicBezTo>
                    <a:pt x="0" y="66"/>
                    <a:pt x="19" y="85"/>
                    <a:pt x="43" y="85"/>
                  </a:cubicBezTo>
                  <a:cubicBezTo>
                    <a:pt x="66" y="85"/>
                    <a:pt x="85" y="66"/>
                    <a:pt x="85" y="42"/>
                  </a:cubicBezTo>
                  <a:cubicBezTo>
                    <a:pt x="85" y="19"/>
                    <a:pt x="66" y="0"/>
                    <a:pt x="43" y="0"/>
                  </a:cubicBezTo>
                  <a:close/>
                  <a:moveTo>
                    <a:pt x="43" y="79"/>
                  </a:moveTo>
                  <a:cubicBezTo>
                    <a:pt x="22" y="79"/>
                    <a:pt x="6" y="63"/>
                    <a:pt x="6" y="42"/>
                  </a:cubicBezTo>
                  <a:cubicBezTo>
                    <a:pt x="6" y="22"/>
                    <a:pt x="22" y="5"/>
                    <a:pt x="43" y="5"/>
                  </a:cubicBezTo>
                  <a:cubicBezTo>
                    <a:pt x="63" y="5"/>
                    <a:pt x="80" y="22"/>
                    <a:pt x="80" y="42"/>
                  </a:cubicBezTo>
                  <a:cubicBezTo>
                    <a:pt x="80" y="63"/>
                    <a:pt x="63" y="79"/>
                    <a:pt x="43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8" name="任意多边形: 形状 127">
              <a:extLst>
                <a:ext uri="{FF2B5EF4-FFF2-40B4-BE49-F238E27FC236}">
                  <a16:creationId xmlns:a16="http://schemas.microsoft.com/office/drawing/2014/main" id="{315BC3A4-A962-450D-977E-CF4883E5EB62}"/>
                </a:ext>
              </a:extLst>
            </p:cNvPr>
            <p:cNvSpPr/>
            <p:nvPr/>
          </p:nvSpPr>
          <p:spPr bwMode="auto">
            <a:xfrm>
              <a:off x="10258702" y="5621088"/>
              <a:ext cx="364063" cy="360149"/>
            </a:xfrm>
            <a:custGeom>
              <a:avLst/>
              <a:gdLst>
                <a:gd name="T0" fmla="*/ 110 w 114"/>
                <a:gd name="T1" fmla="*/ 90 h 113"/>
                <a:gd name="T2" fmla="*/ 60 w 114"/>
                <a:gd name="T3" fmla="*/ 47 h 113"/>
                <a:gd name="T4" fmla="*/ 64 w 114"/>
                <a:gd name="T5" fmla="*/ 32 h 113"/>
                <a:gd name="T6" fmla="*/ 32 w 114"/>
                <a:gd name="T7" fmla="*/ 0 h 113"/>
                <a:gd name="T8" fmla="*/ 23 w 114"/>
                <a:gd name="T9" fmla="*/ 1 h 113"/>
                <a:gd name="T10" fmla="*/ 41 w 114"/>
                <a:gd name="T11" fmla="*/ 20 h 113"/>
                <a:gd name="T12" fmla="*/ 41 w 114"/>
                <a:gd name="T13" fmla="*/ 30 h 113"/>
                <a:gd name="T14" fmla="*/ 30 w 114"/>
                <a:gd name="T15" fmla="*/ 41 h 113"/>
                <a:gd name="T16" fmla="*/ 20 w 114"/>
                <a:gd name="T17" fmla="*/ 41 h 113"/>
                <a:gd name="T18" fmla="*/ 1 w 114"/>
                <a:gd name="T19" fmla="*/ 23 h 113"/>
                <a:gd name="T20" fmla="*/ 0 w 114"/>
                <a:gd name="T21" fmla="*/ 32 h 113"/>
                <a:gd name="T22" fmla="*/ 32 w 114"/>
                <a:gd name="T23" fmla="*/ 63 h 113"/>
                <a:gd name="T24" fmla="*/ 47 w 114"/>
                <a:gd name="T25" fmla="*/ 60 h 113"/>
                <a:gd name="T26" fmla="*/ 90 w 114"/>
                <a:gd name="T27" fmla="*/ 110 h 113"/>
                <a:gd name="T28" fmla="*/ 100 w 114"/>
                <a:gd name="T29" fmla="*/ 111 h 113"/>
                <a:gd name="T30" fmla="*/ 111 w 114"/>
                <a:gd name="T31" fmla="*/ 100 h 113"/>
                <a:gd name="T32" fmla="*/ 110 w 114"/>
                <a:gd name="T33" fmla="*/ 9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113">
                  <a:moveTo>
                    <a:pt x="110" y="90"/>
                  </a:moveTo>
                  <a:cubicBezTo>
                    <a:pt x="60" y="47"/>
                    <a:pt x="60" y="47"/>
                    <a:pt x="60" y="47"/>
                  </a:cubicBezTo>
                  <a:cubicBezTo>
                    <a:pt x="62" y="42"/>
                    <a:pt x="64" y="37"/>
                    <a:pt x="64" y="32"/>
                  </a:cubicBezTo>
                  <a:cubicBezTo>
                    <a:pt x="64" y="14"/>
                    <a:pt x="49" y="0"/>
                    <a:pt x="32" y="0"/>
                  </a:cubicBezTo>
                  <a:cubicBezTo>
                    <a:pt x="29" y="0"/>
                    <a:pt x="26" y="0"/>
                    <a:pt x="23" y="1"/>
                  </a:cubicBezTo>
                  <a:cubicBezTo>
                    <a:pt x="41" y="20"/>
                    <a:pt x="41" y="20"/>
                    <a:pt x="41" y="20"/>
                  </a:cubicBezTo>
                  <a:cubicBezTo>
                    <a:pt x="44" y="22"/>
                    <a:pt x="44" y="27"/>
                    <a:pt x="41" y="30"/>
                  </a:cubicBezTo>
                  <a:cubicBezTo>
                    <a:pt x="30" y="41"/>
                    <a:pt x="30" y="41"/>
                    <a:pt x="30" y="41"/>
                  </a:cubicBezTo>
                  <a:cubicBezTo>
                    <a:pt x="27" y="44"/>
                    <a:pt x="23" y="44"/>
                    <a:pt x="20" y="41"/>
                  </a:cubicBezTo>
                  <a:cubicBezTo>
                    <a:pt x="1" y="23"/>
                    <a:pt x="1" y="23"/>
                    <a:pt x="1" y="23"/>
                  </a:cubicBezTo>
                  <a:cubicBezTo>
                    <a:pt x="1" y="25"/>
                    <a:pt x="0" y="29"/>
                    <a:pt x="0" y="32"/>
                  </a:cubicBezTo>
                  <a:cubicBezTo>
                    <a:pt x="0" y="49"/>
                    <a:pt x="14" y="63"/>
                    <a:pt x="32" y="63"/>
                  </a:cubicBezTo>
                  <a:cubicBezTo>
                    <a:pt x="37" y="63"/>
                    <a:pt x="42" y="62"/>
                    <a:pt x="47" y="60"/>
                  </a:cubicBezTo>
                  <a:cubicBezTo>
                    <a:pt x="90" y="110"/>
                    <a:pt x="90" y="110"/>
                    <a:pt x="90" y="110"/>
                  </a:cubicBezTo>
                  <a:cubicBezTo>
                    <a:pt x="93" y="113"/>
                    <a:pt x="97" y="113"/>
                    <a:pt x="100" y="111"/>
                  </a:cubicBezTo>
                  <a:cubicBezTo>
                    <a:pt x="111" y="100"/>
                    <a:pt x="111" y="100"/>
                    <a:pt x="111" y="100"/>
                  </a:cubicBezTo>
                  <a:cubicBezTo>
                    <a:pt x="114" y="97"/>
                    <a:pt x="113" y="93"/>
                    <a:pt x="110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9" name="任意多边形: 形状 128">
              <a:extLst>
                <a:ext uri="{FF2B5EF4-FFF2-40B4-BE49-F238E27FC236}">
                  <a16:creationId xmlns:a16="http://schemas.microsoft.com/office/drawing/2014/main" id="{091DB2C9-E787-4DA7-8BFC-3F4A9BE3A773}"/>
                </a:ext>
              </a:extLst>
            </p:cNvPr>
            <p:cNvSpPr/>
            <p:nvPr/>
          </p:nvSpPr>
          <p:spPr bwMode="auto">
            <a:xfrm>
              <a:off x="9160642" y="5274638"/>
              <a:ext cx="358192" cy="550010"/>
            </a:xfrm>
            <a:custGeom>
              <a:avLst/>
              <a:gdLst>
                <a:gd name="T0" fmla="*/ 84 w 112"/>
                <a:gd name="T1" fmla="*/ 3 h 172"/>
                <a:gd name="T2" fmla="*/ 111 w 112"/>
                <a:gd name="T3" fmla="*/ 19 h 172"/>
                <a:gd name="T4" fmla="*/ 110 w 112"/>
                <a:gd name="T5" fmla="*/ 33 h 172"/>
                <a:gd name="T6" fmla="*/ 103 w 112"/>
                <a:gd name="T7" fmla="*/ 44 h 172"/>
                <a:gd name="T8" fmla="*/ 65 w 112"/>
                <a:gd name="T9" fmla="*/ 21 h 172"/>
                <a:gd name="T10" fmla="*/ 72 w 112"/>
                <a:gd name="T11" fmla="*/ 10 h 172"/>
                <a:gd name="T12" fmla="*/ 84 w 112"/>
                <a:gd name="T13" fmla="*/ 3 h 172"/>
                <a:gd name="T14" fmla="*/ 0 w 112"/>
                <a:gd name="T15" fmla="*/ 130 h 172"/>
                <a:gd name="T16" fmla="*/ 1 w 112"/>
                <a:gd name="T17" fmla="*/ 172 h 172"/>
                <a:gd name="T18" fmla="*/ 38 w 112"/>
                <a:gd name="T19" fmla="*/ 153 h 172"/>
                <a:gd name="T20" fmla="*/ 98 w 112"/>
                <a:gd name="T21" fmla="*/ 52 h 172"/>
                <a:gd name="T22" fmla="*/ 60 w 112"/>
                <a:gd name="T23" fmla="*/ 29 h 172"/>
                <a:gd name="T24" fmla="*/ 0 w 112"/>
                <a:gd name="T25" fmla="*/ 130 h 172"/>
                <a:gd name="T26" fmla="*/ 76 w 112"/>
                <a:gd name="T27" fmla="*/ 57 h 172"/>
                <a:gd name="T28" fmla="*/ 30 w 112"/>
                <a:gd name="T29" fmla="*/ 134 h 172"/>
                <a:gd name="T30" fmla="*/ 20 w 112"/>
                <a:gd name="T31" fmla="*/ 128 h 172"/>
                <a:gd name="T32" fmla="*/ 66 w 112"/>
                <a:gd name="T33" fmla="*/ 52 h 172"/>
                <a:gd name="T34" fmla="*/ 76 w 112"/>
                <a:gd name="T35" fmla="*/ 57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172">
                  <a:moveTo>
                    <a:pt x="84" y="3"/>
                  </a:moveTo>
                  <a:cubicBezTo>
                    <a:pt x="96" y="0"/>
                    <a:pt x="108" y="7"/>
                    <a:pt x="111" y="19"/>
                  </a:cubicBezTo>
                  <a:cubicBezTo>
                    <a:pt x="112" y="24"/>
                    <a:pt x="112" y="29"/>
                    <a:pt x="110" y="33"/>
                  </a:cubicBezTo>
                  <a:cubicBezTo>
                    <a:pt x="103" y="44"/>
                    <a:pt x="103" y="44"/>
                    <a:pt x="103" y="44"/>
                  </a:cubicBezTo>
                  <a:cubicBezTo>
                    <a:pt x="65" y="21"/>
                    <a:pt x="65" y="21"/>
                    <a:pt x="65" y="21"/>
                  </a:cubicBezTo>
                  <a:cubicBezTo>
                    <a:pt x="72" y="10"/>
                    <a:pt x="72" y="10"/>
                    <a:pt x="72" y="10"/>
                  </a:cubicBezTo>
                  <a:cubicBezTo>
                    <a:pt x="75" y="7"/>
                    <a:pt x="79" y="4"/>
                    <a:pt x="84" y="3"/>
                  </a:cubicBezTo>
                  <a:close/>
                  <a:moveTo>
                    <a:pt x="0" y="130"/>
                  </a:moveTo>
                  <a:cubicBezTo>
                    <a:pt x="1" y="172"/>
                    <a:pt x="1" y="172"/>
                    <a:pt x="1" y="172"/>
                  </a:cubicBezTo>
                  <a:cubicBezTo>
                    <a:pt x="38" y="153"/>
                    <a:pt x="38" y="153"/>
                    <a:pt x="38" y="153"/>
                  </a:cubicBezTo>
                  <a:cubicBezTo>
                    <a:pt x="98" y="52"/>
                    <a:pt x="98" y="52"/>
                    <a:pt x="98" y="52"/>
                  </a:cubicBezTo>
                  <a:cubicBezTo>
                    <a:pt x="60" y="29"/>
                    <a:pt x="60" y="29"/>
                    <a:pt x="60" y="29"/>
                  </a:cubicBezTo>
                  <a:lnTo>
                    <a:pt x="0" y="130"/>
                  </a:lnTo>
                  <a:close/>
                  <a:moveTo>
                    <a:pt x="76" y="57"/>
                  </a:moveTo>
                  <a:cubicBezTo>
                    <a:pt x="30" y="134"/>
                    <a:pt x="30" y="134"/>
                    <a:pt x="30" y="134"/>
                  </a:cubicBezTo>
                  <a:cubicBezTo>
                    <a:pt x="20" y="128"/>
                    <a:pt x="20" y="128"/>
                    <a:pt x="20" y="128"/>
                  </a:cubicBezTo>
                  <a:cubicBezTo>
                    <a:pt x="66" y="52"/>
                    <a:pt x="66" y="52"/>
                    <a:pt x="66" y="52"/>
                  </a:cubicBezTo>
                  <a:lnTo>
                    <a:pt x="76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0" name="任意多边形: 形状 129">
              <a:extLst>
                <a:ext uri="{FF2B5EF4-FFF2-40B4-BE49-F238E27FC236}">
                  <a16:creationId xmlns:a16="http://schemas.microsoft.com/office/drawing/2014/main" id="{46154EE2-A6EF-49EF-A6C9-693BB58A3E1C}"/>
                </a:ext>
              </a:extLst>
            </p:cNvPr>
            <p:cNvSpPr/>
            <p:nvPr/>
          </p:nvSpPr>
          <p:spPr bwMode="auto">
            <a:xfrm>
              <a:off x="9589295" y="5294212"/>
              <a:ext cx="305342" cy="348404"/>
            </a:xfrm>
            <a:custGeom>
              <a:avLst/>
              <a:gdLst>
                <a:gd name="T0" fmla="*/ 40 w 95"/>
                <a:gd name="T1" fmla="*/ 61 h 109"/>
                <a:gd name="T2" fmla="*/ 34 w 95"/>
                <a:gd name="T3" fmla="*/ 54 h 109"/>
                <a:gd name="T4" fmla="*/ 13 w 95"/>
                <a:gd name="T5" fmla="*/ 75 h 109"/>
                <a:gd name="T6" fmla="*/ 34 w 95"/>
                <a:gd name="T7" fmla="*/ 95 h 109"/>
                <a:gd name="T8" fmla="*/ 40 w 95"/>
                <a:gd name="T9" fmla="*/ 88 h 109"/>
                <a:gd name="T10" fmla="*/ 27 w 95"/>
                <a:gd name="T11" fmla="*/ 75 h 109"/>
                <a:gd name="T12" fmla="*/ 40 w 95"/>
                <a:gd name="T13" fmla="*/ 61 h 109"/>
                <a:gd name="T14" fmla="*/ 54 w 95"/>
                <a:gd name="T15" fmla="*/ 88 h 109"/>
                <a:gd name="T16" fmla="*/ 61 w 95"/>
                <a:gd name="T17" fmla="*/ 95 h 109"/>
                <a:gd name="T18" fmla="*/ 81 w 95"/>
                <a:gd name="T19" fmla="*/ 75 h 109"/>
                <a:gd name="T20" fmla="*/ 61 w 95"/>
                <a:gd name="T21" fmla="*/ 54 h 109"/>
                <a:gd name="T22" fmla="*/ 54 w 95"/>
                <a:gd name="T23" fmla="*/ 61 h 109"/>
                <a:gd name="T24" fmla="*/ 68 w 95"/>
                <a:gd name="T25" fmla="*/ 75 h 109"/>
                <a:gd name="T26" fmla="*/ 54 w 95"/>
                <a:gd name="T27" fmla="*/ 88 h 109"/>
                <a:gd name="T28" fmla="*/ 89 w 95"/>
                <a:gd name="T29" fmla="*/ 21 h 109"/>
                <a:gd name="T30" fmla="*/ 74 w 95"/>
                <a:gd name="T31" fmla="*/ 6 h 109"/>
                <a:gd name="T32" fmla="*/ 59 w 95"/>
                <a:gd name="T33" fmla="*/ 0 h 109"/>
                <a:gd name="T34" fmla="*/ 8 w 95"/>
                <a:gd name="T35" fmla="*/ 0 h 109"/>
                <a:gd name="T36" fmla="*/ 0 w 95"/>
                <a:gd name="T37" fmla="*/ 8 h 109"/>
                <a:gd name="T38" fmla="*/ 0 w 95"/>
                <a:gd name="T39" fmla="*/ 100 h 109"/>
                <a:gd name="T40" fmla="*/ 8 w 95"/>
                <a:gd name="T41" fmla="*/ 109 h 109"/>
                <a:gd name="T42" fmla="*/ 86 w 95"/>
                <a:gd name="T43" fmla="*/ 109 h 109"/>
                <a:gd name="T44" fmla="*/ 95 w 95"/>
                <a:gd name="T45" fmla="*/ 100 h 109"/>
                <a:gd name="T46" fmla="*/ 95 w 95"/>
                <a:gd name="T47" fmla="*/ 36 h 109"/>
                <a:gd name="T48" fmla="*/ 89 w 95"/>
                <a:gd name="T49" fmla="*/ 21 h 109"/>
                <a:gd name="T50" fmla="*/ 84 w 95"/>
                <a:gd name="T51" fmla="*/ 26 h 109"/>
                <a:gd name="T52" fmla="*/ 85 w 95"/>
                <a:gd name="T53" fmla="*/ 27 h 109"/>
                <a:gd name="T54" fmla="*/ 68 w 95"/>
                <a:gd name="T55" fmla="*/ 27 h 109"/>
                <a:gd name="T56" fmla="*/ 68 w 95"/>
                <a:gd name="T57" fmla="*/ 10 h 109"/>
                <a:gd name="T58" fmla="*/ 69 w 95"/>
                <a:gd name="T59" fmla="*/ 11 h 109"/>
                <a:gd name="T60" fmla="*/ 84 w 95"/>
                <a:gd name="T61" fmla="*/ 26 h 109"/>
                <a:gd name="T62" fmla="*/ 88 w 95"/>
                <a:gd name="T63" fmla="*/ 100 h 109"/>
                <a:gd name="T64" fmla="*/ 86 w 95"/>
                <a:gd name="T65" fmla="*/ 102 h 109"/>
                <a:gd name="T66" fmla="*/ 8 w 95"/>
                <a:gd name="T67" fmla="*/ 102 h 109"/>
                <a:gd name="T68" fmla="*/ 6 w 95"/>
                <a:gd name="T69" fmla="*/ 100 h 109"/>
                <a:gd name="T70" fmla="*/ 6 w 95"/>
                <a:gd name="T71" fmla="*/ 8 h 109"/>
                <a:gd name="T72" fmla="*/ 8 w 95"/>
                <a:gd name="T73" fmla="*/ 7 h 109"/>
                <a:gd name="T74" fmla="*/ 59 w 95"/>
                <a:gd name="T75" fmla="*/ 7 h 109"/>
                <a:gd name="T76" fmla="*/ 61 w 95"/>
                <a:gd name="T77" fmla="*/ 7 h 109"/>
                <a:gd name="T78" fmla="*/ 61 w 95"/>
                <a:gd name="T79" fmla="*/ 34 h 109"/>
                <a:gd name="T80" fmla="*/ 88 w 95"/>
                <a:gd name="T81" fmla="*/ 34 h 109"/>
                <a:gd name="T82" fmla="*/ 88 w 95"/>
                <a:gd name="T83" fmla="*/ 36 h 109"/>
                <a:gd name="T84" fmla="*/ 88 w 95"/>
                <a:gd name="T85" fmla="*/ 10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95" h="109">
                  <a:moveTo>
                    <a:pt x="40" y="61"/>
                  </a:moveTo>
                  <a:cubicBezTo>
                    <a:pt x="34" y="54"/>
                    <a:pt x="34" y="54"/>
                    <a:pt x="34" y="54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34" y="95"/>
                    <a:pt x="34" y="95"/>
                    <a:pt x="34" y="95"/>
                  </a:cubicBezTo>
                  <a:cubicBezTo>
                    <a:pt x="40" y="88"/>
                    <a:pt x="40" y="88"/>
                    <a:pt x="40" y="88"/>
                  </a:cubicBezTo>
                  <a:cubicBezTo>
                    <a:pt x="27" y="75"/>
                    <a:pt x="27" y="75"/>
                    <a:pt x="27" y="75"/>
                  </a:cubicBezTo>
                  <a:lnTo>
                    <a:pt x="40" y="61"/>
                  </a:lnTo>
                  <a:close/>
                  <a:moveTo>
                    <a:pt x="54" y="88"/>
                  </a:moveTo>
                  <a:cubicBezTo>
                    <a:pt x="61" y="95"/>
                    <a:pt x="61" y="95"/>
                    <a:pt x="61" y="95"/>
                  </a:cubicBezTo>
                  <a:cubicBezTo>
                    <a:pt x="81" y="75"/>
                    <a:pt x="81" y="75"/>
                    <a:pt x="81" y="75"/>
                  </a:cubicBezTo>
                  <a:cubicBezTo>
                    <a:pt x="61" y="54"/>
                    <a:pt x="61" y="54"/>
                    <a:pt x="61" y="5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68" y="75"/>
                    <a:pt x="68" y="75"/>
                    <a:pt x="68" y="75"/>
                  </a:cubicBezTo>
                  <a:lnTo>
                    <a:pt x="54" y="88"/>
                  </a:lnTo>
                  <a:close/>
                  <a:moveTo>
                    <a:pt x="89" y="21"/>
                  </a:moveTo>
                  <a:cubicBezTo>
                    <a:pt x="74" y="6"/>
                    <a:pt x="74" y="6"/>
                    <a:pt x="74" y="6"/>
                  </a:cubicBezTo>
                  <a:cubicBezTo>
                    <a:pt x="70" y="3"/>
                    <a:pt x="64" y="0"/>
                    <a:pt x="59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3" y="0"/>
                    <a:pt x="0" y="4"/>
                    <a:pt x="0" y="8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5"/>
                    <a:pt x="3" y="109"/>
                    <a:pt x="8" y="109"/>
                  </a:cubicBezTo>
                  <a:cubicBezTo>
                    <a:pt x="86" y="109"/>
                    <a:pt x="86" y="109"/>
                    <a:pt x="86" y="109"/>
                  </a:cubicBezTo>
                  <a:cubicBezTo>
                    <a:pt x="91" y="109"/>
                    <a:pt x="95" y="105"/>
                    <a:pt x="95" y="100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5" y="31"/>
                    <a:pt x="92" y="24"/>
                    <a:pt x="89" y="21"/>
                  </a:cubicBezTo>
                  <a:close/>
                  <a:moveTo>
                    <a:pt x="84" y="26"/>
                  </a:moveTo>
                  <a:cubicBezTo>
                    <a:pt x="84" y="26"/>
                    <a:pt x="85" y="27"/>
                    <a:pt x="85" y="27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68" y="10"/>
                    <a:pt x="68" y="10"/>
                    <a:pt x="68" y="10"/>
                  </a:cubicBezTo>
                  <a:cubicBezTo>
                    <a:pt x="68" y="10"/>
                    <a:pt x="68" y="10"/>
                    <a:pt x="69" y="11"/>
                  </a:cubicBezTo>
                  <a:lnTo>
                    <a:pt x="84" y="26"/>
                  </a:lnTo>
                  <a:close/>
                  <a:moveTo>
                    <a:pt x="88" y="100"/>
                  </a:moveTo>
                  <a:cubicBezTo>
                    <a:pt x="88" y="101"/>
                    <a:pt x="87" y="102"/>
                    <a:pt x="86" y="102"/>
                  </a:cubicBezTo>
                  <a:cubicBezTo>
                    <a:pt x="8" y="102"/>
                    <a:pt x="8" y="102"/>
                    <a:pt x="8" y="102"/>
                  </a:cubicBezTo>
                  <a:cubicBezTo>
                    <a:pt x="7" y="102"/>
                    <a:pt x="6" y="101"/>
                    <a:pt x="6" y="100"/>
                  </a:cubicBezTo>
                  <a:cubicBezTo>
                    <a:pt x="6" y="8"/>
                    <a:pt x="6" y="8"/>
                    <a:pt x="6" y="8"/>
                  </a:cubicBezTo>
                  <a:cubicBezTo>
                    <a:pt x="6" y="7"/>
                    <a:pt x="7" y="7"/>
                    <a:pt x="8" y="7"/>
                  </a:cubicBezTo>
                  <a:cubicBezTo>
                    <a:pt x="59" y="7"/>
                    <a:pt x="59" y="7"/>
                    <a:pt x="59" y="7"/>
                  </a:cubicBezTo>
                  <a:cubicBezTo>
                    <a:pt x="60" y="7"/>
                    <a:pt x="60" y="7"/>
                    <a:pt x="61" y="7"/>
                  </a:cubicBezTo>
                  <a:cubicBezTo>
                    <a:pt x="61" y="34"/>
                    <a:pt x="61" y="34"/>
                    <a:pt x="61" y="34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88" y="34"/>
                    <a:pt x="88" y="35"/>
                    <a:pt x="88" y="36"/>
                  </a:cubicBezTo>
                  <a:lnTo>
                    <a:pt x="88" y="10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1" name="任意多边形: 形状 130">
              <a:extLst>
                <a:ext uri="{FF2B5EF4-FFF2-40B4-BE49-F238E27FC236}">
                  <a16:creationId xmlns:a16="http://schemas.microsoft.com/office/drawing/2014/main" id="{E6625882-2A86-4D53-99C8-34D2B16F29EA}"/>
                </a:ext>
              </a:extLst>
            </p:cNvPr>
            <p:cNvSpPr/>
            <p:nvPr/>
          </p:nvSpPr>
          <p:spPr bwMode="auto">
            <a:xfrm>
              <a:off x="9029500" y="1945216"/>
              <a:ext cx="401253" cy="297514"/>
            </a:xfrm>
            <a:custGeom>
              <a:avLst/>
              <a:gdLst>
                <a:gd name="T0" fmla="*/ 101 w 125"/>
                <a:gd name="T1" fmla="*/ 0 h 93"/>
                <a:gd name="T2" fmla="*/ 23 w 125"/>
                <a:gd name="T3" fmla="*/ 0 h 93"/>
                <a:gd name="T4" fmla="*/ 0 w 125"/>
                <a:gd name="T5" fmla="*/ 23 h 93"/>
                <a:gd name="T6" fmla="*/ 0 w 125"/>
                <a:gd name="T7" fmla="*/ 70 h 93"/>
                <a:gd name="T8" fmla="*/ 23 w 125"/>
                <a:gd name="T9" fmla="*/ 93 h 93"/>
                <a:gd name="T10" fmla="*/ 101 w 125"/>
                <a:gd name="T11" fmla="*/ 93 h 93"/>
                <a:gd name="T12" fmla="*/ 125 w 125"/>
                <a:gd name="T13" fmla="*/ 70 h 93"/>
                <a:gd name="T14" fmla="*/ 125 w 125"/>
                <a:gd name="T15" fmla="*/ 23 h 93"/>
                <a:gd name="T16" fmla="*/ 101 w 125"/>
                <a:gd name="T17" fmla="*/ 0 h 93"/>
                <a:gd name="T18" fmla="*/ 47 w 125"/>
                <a:gd name="T19" fmla="*/ 78 h 93"/>
                <a:gd name="T20" fmla="*/ 47 w 125"/>
                <a:gd name="T21" fmla="*/ 15 h 93"/>
                <a:gd name="T22" fmla="*/ 86 w 125"/>
                <a:gd name="T23" fmla="*/ 46 h 93"/>
                <a:gd name="T24" fmla="*/ 47 w 125"/>
                <a:gd name="T25" fmla="*/ 78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5" h="93">
                  <a:moveTo>
                    <a:pt x="101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1" y="0"/>
                    <a:pt x="0" y="10"/>
                    <a:pt x="0" y="23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83"/>
                    <a:pt x="11" y="93"/>
                    <a:pt x="23" y="93"/>
                  </a:cubicBezTo>
                  <a:cubicBezTo>
                    <a:pt x="101" y="93"/>
                    <a:pt x="101" y="93"/>
                    <a:pt x="101" y="93"/>
                  </a:cubicBezTo>
                  <a:cubicBezTo>
                    <a:pt x="114" y="93"/>
                    <a:pt x="125" y="83"/>
                    <a:pt x="125" y="70"/>
                  </a:cubicBezTo>
                  <a:cubicBezTo>
                    <a:pt x="125" y="23"/>
                    <a:pt x="125" y="23"/>
                    <a:pt x="125" y="23"/>
                  </a:cubicBezTo>
                  <a:cubicBezTo>
                    <a:pt x="125" y="10"/>
                    <a:pt x="114" y="0"/>
                    <a:pt x="101" y="0"/>
                  </a:cubicBezTo>
                  <a:close/>
                  <a:moveTo>
                    <a:pt x="47" y="78"/>
                  </a:moveTo>
                  <a:cubicBezTo>
                    <a:pt x="47" y="15"/>
                    <a:pt x="47" y="15"/>
                    <a:pt x="47" y="15"/>
                  </a:cubicBezTo>
                  <a:cubicBezTo>
                    <a:pt x="86" y="46"/>
                    <a:pt x="86" y="46"/>
                    <a:pt x="86" y="46"/>
                  </a:cubicBezTo>
                  <a:lnTo>
                    <a:pt x="47" y="7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2" name="任意多边形: 形状 131">
              <a:extLst>
                <a:ext uri="{FF2B5EF4-FFF2-40B4-BE49-F238E27FC236}">
                  <a16:creationId xmlns:a16="http://schemas.microsoft.com/office/drawing/2014/main" id="{F6F9FA05-B0F3-4BAB-BBFE-226DE2325CD6}"/>
                </a:ext>
              </a:extLst>
            </p:cNvPr>
            <p:cNvSpPr/>
            <p:nvPr/>
          </p:nvSpPr>
          <p:spPr bwMode="auto">
            <a:xfrm>
              <a:off x="8534298" y="4360564"/>
              <a:ext cx="207476" cy="211392"/>
            </a:xfrm>
            <a:custGeom>
              <a:avLst/>
              <a:gdLst>
                <a:gd name="T0" fmla="*/ 61 w 65"/>
                <a:gd name="T1" fmla="*/ 19 h 66"/>
                <a:gd name="T2" fmla="*/ 47 w 65"/>
                <a:gd name="T3" fmla="*/ 4 h 66"/>
                <a:gd name="T4" fmla="*/ 51 w 65"/>
                <a:gd name="T5" fmla="*/ 0 h 66"/>
                <a:gd name="T6" fmla="*/ 65 w 65"/>
                <a:gd name="T7" fmla="*/ 15 h 66"/>
                <a:gd name="T8" fmla="*/ 61 w 65"/>
                <a:gd name="T9" fmla="*/ 19 h 66"/>
                <a:gd name="T10" fmla="*/ 57 w 65"/>
                <a:gd name="T11" fmla="*/ 23 h 66"/>
                <a:gd name="T12" fmla="*/ 55 w 65"/>
                <a:gd name="T13" fmla="*/ 46 h 66"/>
                <a:gd name="T14" fmla="*/ 10 w 65"/>
                <a:gd name="T15" fmla="*/ 66 h 66"/>
                <a:gd name="T16" fmla="*/ 6 w 65"/>
                <a:gd name="T17" fmla="*/ 63 h 66"/>
                <a:gd name="T18" fmla="*/ 24 w 65"/>
                <a:gd name="T19" fmla="*/ 45 h 66"/>
                <a:gd name="T20" fmla="*/ 26 w 65"/>
                <a:gd name="T21" fmla="*/ 46 h 66"/>
                <a:gd name="T22" fmla="*/ 32 w 65"/>
                <a:gd name="T23" fmla="*/ 39 h 66"/>
                <a:gd name="T24" fmla="*/ 26 w 65"/>
                <a:gd name="T25" fmla="*/ 33 h 66"/>
                <a:gd name="T26" fmla="*/ 20 w 65"/>
                <a:gd name="T27" fmla="*/ 39 h 66"/>
                <a:gd name="T28" fmla="*/ 21 w 65"/>
                <a:gd name="T29" fmla="*/ 42 h 66"/>
                <a:gd name="T30" fmla="*/ 3 w 65"/>
                <a:gd name="T31" fmla="*/ 59 h 66"/>
                <a:gd name="T32" fmla="*/ 0 w 65"/>
                <a:gd name="T33" fmla="*/ 56 h 66"/>
                <a:gd name="T34" fmla="*/ 20 w 65"/>
                <a:gd name="T35" fmla="*/ 10 h 66"/>
                <a:gd name="T36" fmla="*/ 43 w 65"/>
                <a:gd name="T37" fmla="*/ 8 h 66"/>
                <a:gd name="T38" fmla="*/ 57 w 65"/>
                <a:gd name="T39" fmla="*/ 23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5" h="66">
                  <a:moveTo>
                    <a:pt x="61" y="19"/>
                  </a:moveTo>
                  <a:cubicBezTo>
                    <a:pt x="47" y="4"/>
                    <a:pt x="47" y="4"/>
                    <a:pt x="47" y="4"/>
                  </a:cubicBezTo>
                  <a:cubicBezTo>
                    <a:pt x="51" y="0"/>
                    <a:pt x="51" y="0"/>
                    <a:pt x="51" y="0"/>
                  </a:cubicBezTo>
                  <a:cubicBezTo>
                    <a:pt x="65" y="15"/>
                    <a:pt x="65" y="15"/>
                    <a:pt x="65" y="15"/>
                  </a:cubicBezTo>
                  <a:lnTo>
                    <a:pt x="61" y="19"/>
                  </a:lnTo>
                  <a:close/>
                  <a:moveTo>
                    <a:pt x="57" y="23"/>
                  </a:moveTo>
                  <a:cubicBezTo>
                    <a:pt x="55" y="46"/>
                    <a:pt x="55" y="46"/>
                    <a:pt x="55" y="46"/>
                  </a:cubicBezTo>
                  <a:cubicBezTo>
                    <a:pt x="37" y="46"/>
                    <a:pt x="10" y="66"/>
                    <a:pt x="10" y="66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4" y="45"/>
                    <a:pt x="24" y="45"/>
                    <a:pt x="24" y="45"/>
                  </a:cubicBezTo>
                  <a:cubicBezTo>
                    <a:pt x="25" y="45"/>
                    <a:pt x="25" y="46"/>
                    <a:pt x="26" y="46"/>
                  </a:cubicBezTo>
                  <a:cubicBezTo>
                    <a:pt x="30" y="46"/>
                    <a:pt x="32" y="43"/>
                    <a:pt x="32" y="39"/>
                  </a:cubicBezTo>
                  <a:cubicBezTo>
                    <a:pt x="32" y="36"/>
                    <a:pt x="30" y="33"/>
                    <a:pt x="26" y="33"/>
                  </a:cubicBezTo>
                  <a:cubicBezTo>
                    <a:pt x="23" y="33"/>
                    <a:pt x="20" y="36"/>
                    <a:pt x="20" y="39"/>
                  </a:cubicBezTo>
                  <a:cubicBezTo>
                    <a:pt x="20" y="40"/>
                    <a:pt x="20" y="41"/>
                    <a:pt x="21" y="42"/>
                  </a:cubicBezTo>
                  <a:cubicBezTo>
                    <a:pt x="3" y="59"/>
                    <a:pt x="3" y="59"/>
                    <a:pt x="3" y="59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56"/>
                    <a:pt x="20" y="29"/>
                    <a:pt x="20" y="10"/>
                  </a:cubicBezTo>
                  <a:cubicBezTo>
                    <a:pt x="43" y="8"/>
                    <a:pt x="43" y="8"/>
                    <a:pt x="43" y="8"/>
                  </a:cubicBezTo>
                  <a:lnTo>
                    <a:pt x="57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3" name="任意多边形: 形状 132">
              <a:extLst>
                <a:ext uri="{FF2B5EF4-FFF2-40B4-BE49-F238E27FC236}">
                  <a16:creationId xmlns:a16="http://schemas.microsoft.com/office/drawing/2014/main" id="{97214A7C-67D5-4DA9-B52D-15CC02F6E1BF}"/>
                </a:ext>
              </a:extLst>
            </p:cNvPr>
            <p:cNvSpPr/>
            <p:nvPr/>
          </p:nvSpPr>
          <p:spPr bwMode="auto">
            <a:xfrm>
              <a:off x="8890530" y="4113940"/>
              <a:ext cx="279899" cy="268154"/>
            </a:xfrm>
            <a:custGeom>
              <a:avLst/>
              <a:gdLst>
                <a:gd name="T0" fmla="*/ 55 w 88"/>
                <a:gd name="T1" fmla="*/ 59 h 84"/>
                <a:gd name="T2" fmla="*/ 53 w 88"/>
                <a:gd name="T3" fmla="*/ 53 h 84"/>
                <a:gd name="T4" fmla="*/ 61 w 88"/>
                <a:gd name="T5" fmla="*/ 38 h 84"/>
                <a:gd name="T6" fmla="*/ 63 w 88"/>
                <a:gd name="T7" fmla="*/ 26 h 84"/>
                <a:gd name="T8" fmla="*/ 44 w 88"/>
                <a:gd name="T9" fmla="*/ 0 h 84"/>
                <a:gd name="T10" fmla="*/ 25 w 88"/>
                <a:gd name="T11" fmla="*/ 26 h 84"/>
                <a:gd name="T12" fmla="*/ 28 w 88"/>
                <a:gd name="T13" fmla="*/ 38 h 84"/>
                <a:gd name="T14" fmla="*/ 36 w 88"/>
                <a:gd name="T15" fmla="*/ 53 h 84"/>
                <a:gd name="T16" fmla="*/ 33 w 88"/>
                <a:gd name="T17" fmla="*/ 59 h 84"/>
                <a:gd name="T18" fmla="*/ 0 w 88"/>
                <a:gd name="T19" fmla="*/ 84 h 84"/>
                <a:gd name="T20" fmla="*/ 44 w 88"/>
                <a:gd name="T21" fmla="*/ 84 h 84"/>
                <a:gd name="T22" fmla="*/ 88 w 88"/>
                <a:gd name="T23" fmla="*/ 84 h 84"/>
                <a:gd name="T24" fmla="*/ 55 w 88"/>
                <a:gd name="T25" fmla="*/ 59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8" h="84">
                  <a:moveTo>
                    <a:pt x="55" y="59"/>
                  </a:moveTo>
                  <a:cubicBezTo>
                    <a:pt x="53" y="59"/>
                    <a:pt x="53" y="53"/>
                    <a:pt x="53" y="53"/>
                  </a:cubicBezTo>
                  <a:cubicBezTo>
                    <a:pt x="53" y="53"/>
                    <a:pt x="59" y="46"/>
                    <a:pt x="61" y="38"/>
                  </a:cubicBezTo>
                  <a:cubicBezTo>
                    <a:pt x="64" y="38"/>
                    <a:pt x="67" y="29"/>
                    <a:pt x="63" y="26"/>
                  </a:cubicBezTo>
                  <a:cubicBezTo>
                    <a:pt x="63" y="22"/>
                    <a:pt x="68" y="0"/>
                    <a:pt x="44" y="0"/>
                  </a:cubicBezTo>
                  <a:cubicBezTo>
                    <a:pt x="21" y="0"/>
                    <a:pt x="25" y="22"/>
                    <a:pt x="25" y="26"/>
                  </a:cubicBezTo>
                  <a:cubicBezTo>
                    <a:pt x="22" y="29"/>
                    <a:pt x="24" y="38"/>
                    <a:pt x="28" y="38"/>
                  </a:cubicBezTo>
                  <a:cubicBezTo>
                    <a:pt x="29" y="46"/>
                    <a:pt x="36" y="53"/>
                    <a:pt x="36" y="53"/>
                  </a:cubicBezTo>
                  <a:cubicBezTo>
                    <a:pt x="36" y="53"/>
                    <a:pt x="35" y="59"/>
                    <a:pt x="33" y="59"/>
                  </a:cubicBezTo>
                  <a:cubicBezTo>
                    <a:pt x="26" y="60"/>
                    <a:pt x="0" y="72"/>
                    <a:pt x="0" y="84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88" y="84"/>
                    <a:pt x="88" y="84"/>
                    <a:pt x="88" y="84"/>
                  </a:cubicBezTo>
                  <a:cubicBezTo>
                    <a:pt x="88" y="72"/>
                    <a:pt x="62" y="60"/>
                    <a:pt x="55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4" name="任意多边形: 形状 133">
              <a:extLst>
                <a:ext uri="{FF2B5EF4-FFF2-40B4-BE49-F238E27FC236}">
                  <a16:creationId xmlns:a16="http://schemas.microsoft.com/office/drawing/2014/main" id="{E7C64501-ED8E-4268-83DB-A60F3C02CDFE}"/>
                </a:ext>
              </a:extLst>
            </p:cNvPr>
            <p:cNvSpPr/>
            <p:nvPr/>
          </p:nvSpPr>
          <p:spPr bwMode="auto">
            <a:xfrm>
              <a:off x="8039093" y="4581743"/>
              <a:ext cx="262282" cy="262282"/>
            </a:xfrm>
            <a:custGeom>
              <a:avLst/>
              <a:gdLst>
                <a:gd name="T0" fmla="*/ 0 w 82"/>
                <a:gd name="T1" fmla="*/ 41 h 82"/>
                <a:gd name="T2" fmla="*/ 82 w 82"/>
                <a:gd name="T3" fmla="*/ 41 h 82"/>
                <a:gd name="T4" fmla="*/ 64 w 82"/>
                <a:gd name="T5" fmla="*/ 55 h 82"/>
                <a:gd name="T6" fmla="*/ 77 w 82"/>
                <a:gd name="T7" fmla="*/ 44 h 82"/>
                <a:gd name="T8" fmla="*/ 64 w 82"/>
                <a:gd name="T9" fmla="*/ 55 h 82"/>
                <a:gd name="T10" fmla="*/ 16 w 82"/>
                <a:gd name="T11" fmla="*/ 38 h 82"/>
                <a:gd name="T12" fmla="*/ 8 w 82"/>
                <a:gd name="T13" fmla="*/ 27 h 82"/>
                <a:gd name="T14" fmla="*/ 59 w 82"/>
                <a:gd name="T15" fmla="*/ 27 h 82"/>
                <a:gd name="T16" fmla="*/ 44 w 82"/>
                <a:gd name="T17" fmla="*/ 38 h 82"/>
                <a:gd name="T18" fmla="*/ 59 w 82"/>
                <a:gd name="T19" fmla="*/ 27 h 82"/>
                <a:gd name="T20" fmla="*/ 44 w 82"/>
                <a:gd name="T21" fmla="*/ 5 h 82"/>
                <a:gd name="T22" fmla="*/ 54 w 82"/>
                <a:gd name="T23" fmla="*/ 14 h 82"/>
                <a:gd name="T24" fmla="*/ 44 w 82"/>
                <a:gd name="T25" fmla="*/ 22 h 82"/>
                <a:gd name="T26" fmla="*/ 35 w 82"/>
                <a:gd name="T27" fmla="*/ 7 h 82"/>
                <a:gd name="T28" fmla="*/ 38 w 82"/>
                <a:gd name="T29" fmla="*/ 22 h 82"/>
                <a:gd name="T30" fmla="*/ 28 w 82"/>
                <a:gd name="T31" fmla="*/ 14 h 82"/>
                <a:gd name="T32" fmla="*/ 38 w 82"/>
                <a:gd name="T33" fmla="*/ 38 h 82"/>
                <a:gd name="T34" fmla="*/ 23 w 82"/>
                <a:gd name="T35" fmla="*/ 27 h 82"/>
                <a:gd name="T36" fmla="*/ 8 w 82"/>
                <a:gd name="T37" fmla="*/ 55 h 82"/>
                <a:gd name="T38" fmla="*/ 16 w 82"/>
                <a:gd name="T39" fmla="*/ 44 h 82"/>
                <a:gd name="T40" fmla="*/ 8 w 82"/>
                <a:gd name="T41" fmla="*/ 55 h 82"/>
                <a:gd name="T42" fmla="*/ 38 w 82"/>
                <a:gd name="T43" fmla="*/ 44 h 82"/>
                <a:gd name="T44" fmla="*/ 23 w 82"/>
                <a:gd name="T45" fmla="*/ 55 h 82"/>
                <a:gd name="T46" fmla="*/ 38 w 82"/>
                <a:gd name="T47" fmla="*/ 60 h 82"/>
                <a:gd name="T48" fmla="*/ 35 w 82"/>
                <a:gd name="T49" fmla="*/ 74 h 82"/>
                <a:gd name="T50" fmla="*/ 25 w 82"/>
                <a:gd name="T51" fmla="*/ 60 h 82"/>
                <a:gd name="T52" fmla="*/ 54 w 82"/>
                <a:gd name="T53" fmla="*/ 67 h 82"/>
                <a:gd name="T54" fmla="*/ 44 w 82"/>
                <a:gd name="T55" fmla="*/ 76 h 82"/>
                <a:gd name="T56" fmla="*/ 57 w 82"/>
                <a:gd name="T57" fmla="*/ 60 h 82"/>
                <a:gd name="T58" fmla="*/ 44 w 82"/>
                <a:gd name="T59" fmla="*/ 55 h 82"/>
                <a:gd name="T60" fmla="*/ 60 w 82"/>
                <a:gd name="T61" fmla="*/ 44 h 82"/>
                <a:gd name="T62" fmla="*/ 44 w 82"/>
                <a:gd name="T63" fmla="*/ 55 h 82"/>
                <a:gd name="T64" fmla="*/ 64 w 82"/>
                <a:gd name="T65" fmla="*/ 27 h 82"/>
                <a:gd name="T66" fmla="*/ 77 w 82"/>
                <a:gd name="T67" fmla="*/ 38 h 82"/>
                <a:gd name="T68" fmla="*/ 71 w 82"/>
                <a:gd name="T69" fmla="*/ 22 h 82"/>
                <a:gd name="T70" fmla="*/ 57 w 82"/>
                <a:gd name="T71" fmla="*/ 9 h 82"/>
                <a:gd name="T72" fmla="*/ 71 w 82"/>
                <a:gd name="T73" fmla="*/ 22 h 82"/>
                <a:gd name="T74" fmla="*/ 26 w 82"/>
                <a:gd name="T75" fmla="*/ 9 h 82"/>
                <a:gd name="T76" fmla="*/ 11 w 82"/>
                <a:gd name="T77" fmla="*/ 22 h 82"/>
                <a:gd name="T78" fmla="*/ 11 w 82"/>
                <a:gd name="T79" fmla="*/ 60 h 82"/>
                <a:gd name="T80" fmla="*/ 26 w 82"/>
                <a:gd name="T81" fmla="*/ 73 h 82"/>
                <a:gd name="T82" fmla="*/ 11 w 82"/>
                <a:gd name="T83" fmla="*/ 60 h 82"/>
                <a:gd name="T84" fmla="*/ 57 w 82"/>
                <a:gd name="T85" fmla="*/ 73 h 82"/>
                <a:gd name="T86" fmla="*/ 71 w 82"/>
                <a:gd name="T87" fmla="*/ 6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" h="82">
                  <a:moveTo>
                    <a:pt x="41" y="0"/>
                  </a:moveTo>
                  <a:cubicBezTo>
                    <a:pt x="18" y="0"/>
                    <a:pt x="0" y="18"/>
                    <a:pt x="0" y="41"/>
                  </a:cubicBezTo>
                  <a:cubicBezTo>
                    <a:pt x="0" y="64"/>
                    <a:pt x="18" y="82"/>
                    <a:pt x="41" y="82"/>
                  </a:cubicBezTo>
                  <a:cubicBezTo>
                    <a:pt x="64" y="82"/>
                    <a:pt x="82" y="64"/>
                    <a:pt x="82" y="41"/>
                  </a:cubicBezTo>
                  <a:cubicBezTo>
                    <a:pt x="82" y="18"/>
                    <a:pt x="64" y="0"/>
                    <a:pt x="41" y="0"/>
                  </a:cubicBezTo>
                  <a:close/>
                  <a:moveTo>
                    <a:pt x="64" y="55"/>
                  </a:moveTo>
                  <a:cubicBezTo>
                    <a:pt x="65" y="51"/>
                    <a:pt x="66" y="47"/>
                    <a:pt x="66" y="44"/>
                  </a:cubicBezTo>
                  <a:cubicBezTo>
                    <a:pt x="77" y="44"/>
                    <a:pt x="77" y="44"/>
                    <a:pt x="77" y="44"/>
                  </a:cubicBezTo>
                  <a:cubicBezTo>
                    <a:pt x="76" y="47"/>
                    <a:pt x="76" y="51"/>
                    <a:pt x="74" y="55"/>
                  </a:cubicBezTo>
                  <a:lnTo>
                    <a:pt x="64" y="55"/>
                  </a:lnTo>
                  <a:close/>
                  <a:moveTo>
                    <a:pt x="18" y="27"/>
                  </a:moveTo>
                  <a:cubicBezTo>
                    <a:pt x="17" y="31"/>
                    <a:pt x="17" y="34"/>
                    <a:pt x="1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6" y="34"/>
                    <a:pt x="7" y="31"/>
                    <a:pt x="8" y="27"/>
                  </a:cubicBezTo>
                  <a:lnTo>
                    <a:pt x="18" y="27"/>
                  </a:lnTo>
                  <a:close/>
                  <a:moveTo>
                    <a:pt x="59" y="27"/>
                  </a:moveTo>
                  <a:cubicBezTo>
                    <a:pt x="60" y="31"/>
                    <a:pt x="60" y="34"/>
                    <a:pt x="60" y="38"/>
                  </a:cubicBezTo>
                  <a:cubicBezTo>
                    <a:pt x="44" y="38"/>
                    <a:pt x="44" y="38"/>
                    <a:pt x="44" y="38"/>
                  </a:cubicBezTo>
                  <a:cubicBezTo>
                    <a:pt x="44" y="27"/>
                    <a:pt x="44" y="27"/>
                    <a:pt x="44" y="27"/>
                  </a:cubicBezTo>
                  <a:lnTo>
                    <a:pt x="59" y="27"/>
                  </a:lnTo>
                  <a:close/>
                  <a:moveTo>
                    <a:pt x="44" y="22"/>
                  </a:moveTo>
                  <a:cubicBezTo>
                    <a:pt x="44" y="5"/>
                    <a:pt x="44" y="5"/>
                    <a:pt x="44" y="5"/>
                  </a:cubicBezTo>
                  <a:cubicBezTo>
                    <a:pt x="45" y="6"/>
                    <a:pt x="46" y="6"/>
                    <a:pt x="48" y="7"/>
                  </a:cubicBezTo>
                  <a:cubicBezTo>
                    <a:pt x="50" y="9"/>
                    <a:pt x="52" y="11"/>
                    <a:pt x="54" y="14"/>
                  </a:cubicBezTo>
                  <a:cubicBezTo>
                    <a:pt x="55" y="17"/>
                    <a:pt x="56" y="19"/>
                    <a:pt x="57" y="22"/>
                  </a:cubicBezTo>
                  <a:cubicBezTo>
                    <a:pt x="44" y="22"/>
                    <a:pt x="44" y="22"/>
                    <a:pt x="44" y="22"/>
                  </a:cubicBezTo>
                  <a:close/>
                  <a:moveTo>
                    <a:pt x="28" y="14"/>
                  </a:moveTo>
                  <a:cubicBezTo>
                    <a:pt x="30" y="11"/>
                    <a:pt x="32" y="9"/>
                    <a:pt x="35" y="7"/>
                  </a:cubicBezTo>
                  <a:cubicBezTo>
                    <a:pt x="36" y="6"/>
                    <a:pt x="37" y="6"/>
                    <a:pt x="38" y="5"/>
                  </a:cubicBezTo>
                  <a:cubicBezTo>
                    <a:pt x="38" y="22"/>
                    <a:pt x="38" y="22"/>
                    <a:pt x="38" y="22"/>
                  </a:cubicBezTo>
                  <a:cubicBezTo>
                    <a:pt x="25" y="22"/>
                    <a:pt x="25" y="22"/>
                    <a:pt x="25" y="22"/>
                  </a:cubicBezTo>
                  <a:cubicBezTo>
                    <a:pt x="26" y="19"/>
                    <a:pt x="27" y="17"/>
                    <a:pt x="28" y="14"/>
                  </a:cubicBezTo>
                  <a:close/>
                  <a:moveTo>
                    <a:pt x="38" y="27"/>
                  </a:moveTo>
                  <a:cubicBezTo>
                    <a:pt x="38" y="38"/>
                    <a:pt x="38" y="38"/>
                    <a:pt x="38" y="38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22" y="34"/>
                    <a:pt x="23" y="31"/>
                    <a:pt x="23" y="27"/>
                  </a:cubicBezTo>
                  <a:lnTo>
                    <a:pt x="38" y="27"/>
                  </a:lnTo>
                  <a:close/>
                  <a:moveTo>
                    <a:pt x="8" y="55"/>
                  </a:moveTo>
                  <a:cubicBezTo>
                    <a:pt x="7" y="51"/>
                    <a:pt x="6" y="47"/>
                    <a:pt x="6" y="44"/>
                  </a:cubicBezTo>
                  <a:cubicBezTo>
                    <a:pt x="16" y="44"/>
                    <a:pt x="16" y="44"/>
                    <a:pt x="16" y="44"/>
                  </a:cubicBezTo>
                  <a:cubicBezTo>
                    <a:pt x="17" y="47"/>
                    <a:pt x="17" y="51"/>
                    <a:pt x="18" y="55"/>
                  </a:cubicBezTo>
                  <a:lnTo>
                    <a:pt x="8" y="55"/>
                  </a:lnTo>
                  <a:close/>
                  <a:moveTo>
                    <a:pt x="22" y="44"/>
                  </a:moveTo>
                  <a:cubicBezTo>
                    <a:pt x="38" y="44"/>
                    <a:pt x="38" y="44"/>
                    <a:pt x="38" y="44"/>
                  </a:cubicBezTo>
                  <a:cubicBezTo>
                    <a:pt x="38" y="55"/>
                    <a:pt x="38" y="55"/>
                    <a:pt x="38" y="55"/>
                  </a:cubicBezTo>
                  <a:cubicBezTo>
                    <a:pt x="23" y="55"/>
                    <a:pt x="23" y="55"/>
                    <a:pt x="23" y="55"/>
                  </a:cubicBezTo>
                  <a:cubicBezTo>
                    <a:pt x="23" y="51"/>
                    <a:pt x="22" y="47"/>
                    <a:pt x="22" y="44"/>
                  </a:cubicBezTo>
                  <a:close/>
                  <a:moveTo>
                    <a:pt x="38" y="60"/>
                  </a:moveTo>
                  <a:cubicBezTo>
                    <a:pt x="38" y="76"/>
                    <a:pt x="38" y="76"/>
                    <a:pt x="38" y="76"/>
                  </a:cubicBezTo>
                  <a:cubicBezTo>
                    <a:pt x="37" y="76"/>
                    <a:pt x="36" y="75"/>
                    <a:pt x="35" y="74"/>
                  </a:cubicBezTo>
                  <a:cubicBezTo>
                    <a:pt x="32" y="73"/>
                    <a:pt x="30" y="70"/>
                    <a:pt x="28" y="67"/>
                  </a:cubicBezTo>
                  <a:cubicBezTo>
                    <a:pt x="27" y="65"/>
                    <a:pt x="26" y="63"/>
                    <a:pt x="25" y="60"/>
                  </a:cubicBezTo>
                  <a:cubicBezTo>
                    <a:pt x="38" y="60"/>
                    <a:pt x="38" y="60"/>
                    <a:pt x="38" y="60"/>
                  </a:cubicBezTo>
                  <a:close/>
                  <a:moveTo>
                    <a:pt x="54" y="67"/>
                  </a:moveTo>
                  <a:cubicBezTo>
                    <a:pt x="52" y="70"/>
                    <a:pt x="50" y="73"/>
                    <a:pt x="48" y="74"/>
                  </a:cubicBezTo>
                  <a:cubicBezTo>
                    <a:pt x="46" y="75"/>
                    <a:pt x="45" y="76"/>
                    <a:pt x="44" y="76"/>
                  </a:cubicBezTo>
                  <a:cubicBezTo>
                    <a:pt x="44" y="60"/>
                    <a:pt x="44" y="60"/>
                    <a:pt x="44" y="60"/>
                  </a:cubicBezTo>
                  <a:cubicBezTo>
                    <a:pt x="57" y="60"/>
                    <a:pt x="57" y="60"/>
                    <a:pt x="57" y="60"/>
                  </a:cubicBezTo>
                  <a:cubicBezTo>
                    <a:pt x="56" y="63"/>
                    <a:pt x="55" y="65"/>
                    <a:pt x="54" y="67"/>
                  </a:cubicBezTo>
                  <a:close/>
                  <a:moveTo>
                    <a:pt x="44" y="55"/>
                  </a:moveTo>
                  <a:cubicBezTo>
                    <a:pt x="44" y="44"/>
                    <a:pt x="44" y="44"/>
                    <a:pt x="44" y="44"/>
                  </a:cubicBezTo>
                  <a:cubicBezTo>
                    <a:pt x="60" y="44"/>
                    <a:pt x="60" y="44"/>
                    <a:pt x="60" y="44"/>
                  </a:cubicBezTo>
                  <a:cubicBezTo>
                    <a:pt x="60" y="47"/>
                    <a:pt x="60" y="51"/>
                    <a:pt x="59" y="55"/>
                  </a:cubicBezTo>
                  <a:lnTo>
                    <a:pt x="44" y="55"/>
                  </a:lnTo>
                  <a:close/>
                  <a:moveTo>
                    <a:pt x="66" y="38"/>
                  </a:moveTo>
                  <a:cubicBezTo>
                    <a:pt x="66" y="34"/>
                    <a:pt x="65" y="31"/>
                    <a:pt x="64" y="27"/>
                  </a:cubicBezTo>
                  <a:cubicBezTo>
                    <a:pt x="74" y="27"/>
                    <a:pt x="74" y="27"/>
                    <a:pt x="74" y="27"/>
                  </a:cubicBezTo>
                  <a:cubicBezTo>
                    <a:pt x="76" y="31"/>
                    <a:pt x="76" y="34"/>
                    <a:pt x="77" y="38"/>
                  </a:cubicBezTo>
                  <a:lnTo>
                    <a:pt x="66" y="38"/>
                  </a:lnTo>
                  <a:close/>
                  <a:moveTo>
                    <a:pt x="71" y="22"/>
                  </a:moveTo>
                  <a:cubicBezTo>
                    <a:pt x="63" y="22"/>
                    <a:pt x="63" y="22"/>
                    <a:pt x="63" y="22"/>
                  </a:cubicBezTo>
                  <a:cubicBezTo>
                    <a:pt x="61" y="17"/>
                    <a:pt x="59" y="12"/>
                    <a:pt x="57" y="9"/>
                  </a:cubicBezTo>
                  <a:cubicBezTo>
                    <a:pt x="60" y="10"/>
                    <a:pt x="63" y="13"/>
                    <a:pt x="66" y="16"/>
                  </a:cubicBezTo>
                  <a:cubicBezTo>
                    <a:pt x="68" y="17"/>
                    <a:pt x="70" y="19"/>
                    <a:pt x="71" y="22"/>
                  </a:cubicBezTo>
                  <a:close/>
                  <a:moveTo>
                    <a:pt x="16" y="16"/>
                  </a:moveTo>
                  <a:cubicBezTo>
                    <a:pt x="19" y="13"/>
                    <a:pt x="22" y="10"/>
                    <a:pt x="26" y="9"/>
                  </a:cubicBezTo>
                  <a:cubicBezTo>
                    <a:pt x="23" y="12"/>
                    <a:pt x="21" y="17"/>
                    <a:pt x="19" y="22"/>
                  </a:cubicBezTo>
                  <a:cubicBezTo>
                    <a:pt x="11" y="22"/>
                    <a:pt x="11" y="22"/>
                    <a:pt x="11" y="22"/>
                  </a:cubicBezTo>
                  <a:cubicBezTo>
                    <a:pt x="12" y="19"/>
                    <a:pt x="14" y="17"/>
                    <a:pt x="16" y="16"/>
                  </a:cubicBezTo>
                  <a:close/>
                  <a:moveTo>
                    <a:pt x="11" y="60"/>
                  </a:moveTo>
                  <a:cubicBezTo>
                    <a:pt x="19" y="60"/>
                    <a:pt x="19" y="60"/>
                    <a:pt x="19" y="60"/>
                  </a:cubicBezTo>
                  <a:cubicBezTo>
                    <a:pt x="21" y="65"/>
                    <a:pt x="23" y="69"/>
                    <a:pt x="26" y="73"/>
                  </a:cubicBezTo>
                  <a:cubicBezTo>
                    <a:pt x="22" y="71"/>
                    <a:pt x="19" y="69"/>
                    <a:pt x="16" y="66"/>
                  </a:cubicBezTo>
                  <a:cubicBezTo>
                    <a:pt x="14" y="64"/>
                    <a:pt x="12" y="62"/>
                    <a:pt x="11" y="60"/>
                  </a:cubicBezTo>
                  <a:close/>
                  <a:moveTo>
                    <a:pt x="66" y="66"/>
                  </a:moveTo>
                  <a:cubicBezTo>
                    <a:pt x="63" y="69"/>
                    <a:pt x="60" y="71"/>
                    <a:pt x="57" y="73"/>
                  </a:cubicBezTo>
                  <a:cubicBezTo>
                    <a:pt x="59" y="69"/>
                    <a:pt x="61" y="65"/>
                    <a:pt x="63" y="60"/>
                  </a:cubicBezTo>
                  <a:cubicBezTo>
                    <a:pt x="71" y="60"/>
                    <a:pt x="71" y="60"/>
                    <a:pt x="71" y="60"/>
                  </a:cubicBezTo>
                  <a:cubicBezTo>
                    <a:pt x="70" y="62"/>
                    <a:pt x="68" y="64"/>
                    <a:pt x="66" y="6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5" name="任意多边形: 形状 134">
              <a:extLst>
                <a:ext uri="{FF2B5EF4-FFF2-40B4-BE49-F238E27FC236}">
                  <a16:creationId xmlns:a16="http://schemas.microsoft.com/office/drawing/2014/main" id="{CE951208-3016-4894-9ECF-53982D6162E8}"/>
                </a:ext>
              </a:extLst>
            </p:cNvPr>
            <p:cNvSpPr/>
            <p:nvPr/>
          </p:nvSpPr>
          <p:spPr bwMode="auto">
            <a:xfrm>
              <a:off x="8820067" y="2931711"/>
              <a:ext cx="219221" cy="232922"/>
            </a:xfrm>
            <a:custGeom>
              <a:avLst/>
              <a:gdLst>
                <a:gd name="T0" fmla="*/ 62 w 69"/>
                <a:gd name="T1" fmla="*/ 0 h 73"/>
                <a:gd name="T2" fmla="*/ 7 w 69"/>
                <a:gd name="T3" fmla="*/ 0 h 73"/>
                <a:gd name="T4" fmla="*/ 0 w 69"/>
                <a:gd name="T5" fmla="*/ 7 h 73"/>
                <a:gd name="T6" fmla="*/ 0 w 69"/>
                <a:gd name="T7" fmla="*/ 66 h 73"/>
                <a:gd name="T8" fmla="*/ 7 w 69"/>
                <a:gd name="T9" fmla="*/ 73 h 73"/>
                <a:gd name="T10" fmla="*/ 62 w 69"/>
                <a:gd name="T11" fmla="*/ 73 h 73"/>
                <a:gd name="T12" fmla="*/ 69 w 69"/>
                <a:gd name="T13" fmla="*/ 66 h 73"/>
                <a:gd name="T14" fmla="*/ 69 w 69"/>
                <a:gd name="T15" fmla="*/ 7 h 73"/>
                <a:gd name="T16" fmla="*/ 62 w 69"/>
                <a:gd name="T17" fmla="*/ 0 h 73"/>
                <a:gd name="T18" fmla="*/ 60 w 69"/>
                <a:gd name="T19" fmla="*/ 64 h 73"/>
                <a:gd name="T20" fmla="*/ 10 w 69"/>
                <a:gd name="T21" fmla="*/ 64 h 73"/>
                <a:gd name="T22" fmla="*/ 10 w 69"/>
                <a:gd name="T23" fmla="*/ 9 h 73"/>
                <a:gd name="T24" fmla="*/ 60 w 69"/>
                <a:gd name="T25" fmla="*/ 9 h 73"/>
                <a:gd name="T26" fmla="*/ 60 w 69"/>
                <a:gd name="T27" fmla="*/ 64 h 73"/>
                <a:gd name="T28" fmla="*/ 19 w 69"/>
                <a:gd name="T29" fmla="*/ 32 h 73"/>
                <a:gd name="T30" fmla="*/ 51 w 69"/>
                <a:gd name="T31" fmla="*/ 32 h 73"/>
                <a:gd name="T32" fmla="*/ 51 w 69"/>
                <a:gd name="T33" fmla="*/ 37 h 73"/>
                <a:gd name="T34" fmla="*/ 19 w 69"/>
                <a:gd name="T35" fmla="*/ 37 h 73"/>
                <a:gd name="T36" fmla="*/ 19 w 69"/>
                <a:gd name="T37" fmla="*/ 32 h 73"/>
                <a:gd name="T38" fmla="*/ 19 w 69"/>
                <a:gd name="T39" fmla="*/ 41 h 73"/>
                <a:gd name="T40" fmla="*/ 51 w 69"/>
                <a:gd name="T41" fmla="*/ 41 h 73"/>
                <a:gd name="T42" fmla="*/ 51 w 69"/>
                <a:gd name="T43" fmla="*/ 46 h 73"/>
                <a:gd name="T44" fmla="*/ 19 w 69"/>
                <a:gd name="T45" fmla="*/ 46 h 73"/>
                <a:gd name="T46" fmla="*/ 19 w 69"/>
                <a:gd name="T47" fmla="*/ 41 h 73"/>
                <a:gd name="T48" fmla="*/ 19 w 69"/>
                <a:gd name="T49" fmla="*/ 50 h 73"/>
                <a:gd name="T50" fmla="*/ 51 w 69"/>
                <a:gd name="T51" fmla="*/ 50 h 73"/>
                <a:gd name="T52" fmla="*/ 51 w 69"/>
                <a:gd name="T53" fmla="*/ 55 h 73"/>
                <a:gd name="T54" fmla="*/ 19 w 69"/>
                <a:gd name="T55" fmla="*/ 55 h 73"/>
                <a:gd name="T56" fmla="*/ 19 w 69"/>
                <a:gd name="T57" fmla="*/ 50 h 73"/>
                <a:gd name="T58" fmla="*/ 19 w 69"/>
                <a:gd name="T59" fmla="*/ 23 h 73"/>
                <a:gd name="T60" fmla="*/ 51 w 69"/>
                <a:gd name="T61" fmla="*/ 23 h 73"/>
                <a:gd name="T62" fmla="*/ 51 w 69"/>
                <a:gd name="T63" fmla="*/ 27 h 73"/>
                <a:gd name="T64" fmla="*/ 19 w 69"/>
                <a:gd name="T65" fmla="*/ 27 h 73"/>
                <a:gd name="T66" fmla="*/ 19 w 69"/>
                <a:gd name="T67" fmla="*/ 23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9" h="73">
                  <a:moveTo>
                    <a:pt x="62" y="0"/>
                  </a:moveTo>
                  <a:cubicBezTo>
                    <a:pt x="7" y="0"/>
                    <a:pt x="7" y="0"/>
                    <a:pt x="7" y="0"/>
                  </a:cubicBezTo>
                  <a:cubicBezTo>
                    <a:pt x="4" y="0"/>
                    <a:pt x="0" y="3"/>
                    <a:pt x="0" y="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70"/>
                    <a:pt x="4" y="73"/>
                    <a:pt x="7" y="73"/>
                  </a:cubicBezTo>
                  <a:cubicBezTo>
                    <a:pt x="62" y="73"/>
                    <a:pt x="62" y="73"/>
                    <a:pt x="62" y="73"/>
                  </a:cubicBezTo>
                  <a:cubicBezTo>
                    <a:pt x="66" y="73"/>
                    <a:pt x="69" y="70"/>
                    <a:pt x="69" y="66"/>
                  </a:cubicBezTo>
                  <a:cubicBezTo>
                    <a:pt x="69" y="7"/>
                    <a:pt x="69" y="7"/>
                    <a:pt x="69" y="7"/>
                  </a:cubicBezTo>
                  <a:cubicBezTo>
                    <a:pt x="69" y="3"/>
                    <a:pt x="66" y="0"/>
                    <a:pt x="62" y="0"/>
                  </a:cubicBezTo>
                  <a:close/>
                  <a:moveTo>
                    <a:pt x="60" y="64"/>
                  </a:moveTo>
                  <a:cubicBezTo>
                    <a:pt x="10" y="64"/>
                    <a:pt x="10" y="64"/>
                    <a:pt x="10" y="64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60" y="9"/>
                    <a:pt x="60" y="9"/>
                    <a:pt x="60" y="9"/>
                  </a:cubicBezTo>
                  <a:lnTo>
                    <a:pt x="60" y="64"/>
                  </a:lnTo>
                  <a:close/>
                  <a:moveTo>
                    <a:pt x="19" y="32"/>
                  </a:moveTo>
                  <a:cubicBezTo>
                    <a:pt x="51" y="32"/>
                    <a:pt x="51" y="32"/>
                    <a:pt x="51" y="32"/>
                  </a:cubicBezTo>
                  <a:cubicBezTo>
                    <a:pt x="51" y="37"/>
                    <a:pt x="51" y="37"/>
                    <a:pt x="51" y="37"/>
                  </a:cubicBezTo>
                  <a:cubicBezTo>
                    <a:pt x="19" y="37"/>
                    <a:pt x="19" y="37"/>
                    <a:pt x="19" y="37"/>
                  </a:cubicBezTo>
                  <a:lnTo>
                    <a:pt x="19" y="32"/>
                  </a:lnTo>
                  <a:close/>
                  <a:moveTo>
                    <a:pt x="19" y="41"/>
                  </a:moveTo>
                  <a:cubicBezTo>
                    <a:pt x="51" y="41"/>
                    <a:pt x="51" y="41"/>
                    <a:pt x="51" y="41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19" y="46"/>
                    <a:pt x="19" y="46"/>
                    <a:pt x="19" y="46"/>
                  </a:cubicBezTo>
                  <a:lnTo>
                    <a:pt x="19" y="41"/>
                  </a:lnTo>
                  <a:close/>
                  <a:moveTo>
                    <a:pt x="19" y="50"/>
                  </a:moveTo>
                  <a:cubicBezTo>
                    <a:pt x="51" y="50"/>
                    <a:pt x="51" y="50"/>
                    <a:pt x="51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19" y="55"/>
                    <a:pt x="19" y="55"/>
                    <a:pt x="19" y="55"/>
                  </a:cubicBezTo>
                  <a:lnTo>
                    <a:pt x="19" y="50"/>
                  </a:lnTo>
                  <a:close/>
                  <a:moveTo>
                    <a:pt x="19" y="23"/>
                  </a:moveTo>
                  <a:cubicBezTo>
                    <a:pt x="51" y="23"/>
                    <a:pt x="51" y="23"/>
                    <a:pt x="51" y="23"/>
                  </a:cubicBezTo>
                  <a:cubicBezTo>
                    <a:pt x="51" y="27"/>
                    <a:pt x="51" y="27"/>
                    <a:pt x="51" y="27"/>
                  </a:cubicBezTo>
                  <a:cubicBezTo>
                    <a:pt x="19" y="27"/>
                    <a:pt x="19" y="27"/>
                    <a:pt x="19" y="27"/>
                  </a:cubicBezTo>
                  <a:lnTo>
                    <a:pt x="19" y="2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6" name="任意多边形: 形状 135">
              <a:extLst>
                <a:ext uri="{FF2B5EF4-FFF2-40B4-BE49-F238E27FC236}">
                  <a16:creationId xmlns:a16="http://schemas.microsoft.com/office/drawing/2014/main" id="{5AB8D7D3-ED2D-4B34-B33C-3A11639168FD}"/>
                </a:ext>
              </a:extLst>
            </p:cNvPr>
            <p:cNvSpPr/>
            <p:nvPr/>
          </p:nvSpPr>
          <p:spPr bwMode="auto">
            <a:xfrm>
              <a:off x="8998183" y="1536132"/>
              <a:ext cx="242709" cy="281856"/>
            </a:xfrm>
            <a:custGeom>
              <a:avLst/>
              <a:gdLst>
                <a:gd name="T0" fmla="*/ 54 w 76"/>
                <a:gd name="T1" fmla="*/ 0 h 88"/>
                <a:gd name="T2" fmla="*/ 14 w 76"/>
                <a:gd name="T3" fmla="*/ 28 h 88"/>
                <a:gd name="T4" fmla="*/ 17 w 76"/>
                <a:gd name="T5" fmla="*/ 65 h 88"/>
                <a:gd name="T6" fmla="*/ 49 w 76"/>
                <a:gd name="T7" fmla="*/ 27 h 88"/>
                <a:gd name="T8" fmla="*/ 33 w 76"/>
                <a:gd name="T9" fmla="*/ 74 h 88"/>
                <a:gd name="T10" fmla="*/ 70 w 76"/>
                <a:gd name="T11" fmla="*/ 57 h 88"/>
                <a:gd name="T12" fmla="*/ 54 w 76"/>
                <a:gd name="T13" fmla="*/ 0 h 88"/>
                <a:gd name="T14" fmla="*/ 4 w 76"/>
                <a:gd name="T15" fmla="*/ 78 h 88"/>
                <a:gd name="T16" fmla="*/ 10 w 76"/>
                <a:gd name="T17" fmla="*/ 83 h 88"/>
                <a:gd name="T18" fmla="*/ 47 w 76"/>
                <a:gd name="T19" fmla="*/ 41 h 88"/>
                <a:gd name="T20" fmla="*/ 4 w 76"/>
                <a:gd name="T21" fmla="*/ 78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88">
                  <a:moveTo>
                    <a:pt x="54" y="0"/>
                  </a:moveTo>
                  <a:cubicBezTo>
                    <a:pt x="41" y="23"/>
                    <a:pt x="30" y="12"/>
                    <a:pt x="14" y="28"/>
                  </a:cubicBezTo>
                  <a:cubicBezTo>
                    <a:pt x="0" y="42"/>
                    <a:pt x="5" y="59"/>
                    <a:pt x="17" y="65"/>
                  </a:cubicBezTo>
                  <a:cubicBezTo>
                    <a:pt x="28" y="59"/>
                    <a:pt x="40" y="46"/>
                    <a:pt x="49" y="27"/>
                  </a:cubicBezTo>
                  <a:cubicBezTo>
                    <a:pt x="49" y="27"/>
                    <a:pt x="57" y="51"/>
                    <a:pt x="33" y="74"/>
                  </a:cubicBezTo>
                  <a:cubicBezTo>
                    <a:pt x="45" y="88"/>
                    <a:pt x="64" y="79"/>
                    <a:pt x="70" y="57"/>
                  </a:cubicBezTo>
                  <a:cubicBezTo>
                    <a:pt x="76" y="33"/>
                    <a:pt x="60" y="9"/>
                    <a:pt x="54" y="0"/>
                  </a:cubicBezTo>
                  <a:close/>
                  <a:moveTo>
                    <a:pt x="4" y="78"/>
                  </a:moveTo>
                  <a:cubicBezTo>
                    <a:pt x="4" y="78"/>
                    <a:pt x="5" y="83"/>
                    <a:pt x="10" y="83"/>
                  </a:cubicBezTo>
                  <a:cubicBezTo>
                    <a:pt x="15" y="83"/>
                    <a:pt x="36" y="71"/>
                    <a:pt x="47" y="41"/>
                  </a:cubicBezTo>
                  <a:cubicBezTo>
                    <a:pt x="30" y="70"/>
                    <a:pt x="6" y="78"/>
                    <a:pt x="4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7" name="任意多边形: 形状 136">
              <a:extLst>
                <a:ext uri="{FF2B5EF4-FFF2-40B4-BE49-F238E27FC236}">
                  <a16:creationId xmlns:a16="http://schemas.microsoft.com/office/drawing/2014/main" id="{8AA2665A-27D2-4063-BCE1-B22DB3E079F6}"/>
                </a:ext>
              </a:extLst>
            </p:cNvPr>
            <p:cNvSpPr/>
            <p:nvPr/>
          </p:nvSpPr>
          <p:spPr bwMode="auto">
            <a:xfrm>
              <a:off x="8685011" y="3366239"/>
              <a:ext cx="246623" cy="246624"/>
            </a:xfrm>
            <a:custGeom>
              <a:avLst/>
              <a:gdLst>
                <a:gd name="T0" fmla="*/ 53 w 77"/>
                <a:gd name="T1" fmla="*/ 30 h 77"/>
                <a:gd name="T2" fmla="*/ 25 w 77"/>
                <a:gd name="T3" fmla="*/ 2 h 77"/>
                <a:gd name="T4" fmla="*/ 38 w 77"/>
                <a:gd name="T5" fmla="*/ 0 h 77"/>
                <a:gd name="T6" fmla="*/ 53 w 77"/>
                <a:gd name="T7" fmla="*/ 3 h 77"/>
                <a:gd name="T8" fmla="*/ 53 w 77"/>
                <a:gd name="T9" fmla="*/ 30 h 77"/>
                <a:gd name="T10" fmla="*/ 58 w 77"/>
                <a:gd name="T11" fmla="*/ 53 h 77"/>
                <a:gd name="T12" fmla="*/ 58 w 77"/>
                <a:gd name="T13" fmla="*/ 5 h 77"/>
                <a:gd name="T14" fmla="*/ 77 w 77"/>
                <a:gd name="T15" fmla="*/ 39 h 77"/>
                <a:gd name="T16" fmla="*/ 74 w 77"/>
                <a:gd name="T17" fmla="*/ 53 h 77"/>
                <a:gd name="T18" fmla="*/ 58 w 77"/>
                <a:gd name="T19" fmla="*/ 53 h 77"/>
                <a:gd name="T20" fmla="*/ 24 w 77"/>
                <a:gd name="T21" fmla="*/ 58 h 77"/>
                <a:gd name="T22" fmla="*/ 72 w 77"/>
                <a:gd name="T23" fmla="*/ 58 h 77"/>
                <a:gd name="T24" fmla="*/ 38 w 77"/>
                <a:gd name="T25" fmla="*/ 77 h 77"/>
                <a:gd name="T26" fmla="*/ 24 w 77"/>
                <a:gd name="T27" fmla="*/ 74 h 77"/>
                <a:gd name="T28" fmla="*/ 24 w 77"/>
                <a:gd name="T29" fmla="*/ 58 h 77"/>
                <a:gd name="T30" fmla="*/ 32 w 77"/>
                <a:gd name="T31" fmla="*/ 17 h 77"/>
                <a:gd name="T32" fmla="*/ 1 w 77"/>
                <a:gd name="T33" fmla="*/ 48 h 77"/>
                <a:gd name="T34" fmla="*/ 0 w 77"/>
                <a:gd name="T35" fmla="*/ 39 h 77"/>
                <a:gd name="T36" fmla="*/ 20 w 77"/>
                <a:gd name="T37" fmla="*/ 5 h 77"/>
                <a:gd name="T38" fmla="*/ 32 w 77"/>
                <a:gd name="T39" fmla="*/ 17 h 77"/>
                <a:gd name="T40" fmla="*/ 19 w 77"/>
                <a:gd name="T41" fmla="*/ 38 h 77"/>
                <a:gd name="T42" fmla="*/ 19 w 77"/>
                <a:gd name="T43" fmla="*/ 72 h 77"/>
                <a:gd name="T44" fmla="*/ 3 w 77"/>
                <a:gd name="T45" fmla="*/ 54 h 77"/>
                <a:gd name="T46" fmla="*/ 19 w 77"/>
                <a:gd name="T47" fmla="*/ 3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7" h="77">
                  <a:moveTo>
                    <a:pt x="53" y="30"/>
                  </a:moveTo>
                  <a:cubicBezTo>
                    <a:pt x="25" y="2"/>
                    <a:pt x="25" y="2"/>
                    <a:pt x="25" y="2"/>
                  </a:cubicBezTo>
                  <a:cubicBezTo>
                    <a:pt x="29" y="1"/>
                    <a:pt x="34" y="0"/>
                    <a:pt x="38" y="0"/>
                  </a:cubicBezTo>
                  <a:cubicBezTo>
                    <a:pt x="43" y="0"/>
                    <a:pt x="48" y="1"/>
                    <a:pt x="53" y="3"/>
                  </a:cubicBezTo>
                  <a:lnTo>
                    <a:pt x="53" y="30"/>
                  </a:lnTo>
                  <a:close/>
                  <a:moveTo>
                    <a:pt x="58" y="53"/>
                  </a:moveTo>
                  <a:cubicBezTo>
                    <a:pt x="58" y="5"/>
                    <a:pt x="58" y="5"/>
                    <a:pt x="58" y="5"/>
                  </a:cubicBezTo>
                  <a:cubicBezTo>
                    <a:pt x="69" y="12"/>
                    <a:pt x="77" y="24"/>
                    <a:pt x="77" y="39"/>
                  </a:cubicBezTo>
                  <a:cubicBezTo>
                    <a:pt x="77" y="44"/>
                    <a:pt x="76" y="49"/>
                    <a:pt x="74" y="53"/>
                  </a:cubicBezTo>
                  <a:lnTo>
                    <a:pt x="58" y="53"/>
                  </a:lnTo>
                  <a:close/>
                  <a:moveTo>
                    <a:pt x="24" y="58"/>
                  </a:moveTo>
                  <a:cubicBezTo>
                    <a:pt x="72" y="58"/>
                    <a:pt x="72" y="58"/>
                    <a:pt x="72" y="58"/>
                  </a:cubicBezTo>
                  <a:cubicBezTo>
                    <a:pt x="65" y="69"/>
                    <a:pt x="53" y="77"/>
                    <a:pt x="38" y="77"/>
                  </a:cubicBezTo>
                  <a:cubicBezTo>
                    <a:pt x="33" y="77"/>
                    <a:pt x="28" y="76"/>
                    <a:pt x="24" y="74"/>
                  </a:cubicBezTo>
                  <a:lnTo>
                    <a:pt x="24" y="58"/>
                  </a:lnTo>
                  <a:close/>
                  <a:moveTo>
                    <a:pt x="32" y="17"/>
                  </a:moveTo>
                  <a:cubicBezTo>
                    <a:pt x="1" y="48"/>
                    <a:pt x="1" y="48"/>
                    <a:pt x="1" y="48"/>
                  </a:cubicBezTo>
                  <a:cubicBezTo>
                    <a:pt x="0" y="45"/>
                    <a:pt x="0" y="42"/>
                    <a:pt x="0" y="39"/>
                  </a:cubicBezTo>
                  <a:cubicBezTo>
                    <a:pt x="0" y="24"/>
                    <a:pt x="8" y="12"/>
                    <a:pt x="20" y="5"/>
                  </a:cubicBezTo>
                  <a:lnTo>
                    <a:pt x="32" y="17"/>
                  </a:lnTo>
                  <a:close/>
                  <a:moveTo>
                    <a:pt x="19" y="38"/>
                  </a:moveTo>
                  <a:cubicBezTo>
                    <a:pt x="19" y="72"/>
                    <a:pt x="19" y="72"/>
                    <a:pt x="19" y="72"/>
                  </a:cubicBezTo>
                  <a:cubicBezTo>
                    <a:pt x="12" y="68"/>
                    <a:pt x="6" y="62"/>
                    <a:pt x="3" y="54"/>
                  </a:cubicBezTo>
                  <a:lnTo>
                    <a:pt x="19" y="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8" name="任意多边形: 形状 137">
              <a:extLst>
                <a:ext uri="{FF2B5EF4-FFF2-40B4-BE49-F238E27FC236}">
                  <a16:creationId xmlns:a16="http://schemas.microsoft.com/office/drawing/2014/main" id="{ABA7E80B-F665-422A-89E3-28E127982AA8}"/>
                </a:ext>
              </a:extLst>
            </p:cNvPr>
            <p:cNvSpPr/>
            <p:nvPr/>
          </p:nvSpPr>
          <p:spPr bwMode="auto">
            <a:xfrm>
              <a:off x="8260272" y="4031732"/>
              <a:ext cx="229008" cy="197690"/>
            </a:xfrm>
            <a:custGeom>
              <a:avLst/>
              <a:gdLst>
                <a:gd name="T0" fmla="*/ 18 w 72"/>
                <a:gd name="T1" fmla="*/ 0 h 62"/>
                <a:gd name="T2" fmla="*/ 54 w 72"/>
                <a:gd name="T3" fmla="*/ 0 h 62"/>
                <a:gd name="T4" fmla="*/ 54 w 72"/>
                <a:gd name="T5" fmla="*/ 9 h 62"/>
                <a:gd name="T6" fmla="*/ 18 w 72"/>
                <a:gd name="T7" fmla="*/ 9 h 62"/>
                <a:gd name="T8" fmla="*/ 18 w 72"/>
                <a:gd name="T9" fmla="*/ 0 h 62"/>
                <a:gd name="T10" fmla="*/ 67 w 72"/>
                <a:gd name="T11" fmla="*/ 13 h 62"/>
                <a:gd name="T12" fmla="*/ 4 w 72"/>
                <a:gd name="T13" fmla="*/ 13 h 62"/>
                <a:gd name="T14" fmla="*/ 0 w 72"/>
                <a:gd name="T15" fmla="*/ 18 h 62"/>
                <a:gd name="T16" fmla="*/ 0 w 72"/>
                <a:gd name="T17" fmla="*/ 40 h 62"/>
                <a:gd name="T18" fmla="*/ 4 w 72"/>
                <a:gd name="T19" fmla="*/ 44 h 62"/>
                <a:gd name="T20" fmla="*/ 18 w 72"/>
                <a:gd name="T21" fmla="*/ 44 h 62"/>
                <a:gd name="T22" fmla="*/ 18 w 72"/>
                <a:gd name="T23" fmla="*/ 62 h 62"/>
                <a:gd name="T24" fmla="*/ 54 w 72"/>
                <a:gd name="T25" fmla="*/ 62 h 62"/>
                <a:gd name="T26" fmla="*/ 54 w 72"/>
                <a:gd name="T27" fmla="*/ 44 h 62"/>
                <a:gd name="T28" fmla="*/ 67 w 72"/>
                <a:gd name="T29" fmla="*/ 44 h 62"/>
                <a:gd name="T30" fmla="*/ 72 w 72"/>
                <a:gd name="T31" fmla="*/ 40 h 62"/>
                <a:gd name="T32" fmla="*/ 72 w 72"/>
                <a:gd name="T33" fmla="*/ 18 h 62"/>
                <a:gd name="T34" fmla="*/ 67 w 72"/>
                <a:gd name="T35" fmla="*/ 13 h 62"/>
                <a:gd name="T36" fmla="*/ 49 w 72"/>
                <a:gd name="T37" fmla="*/ 58 h 62"/>
                <a:gd name="T38" fmla="*/ 22 w 72"/>
                <a:gd name="T39" fmla="*/ 58 h 62"/>
                <a:gd name="T40" fmla="*/ 22 w 72"/>
                <a:gd name="T41" fmla="*/ 35 h 62"/>
                <a:gd name="T42" fmla="*/ 49 w 72"/>
                <a:gd name="T43" fmla="*/ 35 h 62"/>
                <a:gd name="T44" fmla="*/ 49 w 72"/>
                <a:gd name="T45" fmla="*/ 58 h 62"/>
                <a:gd name="T46" fmla="*/ 68 w 72"/>
                <a:gd name="T47" fmla="*/ 20 h 62"/>
                <a:gd name="T48" fmla="*/ 65 w 72"/>
                <a:gd name="T49" fmla="*/ 23 h 62"/>
                <a:gd name="T50" fmla="*/ 62 w 72"/>
                <a:gd name="T51" fmla="*/ 20 h 62"/>
                <a:gd name="T52" fmla="*/ 65 w 72"/>
                <a:gd name="T53" fmla="*/ 17 h 62"/>
                <a:gd name="T54" fmla="*/ 68 w 72"/>
                <a:gd name="T55" fmla="*/ 2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72" h="62">
                  <a:moveTo>
                    <a:pt x="18" y="0"/>
                  </a:moveTo>
                  <a:cubicBezTo>
                    <a:pt x="54" y="0"/>
                    <a:pt x="54" y="0"/>
                    <a:pt x="54" y="0"/>
                  </a:cubicBezTo>
                  <a:cubicBezTo>
                    <a:pt x="54" y="9"/>
                    <a:pt x="54" y="9"/>
                    <a:pt x="54" y="9"/>
                  </a:cubicBezTo>
                  <a:cubicBezTo>
                    <a:pt x="18" y="9"/>
                    <a:pt x="18" y="9"/>
                    <a:pt x="18" y="9"/>
                  </a:cubicBezTo>
                  <a:lnTo>
                    <a:pt x="18" y="0"/>
                  </a:lnTo>
                  <a:close/>
                  <a:moveTo>
                    <a:pt x="67" y="13"/>
                  </a:moveTo>
                  <a:cubicBezTo>
                    <a:pt x="4" y="13"/>
                    <a:pt x="4" y="13"/>
                    <a:pt x="4" y="13"/>
                  </a:cubicBezTo>
                  <a:cubicBezTo>
                    <a:pt x="2" y="13"/>
                    <a:pt x="0" y="15"/>
                    <a:pt x="0" y="18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42"/>
                    <a:pt x="2" y="44"/>
                    <a:pt x="4" y="44"/>
                  </a:cubicBezTo>
                  <a:cubicBezTo>
                    <a:pt x="18" y="44"/>
                    <a:pt x="18" y="44"/>
                    <a:pt x="18" y="44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54" y="62"/>
                    <a:pt x="54" y="62"/>
                    <a:pt x="54" y="62"/>
                  </a:cubicBezTo>
                  <a:cubicBezTo>
                    <a:pt x="54" y="44"/>
                    <a:pt x="54" y="44"/>
                    <a:pt x="54" y="44"/>
                  </a:cubicBezTo>
                  <a:cubicBezTo>
                    <a:pt x="67" y="44"/>
                    <a:pt x="67" y="44"/>
                    <a:pt x="67" y="44"/>
                  </a:cubicBezTo>
                  <a:cubicBezTo>
                    <a:pt x="70" y="44"/>
                    <a:pt x="72" y="42"/>
                    <a:pt x="72" y="40"/>
                  </a:cubicBezTo>
                  <a:cubicBezTo>
                    <a:pt x="72" y="18"/>
                    <a:pt x="72" y="18"/>
                    <a:pt x="72" y="18"/>
                  </a:cubicBezTo>
                  <a:cubicBezTo>
                    <a:pt x="72" y="15"/>
                    <a:pt x="70" y="13"/>
                    <a:pt x="67" y="13"/>
                  </a:cubicBezTo>
                  <a:close/>
                  <a:moveTo>
                    <a:pt x="49" y="58"/>
                  </a:moveTo>
                  <a:cubicBezTo>
                    <a:pt x="22" y="58"/>
                    <a:pt x="22" y="58"/>
                    <a:pt x="22" y="58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49" y="35"/>
                    <a:pt x="49" y="35"/>
                    <a:pt x="49" y="35"/>
                  </a:cubicBezTo>
                  <a:lnTo>
                    <a:pt x="49" y="58"/>
                  </a:lnTo>
                  <a:close/>
                  <a:moveTo>
                    <a:pt x="68" y="20"/>
                  </a:moveTo>
                  <a:cubicBezTo>
                    <a:pt x="68" y="22"/>
                    <a:pt x="67" y="23"/>
                    <a:pt x="65" y="23"/>
                  </a:cubicBezTo>
                  <a:cubicBezTo>
                    <a:pt x="63" y="23"/>
                    <a:pt x="62" y="22"/>
                    <a:pt x="62" y="20"/>
                  </a:cubicBezTo>
                  <a:cubicBezTo>
                    <a:pt x="62" y="18"/>
                    <a:pt x="63" y="17"/>
                    <a:pt x="65" y="17"/>
                  </a:cubicBezTo>
                  <a:cubicBezTo>
                    <a:pt x="67" y="17"/>
                    <a:pt x="68" y="18"/>
                    <a:pt x="68" y="2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9" name="任意多边形: 形状 138">
              <a:extLst>
                <a:ext uri="{FF2B5EF4-FFF2-40B4-BE49-F238E27FC236}">
                  <a16:creationId xmlns:a16="http://schemas.microsoft.com/office/drawing/2014/main" id="{70E75D61-4AC2-4D13-98C6-48B5C6CDB81E}"/>
                </a:ext>
              </a:extLst>
            </p:cNvPr>
            <p:cNvSpPr/>
            <p:nvPr/>
          </p:nvSpPr>
          <p:spPr bwMode="auto">
            <a:xfrm>
              <a:off x="8610632" y="3841870"/>
              <a:ext cx="230965" cy="230966"/>
            </a:xfrm>
            <a:custGeom>
              <a:avLst/>
              <a:gdLst>
                <a:gd name="T0" fmla="*/ 13 w 72"/>
                <a:gd name="T1" fmla="*/ 36 h 72"/>
                <a:gd name="T2" fmla="*/ 13 w 72"/>
                <a:gd name="T3" fmla="*/ 33 h 72"/>
                <a:gd name="T4" fmla="*/ 1 w 72"/>
                <a:gd name="T5" fmla="*/ 29 h 72"/>
                <a:gd name="T6" fmla="*/ 0 w 72"/>
                <a:gd name="T7" fmla="*/ 36 h 72"/>
                <a:gd name="T8" fmla="*/ 11 w 72"/>
                <a:gd name="T9" fmla="*/ 62 h 72"/>
                <a:gd name="T10" fmla="*/ 19 w 72"/>
                <a:gd name="T11" fmla="*/ 51 h 72"/>
                <a:gd name="T12" fmla="*/ 13 w 72"/>
                <a:gd name="T13" fmla="*/ 36 h 72"/>
                <a:gd name="T14" fmla="*/ 58 w 72"/>
                <a:gd name="T15" fmla="*/ 36 h 72"/>
                <a:gd name="T16" fmla="*/ 52 w 72"/>
                <a:gd name="T17" fmla="*/ 51 h 72"/>
                <a:gd name="T18" fmla="*/ 60 w 72"/>
                <a:gd name="T19" fmla="*/ 62 h 72"/>
                <a:gd name="T20" fmla="*/ 72 w 72"/>
                <a:gd name="T21" fmla="*/ 36 h 72"/>
                <a:gd name="T22" fmla="*/ 71 w 72"/>
                <a:gd name="T23" fmla="*/ 29 h 72"/>
                <a:gd name="T24" fmla="*/ 58 w 72"/>
                <a:gd name="T25" fmla="*/ 33 h 72"/>
                <a:gd name="T26" fmla="*/ 58 w 72"/>
                <a:gd name="T27" fmla="*/ 36 h 72"/>
                <a:gd name="T28" fmla="*/ 40 w 72"/>
                <a:gd name="T29" fmla="*/ 14 h 72"/>
                <a:gd name="T30" fmla="*/ 55 w 72"/>
                <a:gd name="T31" fmla="*/ 25 h 72"/>
                <a:gd name="T32" fmla="*/ 68 w 72"/>
                <a:gd name="T33" fmla="*/ 21 h 72"/>
                <a:gd name="T34" fmla="*/ 40 w 72"/>
                <a:gd name="T35" fmla="*/ 0 h 72"/>
                <a:gd name="T36" fmla="*/ 40 w 72"/>
                <a:gd name="T37" fmla="*/ 14 h 72"/>
                <a:gd name="T38" fmla="*/ 16 w 72"/>
                <a:gd name="T39" fmla="*/ 25 h 72"/>
                <a:gd name="T40" fmla="*/ 31 w 72"/>
                <a:gd name="T41" fmla="*/ 14 h 72"/>
                <a:gd name="T42" fmla="*/ 31 w 72"/>
                <a:gd name="T43" fmla="*/ 0 h 72"/>
                <a:gd name="T44" fmla="*/ 3 w 72"/>
                <a:gd name="T45" fmla="*/ 21 h 72"/>
                <a:gd name="T46" fmla="*/ 16 w 72"/>
                <a:gd name="T47" fmla="*/ 25 h 72"/>
                <a:gd name="T48" fmla="*/ 45 w 72"/>
                <a:gd name="T49" fmla="*/ 56 h 72"/>
                <a:gd name="T50" fmla="*/ 36 w 72"/>
                <a:gd name="T51" fmla="*/ 58 h 72"/>
                <a:gd name="T52" fmla="*/ 26 w 72"/>
                <a:gd name="T53" fmla="*/ 56 h 72"/>
                <a:gd name="T54" fmla="*/ 18 w 72"/>
                <a:gd name="T55" fmla="*/ 67 h 72"/>
                <a:gd name="T56" fmla="*/ 36 w 72"/>
                <a:gd name="T57" fmla="*/ 72 h 72"/>
                <a:gd name="T58" fmla="*/ 53 w 72"/>
                <a:gd name="T59" fmla="*/ 67 h 72"/>
                <a:gd name="T60" fmla="*/ 45 w 72"/>
                <a:gd name="T61" fmla="*/ 56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72">
                  <a:moveTo>
                    <a:pt x="13" y="36"/>
                  </a:moveTo>
                  <a:cubicBezTo>
                    <a:pt x="13" y="35"/>
                    <a:pt x="13" y="34"/>
                    <a:pt x="13" y="33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0" y="34"/>
                    <a:pt x="0" y="36"/>
                  </a:cubicBezTo>
                  <a:cubicBezTo>
                    <a:pt x="0" y="46"/>
                    <a:pt x="4" y="56"/>
                    <a:pt x="11" y="62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6" y="47"/>
                    <a:pt x="13" y="42"/>
                    <a:pt x="13" y="36"/>
                  </a:cubicBezTo>
                  <a:close/>
                  <a:moveTo>
                    <a:pt x="58" y="36"/>
                  </a:moveTo>
                  <a:cubicBezTo>
                    <a:pt x="58" y="42"/>
                    <a:pt x="56" y="47"/>
                    <a:pt x="52" y="51"/>
                  </a:cubicBezTo>
                  <a:cubicBezTo>
                    <a:pt x="60" y="62"/>
                    <a:pt x="60" y="62"/>
                    <a:pt x="60" y="62"/>
                  </a:cubicBezTo>
                  <a:cubicBezTo>
                    <a:pt x="67" y="56"/>
                    <a:pt x="72" y="46"/>
                    <a:pt x="72" y="36"/>
                  </a:cubicBezTo>
                  <a:cubicBezTo>
                    <a:pt x="72" y="34"/>
                    <a:pt x="71" y="31"/>
                    <a:pt x="71" y="29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4"/>
                    <a:pt x="58" y="35"/>
                    <a:pt x="58" y="36"/>
                  </a:cubicBezTo>
                  <a:close/>
                  <a:moveTo>
                    <a:pt x="40" y="14"/>
                  </a:moveTo>
                  <a:cubicBezTo>
                    <a:pt x="47" y="15"/>
                    <a:pt x="52" y="19"/>
                    <a:pt x="55" y="25"/>
                  </a:cubicBezTo>
                  <a:cubicBezTo>
                    <a:pt x="68" y="21"/>
                    <a:pt x="68" y="21"/>
                    <a:pt x="68" y="21"/>
                  </a:cubicBezTo>
                  <a:cubicBezTo>
                    <a:pt x="63" y="10"/>
                    <a:pt x="53" y="2"/>
                    <a:pt x="40" y="0"/>
                  </a:cubicBezTo>
                  <a:lnTo>
                    <a:pt x="40" y="14"/>
                  </a:lnTo>
                  <a:close/>
                  <a:moveTo>
                    <a:pt x="16" y="25"/>
                  </a:moveTo>
                  <a:cubicBezTo>
                    <a:pt x="19" y="19"/>
                    <a:pt x="25" y="15"/>
                    <a:pt x="31" y="14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9" y="2"/>
                    <a:pt x="8" y="10"/>
                    <a:pt x="3" y="21"/>
                  </a:cubicBezTo>
                  <a:lnTo>
                    <a:pt x="16" y="25"/>
                  </a:lnTo>
                  <a:close/>
                  <a:moveTo>
                    <a:pt x="45" y="56"/>
                  </a:moveTo>
                  <a:cubicBezTo>
                    <a:pt x="42" y="58"/>
                    <a:pt x="39" y="58"/>
                    <a:pt x="36" y="58"/>
                  </a:cubicBezTo>
                  <a:cubicBezTo>
                    <a:pt x="32" y="58"/>
                    <a:pt x="29" y="58"/>
                    <a:pt x="26" y="56"/>
                  </a:cubicBezTo>
                  <a:cubicBezTo>
                    <a:pt x="18" y="67"/>
                    <a:pt x="18" y="67"/>
                    <a:pt x="18" y="67"/>
                  </a:cubicBezTo>
                  <a:cubicBezTo>
                    <a:pt x="24" y="70"/>
                    <a:pt x="30" y="72"/>
                    <a:pt x="36" y="72"/>
                  </a:cubicBezTo>
                  <a:cubicBezTo>
                    <a:pt x="42" y="72"/>
                    <a:pt x="48" y="70"/>
                    <a:pt x="53" y="67"/>
                  </a:cubicBezTo>
                  <a:lnTo>
                    <a:pt x="4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0" name="任意多边形: 形状 139">
              <a:extLst>
                <a:ext uri="{FF2B5EF4-FFF2-40B4-BE49-F238E27FC236}">
                  <a16:creationId xmlns:a16="http://schemas.microsoft.com/office/drawing/2014/main" id="{04CA214F-D3ED-41E3-ADFF-16A783B049D2}"/>
                </a:ext>
              </a:extLst>
            </p:cNvPr>
            <p:cNvSpPr/>
            <p:nvPr/>
          </p:nvSpPr>
          <p:spPr bwMode="auto">
            <a:xfrm>
              <a:off x="9078434" y="1082030"/>
              <a:ext cx="221179" cy="221178"/>
            </a:xfrm>
            <a:custGeom>
              <a:avLst/>
              <a:gdLst>
                <a:gd name="T0" fmla="*/ 35 w 69"/>
                <a:gd name="T1" fmla="*/ 0 h 69"/>
                <a:gd name="T2" fmla="*/ 0 w 69"/>
                <a:gd name="T3" fmla="*/ 35 h 69"/>
                <a:gd name="T4" fmla="*/ 35 w 69"/>
                <a:gd name="T5" fmla="*/ 69 h 69"/>
                <a:gd name="T6" fmla="*/ 69 w 69"/>
                <a:gd name="T7" fmla="*/ 35 h 69"/>
                <a:gd name="T8" fmla="*/ 35 w 69"/>
                <a:gd name="T9" fmla="*/ 0 h 69"/>
                <a:gd name="T10" fmla="*/ 35 w 69"/>
                <a:gd name="T11" fmla="*/ 62 h 69"/>
                <a:gd name="T12" fmla="*/ 7 w 69"/>
                <a:gd name="T13" fmla="*/ 35 h 69"/>
                <a:gd name="T14" fmla="*/ 35 w 69"/>
                <a:gd name="T15" fmla="*/ 7 h 69"/>
                <a:gd name="T16" fmla="*/ 62 w 69"/>
                <a:gd name="T17" fmla="*/ 35 h 69"/>
                <a:gd name="T18" fmla="*/ 35 w 69"/>
                <a:gd name="T19" fmla="*/ 62 h 69"/>
                <a:gd name="T20" fmla="*/ 22 w 69"/>
                <a:gd name="T21" fmla="*/ 24 h 69"/>
                <a:gd name="T22" fmla="*/ 37 w 69"/>
                <a:gd name="T23" fmla="*/ 35 h 69"/>
                <a:gd name="T24" fmla="*/ 22 w 69"/>
                <a:gd name="T25" fmla="*/ 45 h 69"/>
                <a:gd name="T26" fmla="*/ 22 w 69"/>
                <a:gd name="T27" fmla="*/ 24 h 69"/>
                <a:gd name="T28" fmla="*/ 39 w 69"/>
                <a:gd name="T29" fmla="*/ 24 h 69"/>
                <a:gd name="T30" fmla="*/ 54 w 69"/>
                <a:gd name="T31" fmla="*/ 35 h 69"/>
                <a:gd name="T32" fmla="*/ 39 w 69"/>
                <a:gd name="T33" fmla="*/ 45 h 69"/>
                <a:gd name="T34" fmla="*/ 39 w 69"/>
                <a:gd name="T35" fmla="*/ 2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9" h="69">
                  <a:moveTo>
                    <a:pt x="35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53"/>
                    <a:pt x="16" y="69"/>
                    <a:pt x="35" y="69"/>
                  </a:cubicBezTo>
                  <a:cubicBezTo>
                    <a:pt x="53" y="69"/>
                    <a:pt x="69" y="53"/>
                    <a:pt x="69" y="35"/>
                  </a:cubicBezTo>
                  <a:cubicBezTo>
                    <a:pt x="69" y="16"/>
                    <a:pt x="53" y="0"/>
                    <a:pt x="35" y="0"/>
                  </a:cubicBezTo>
                  <a:close/>
                  <a:moveTo>
                    <a:pt x="35" y="62"/>
                  </a:moveTo>
                  <a:cubicBezTo>
                    <a:pt x="19" y="62"/>
                    <a:pt x="7" y="50"/>
                    <a:pt x="7" y="35"/>
                  </a:cubicBezTo>
                  <a:cubicBezTo>
                    <a:pt x="7" y="19"/>
                    <a:pt x="19" y="7"/>
                    <a:pt x="35" y="7"/>
                  </a:cubicBezTo>
                  <a:cubicBezTo>
                    <a:pt x="50" y="7"/>
                    <a:pt x="62" y="19"/>
                    <a:pt x="62" y="35"/>
                  </a:cubicBezTo>
                  <a:cubicBezTo>
                    <a:pt x="62" y="50"/>
                    <a:pt x="50" y="62"/>
                    <a:pt x="35" y="62"/>
                  </a:cubicBezTo>
                  <a:close/>
                  <a:moveTo>
                    <a:pt x="22" y="24"/>
                  </a:moveTo>
                  <a:cubicBezTo>
                    <a:pt x="37" y="35"/>
                    <a:pt x="37" y="35"/>
                    <a:pt x="37" y="35"/>
                  </a:cubicBezTo>
                  <a:cubicBezTo>
                    <a:pt x="22" y="45"/>
                    <a:pt x="22" y="45"/>
                    <a:pt x="22" y="45"/>
                  </a:cubicBezTo>
                  <a:lnTo>
                    <a:pt x="22" y="24"/>
                  </a:lnTo>
                  <a:close/>
                  <a:moveTo>
                    <a:pt x="39" y="24"/>
                  </a:moveTo>
                  <a:cubicBezTo>
                    <a:pt x="54" y="35"/>
                    <a:pt x="54" y="35"/>
                    <a:pt x="54" y="35"/>
                  </a:cubicBezTo>
                  <a:cubicBezTo>
                    <a:pt x="39" y="45"/>
                    <a:pt x="39" y="45"/>
                    <a:pt x="39" y="45"/>
                  </a:cubicBezTo>
                  <a:lnTo>
                    <a:pt x="39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1" name="任意多边形: 形状 140">
              <a:extLst>
                <a:ext uri="{FF2B5EF4-FFF2-40B4-BE49-F238E27FC236}">
                  <a16:creationId xmlns:a16="http://schemas.microsoft.com/office/drawing/2014/main" id="{7B208304-36B3-447E-9BBC-30759B2FA4E9}"/>
                </a:ext>
              </a:extLst>
            </p:cNvPr>
            <p:cNvSpPr/>
            <p:nvPr/>
          </p:nvSpPr>
          <p:spPr bwMode="auto">
            <a:xfrm>
              <a:off x="8342478" y="3088297"/>
              <a:ext cx="242709" cy="252496"/>
            </a:xfrm>
            <a:custGeom>
              <a:avLst/>
              <a:gdLst>
                <a:gd name="T0" fmla="*/ 59 w 124"/>
                <a:gd name="T1" fmla="*/ 129 h 129"/>
                <a:gd name="T2" fmla="*/ 59 w 124"/>
                <a:gd name="T3" fmla="*/ 70 h 129"/>
                <a:gd name="T4" fmla="*/ 0 w 124"/>
                <a:gd name="T5" fmla="*/ 129 h 129"/>
                <a:gd name="T6" fmla="*/ 0 w 124"/>
                <a:gd name="T7" fmla="*/ 0 h 129"/>
                <a:gd name="T8" fmla="*/ 59 w 124"/>
                <a:gd name="T9" fmla="*/ 58 h 129"/>
                <a:gd name="T10" fmla="*/ 59 w 124"/>
                <a:gd name="T11" fmla="*/ 0 h 129"/>
                <a:gd name="T12" fmla="*/ 124 w 124"/>
                <a:gd name="T13" fmla="*/ 65 h 129"/>
                <a:gd name="T14" fmla="*/ 59 w 124"/>
                <a:gd name="T15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29">
                  <a:moveTo>
                    <a:pt x="59" y="129"/>
                  </a:moveTo>
                  <a:lnTo>
                    <a:pt x="59" y="70"/>
                  </a:lnTo>
                  <a:lnTo>
                    <a:pt x="0" y="129"/>
                  </a:lnTo>
                  <a:lnTo>
                    <a:pt x="0" y="0"/>
                  </a:lnTo>
                  <a:lnTo>
                    <a:pt x="59" y="58"/>
                  </a:lnTo>
                  <a:lnTo>
                    <a:pt x="59" y="0"/>
                  </a:lnTo>
                  <a:lnTo>
                    <a:pt x="124" y="65"/>
                  </a:lnTo>
                  <a:lnTo>
                    <a:pt x="59" y="12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2" name="任意多边形: 形状 141">
              <a:extLst>
                <a:ext uri="{FF2B5EF4-FFF2-40B4-BE49-F238E27FC236}">
                  <a16:creationId xmlns:a16="http://schemas.microsoft.com/office/drawing/2014/main" id="{3C2B1485-319A-4785-B3FC-B6BD621121D6}"/>
                </a:ext>
              </a:extLst>
            </p:cNvPr>
            <p:cNvSpPr/>
            <p:nvPr/>
          </p:nvSpPr>
          <p:spPr bwMode="auto">
            <a:xfrm>
              <a:off x="8575400" y="2205539"/>
              <a:ext cx="256411" cy="254453"/>
            </a:xfrm>
            <a:custGeom>
              <a:avLst/>
              <a:gdLst>
                <a:gd name="T0" fmla="*/ 0 w 131"/>
                <a:gd name="T1" fmla="*/ 130 h 130"/>
                <a:gd name="T2" fmla="*/ 66 w 131"/>
                <a:gd name="T3" fmla="*/ 130 h 130"/>
                <a:gd name="T4" fmla="*/ 66 w 131"/>
                <a:gd name="T5" fmla="*/ 0 h 130"/>
                <a:gd name="T6" fmla="*/ 0 w 131"/>
                <a:gd name="T7" fmla="*/ 0 h 130"/>
                <a:gd name="T8" fmla="*/ 0 w 131"/>
                <a:gd name="T9" fmla="*/ 130 h 130"/>
                <a:gd name="T10" fmla="*/ 41 w 131"/>
                <a:gd name="T11" fmla="*/ 16 h 130"/>
                <a:gd name="T12" fmla="*/ 58 w 131"/>
                <a:gd name="T13" fmla="*/ 16 h 130"/>
                <a:gd name="T14" fmla="*/ 58 w 131"/>
                <a:gd name="T15" fmla="*/ 32 h 130"/>
                <a:gd name="T16" fmla="*/ 41 w 131"/>
                <a:gd name="T17" fmla="*/ 32 h 130"/>
                <a:gd name="T18" fmla="*/ 41 w 131"/>
                <a:gd name="T19" fmla="*/ 16 h 130"/>
                <a:gd name="T20" fmla="*/ 41 w 131"/>
                <a:gd name="T21" fmla="*/ 49 h 130"/>
                <a:gd name="T22" fmla="*/ 58 w 131"/>
                <a:gd name="T23" fmla="*/ 49 h 130"/>
                <a:gd name="T24" fmla="*/ 58 w 131"/>
                <a:gd name="T25" fmla="*/ 65 h 130"/>
                <a:gd name="T26" fmla="*/ 41 w 131"/>
                <a:gd name="T27" fmla="*/ 65 h 130"/>
                <a:gd name="T28" fmla="*/ 41 w 131"/>
                <a:gd name="T29" fmla="*/ 49 h 130"/>
                <a:gd name="T30" fmla="*/ 41 w 131"/>
                <a:gd name="T31" fmla="*/ 81 h 130"/>
                <a:gd name="T32" fmla="*/ 58 w 131"/>
                <a:gd name="T33" fmla="*/ 81 h 130"/>
                <a:gd name="T34" fmla="*/ 58 w 131"/>
                <a:gd name="T35" fmla="*/ 98 h 130"/>
                <a:gd name="T36" fmla="*/ 41 w 131"/>
                <a:gd name="T37" fmla="*/ 98 h 130"/>
                <a:gd name="T38" fmla="*/ 41 w 131"/>
                <a:gd name="T39" fmla="*/ 81 h 130"/>
                <a:gd name="T40" fmla="*/ 9 w 131"/>
                <a:gd name="T41" fmla="*/ 16 h 130"/>
                <a:gd name="T42" fmla="*/ 25 w 131"/>
                <a:gd name="T43" fmla="*/ 16 h 130"/>
                <a:gd name="T44" fmla="*/ 25 w 131"/>
                <a:gd name="T45" fmla="*/ 32 h 130"/>
                <a:gd name="T46" fmla="*/ 9 w 131"/>
                <a:gd name="T47" fmla="*/ 32 h 130"/>
                <a:gd name="T48" fmla="*/ 9 w 131"/>
                <a:gd name="T49" fmla="*/ 16 h 130"/>
                <a:gd name="T50" fmla="*/ 9 w 131"/>
                <a:gd name="T51" fmla="*/ 49 h 130"/>
                <a:gd name="T52" fmla="*/ 25 w 131"/>
                <a:gd name="T53" fmla="*/ 49 h 130"/>
                <a:gd name="T54" fmla="*/ 25 w 131"/>
                <a:gd name="T55" fmla="*/ 65 h 130"/>
                <a:gd name="T56" fmla="*/ 9 w 131"/>
                <a:gd name="T57" fmla="*/ 65 h 130"/>
                <a:gd name="T58" fmla="*/ 9 w 131"/>
                <a:gd name="T59" fmla="*/ 49 h 130"/>
                <a:gd name="T60" fmla="*/ 9 w 131"/>
                <a:gd name="T61" fmla="*/ 81 h 130"/>
                <a:gd name="T62" fmla="*/ 25 w 131"/>
                <a:gd name="T63" fmla="*/ 81 h 130"/>
                <a:gd name="T64" fmla="*/ 25 w 131"/>
                <a:gd name="T65" fmla="*/ 98 h 130"/>
                <a:gd name="T66" fmla="*/ 9 w 131"/>
                <a:gd name="T67" fmla="*/ 98 h 130"/>
                <a:gd name="T68" fmla="*/ 9 w 131"/>
                <a:gd name="T69" fmla="*/ 81 h 130"/>
                <a:gd name="T70" fmla="*/ 74 w 131"/>
                <a:gd name="T71" fmla="*/ 41 h 130"/>
                <a:gd name="T72" fmla="*/ 131 w 131"/>
                <a:gd name="T73" fmla="*/ 41 h 130"/>
                <a:gd name="T74" fmla="*/ 131 w 131"/>
                <a:gd name="T75" fmla="*/ 49 h 130"/>
                <a:gd name="T76" fmla="*/ 74 w 131"/>
                <a:gd name="T77" fmla="*/ 49 h 130"/>
                <a:gd name="T78" fmla="*/ 74 w 131"/>
                <a:gd name="T79" fmla="*/ 41 h 130"/>
                <a:gd name="T80" fmla="*/ 74 w 131"/>
                <a:gd name="T81" fmla="*/ 130 h 130"/>
                <a:gd name="T82" fmla="*/ 90 w 131"/>
                <a:gd name="T83" fmla="*/ 130 h 130"/>
                <a:gd name="T84" fmla="*/ 90 w 131"/>
                <a:gd name="T85" fmla="*/ 98 h 130"/>
                <a:gd name="T86" fmla="*/ 115 w 131"/>
                <a:gd name="T87" fmla="*/ 98 h 130"/>
                <a:gd name="T88" fmla="*/ 115 w 131"/>
                <a:gd name="T89" fmla="*/ 130 h 130"/>
                <a:gd name="T90" fmla="*/ 131 w 131"/>
                <a:gd name="T91" fmla="*/ 130 h 130"/>
                <a:gd name="T92" fmla="*/ 131 w 131"/>
                <a:gd name="T93" fmla="*/ 57 h 130"/>
                <a:gd name="T94" fmla="*/ 74 w 131"/>
                <a:gd name="T95" fmla="*/ 57 h 130"/>
                <a:gd name="T96" fmla="*/ 74 w 131"/>
                <a:gd name="T97" fmla="*/ 130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31" h="130">
                  <a:moveTo>
                    <a:pt x="0" y="130"/>
                  </a:moveTo>
                  <a:lnTo>
                    <a:pt x="66" y="130"/>
                  </a:lnTo>
                  <a:lnTo>
                    <a:pt x="66" y="0"/>
                  </a:lnTo>
                  <a:lnTo>
                    <a:pt x="0" y="0"/>
                  </a:lnTo>
                  <a:lnTo>
                    <a:pt x="0" y="130"/>
                  </a:lnTo>
                  <a:close/>
                  <a:moveTo>
                    <a:pt x="41" y="16"/>
                  </a:moveTo>
                  <a:lnTo>
                    <a:pt x="58" y="16"/>
                  </a:lnTo>
                  <a:lnTo>
                    <a:pt x="58" y="32"/>
                  </a:lnTo>
                  <a:lnTo>
                    <a:pt x="41" y="32"/>
                  </a:lnTo>
                  <a:lnTo>
                    <a:pt x="41" y="16"/>
                  </a:lnTo>
                  <a:close/>
                  <a:moveTo>
                    <a:pt x="41" y="49"/>
                  </a:moveTo>
                  <a:lnTo>
                    <a:pt x="58" y="49"/>
                  </a:lnTo>
                  <a:lnTo>
                    <a:pt x="58" y="65"/>
                  </a:lnTo>
                  <a:lnTo>
                    <a:pt x="41" y="65"/>
                  </a:lnTo>
                  <a:lnTo>
                    <a:pt x="41" y="49"/>
                  </a:lnTo>
                  <a:close/>
                  <a:moveTo>
                    <a:pt x="41" y="81"/>
                  </a:moveTo>
                  <a:lnTo>
                    <a:pt x="58" y="81"/>
                  </a:lnTo>
                  <a:lnTo>
                    <a:pt x="58" y="98"/>
                  </a:lnTo>
                  <a:lnTo>
                    <a:pt x="41" y="98"/>
                  </a:lnTo>
                  <a:lnTo>
                    <a:pt x="41" y="81"/>
                  </a:lnTo>
                  <a:close/>
                  <a:moveTo>
                    <a:pt x="9" y="16"/>
                  </a:moveTo>
                  <a:lnTo>
                    <a:pt x="25" y="16"/>
                  </a:lnTo>
                  <a:lnTo>
                    <a:pt x="25" y="32"/>
                  </a:lnTo>
                  <a:lnTo>
                    <a:pt x="9" y="32"/>
                  </a:lnTo>
                  <a:lnTo>
                    <a:pt x="9" y="16"/>
                  </a:lnTo>
                  <a:close/>
                  <a:moveTo>
                    <a:pt x="9" y="49"/>
                  </a:moveTo>
                  <a:lnTo>
                    <a:pt x="25" y="49"/>
                  </a:lnTo>
                  <a:lnTo>
                    <a:pt x="25" y="65"/>
                  </a:lnTo>
                  <a:lnTo>
                    <a:pt x="9" y="65"/>
                  </a:lnTo>
                  <a:lnTo>
                    <a:pt x="9" y="49"/>
                  </a:lnTo>
                  <a:close/>
                  <a:moveTo>
                    <a:pt x="9" y="81"/>
                  </a:moveTo>
                  <a:lnTo>
                    <a:pt x="25" y="81"/>
                  </a:lnTo>
                  <a:lnTo>
                    <a:pt x="25" y="98"/>
                  </a:lnTo>
                  <a:lnTo>
                    <a:pt x="9" y="98"/>
                  </a:lnTo>
                  <a:lnTo>
                    <a:pt x="9" y="81"/>
                  </a:lnTo>
                  <a:close/>
                  <a:moveTo>
                    <a:pt x="74" y="41"/>
                  </a:moveTo>
                  <a:lnTo>
                    <a:pt x="131" y="41"/>
                  </a:lnTo>
                  <a:lnTo>
                    <a:pt x="131" y="49"/>
                  </a:lnTo>
                  <a:lnTo>
                    <a:pt x="74" y="49"/>
                  </a:lnTo>
                  <a:lnTo>
                    <a:pt x="74" y="41"/>
                  </a:lnTo>
                  <a:close/>
                  <a:moveTo>
                    <a:pt x="74" y="130"/>
                  </a:moveTo>
                  <a:lnTo>
                    <a:pt x="90" y="130"/>
                  </a:lnTo>
                  <a:lnTo>
                    <a:pt x="90" y="98"/>
                  </a:lnTo>
                  <a:lnTo>
                    <a:pt x="115" y="98"/>
                  </a:lnTo>
                  <a:lnTo>
                    <a:pt x="115" y="130"/>
                  </a:lnTo>
                  <a:lnTo>
                    <a:pt x="131" y="130"/>
                  </a:lnTo>
                  <a:lnTo>
                    <a:pt x="131" y="57"/>
                  </a:lnTo>
                  <a:lnTo>
                    <a:pt x="74" y="57"/>
                  </a:lnTo>
                  <a:lnTo>
                    <a:pt x="74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3" name="任意多边形: 形状 142">
              <a:extLst>
                <a:ext uri="{FF2B5EF4-FFF2-40B4-BE49-F238E27FC236}">
                  <a16:creationId xmlns:a16="http://schemas.microsoft.com/office/drawing/2014/main" id="{AB5F173A-51D3-4D90-8081-2BC5FACD29F4}"/>
                </a:ext>
              </a:extLst>
            </p:cNvPr>
            <p:cNvSpPr/>
            <p:nvPr/>
          </p:nvSpPr>
          <p:spPr bwMode="auto">
            <a:xfrm>
              <a:off x="8688925" y="2636154"/>
              <a:ext cx="146800" cy="154629"/>
            </a:xfrm>
            <a:custGeom>
              <a:avLst/>
              <a:gdLst>
                <a:gd name="T0" fmla="*/ 43 w 46"/>
                <a:gd name="T1" fmla="*/ 29 h 48"/>
                <a:gd name="T2" fmla="*/ 46 w 46"/>
                <a:gd name="T3" fmla="*/ 16 h 48"/>
                <a:gd name="T4" fmla="*/ 41 w 46"/>
                <a:gd name="T5" fmla="*/ 8 h 48"/>
                <a:gd name="T6" fmla="*/ 37 w 46"/>
                <a:gd name="T7" fmla="*/ 9 h 48"/>
                <a:gd name="T8" fmla="*/ 28 w 46"/>
                <a:gd name="T9" fmla="*/ 0 h 48"/>
                <a:gd name="T10" fmla="*/ 18 w 46"/>
                <a:gd name="T11" fmla="*/ 0 h 48"/>
                <a:gd name="T12" fmla="*/ 17 w 46"/>
                <a:gd name="T13" fmla="*/ 4 h 48"/>
                <a:gd name="T14" fmla="*/ 4 w 46"/>
                <a:gd name="T15" fmla="*/ 8 h 48"/>
                <a:gd name="T16" fmla="*/ 0 w 46"/>
                <a:gd name="T17" fmla="*/ 16 h 48"/>
                <a:gd name="T18" fmla="*/ 3 w 46"/>
                <a:gd name="T19" fmla="*/ 19 h 48"/>
                <a:gd name="T20" fmla="*/ 0 w 46"/>
                <a:gd name="T21" fmla="*/ 32 h 48"/>
                <a:gd name="T22" fmla="*/ 4 w 46"/>
                <a:gd name="T23" fmla="*/ 40 h 48"/>
                <a:gd name="T24" fmla="*/ 9 w 46"/>
                <a:gd name="T25" fmla="*/ 39 h 48"/>
                <a:gd name="T26" fmla="*/ 18 w 46"/>
                <a:gd name="T27" fmla="*/ 48 h 48"/>
                <a:gd name="T28" fmla="*/ 28 w 46"/>
                <a:gd name="T29" fmla="*/ 48 h 48"/>
                <a:gd name="T30" fmla="*/ 29 w 46"/>
                <a:gd name="T31" fmla="*/ 44 h 48"/>
                <a:gd name="T32" fmla="*/ 41 w 46"/>
                <a:gd name="T33" fmla="*/ 40 h 48"/>
                <a:gd name="T34" fmla="*/ 46 w 46"/>
                <a:gd name="T35" fmla="*/ 32 h 48"/>
                <a:gd name="T36" fmla="*/ 43 w 46"/>
                <a:gd name="T37" fmla="*/ 29 h 48"/>
                <a:gd name="T38" fmla="*/ 23 w 46"/>
                <a:gd name="T39" fmla="*/ 34 h 48"/>
                <a:gd name="T40" fmla="*/ 13 w 46"/>
                <a:gd name="T41" fmla="*/ 24 h 48"/>
                <a:gd name="T42" fmla="*/ 23 w 46"/>
                <a:gd name="T43" fmla="*/ 14 h 48"/>
                <a:gd name="T44" fmla="*/ 33 w 46"/>
                <a:gd name="T45" fmla="*/ 24 h 48"/>
                <a:gd name="T46" fmla="*/ 23 w 46"/>
                <a:gd name="T47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48">
                  <a:moveTo>
                    <a:pt x="43" y="29"/>
                  </a:moveTo>
                  <a:cubicBezTo>
                    <a:pt x="40" y="24"/>
                    <a:pt x="42" y="19"/>
                    <a:pt x="46" y="16"/>
                  </a:cubicBezTo>
                  <a:cubicBezTo>
                    <a:pt x="41" y="8"/>
                    <a:pt x="41" y="8"/>
                    <a:pt x="41" y="8"/>
                  </a:cubicBezTo>
                  <a:cubicBezTo>
                    <a:pt x="40" y="9"/>
                    <a:pt x="39" y="9"/>
                    <a:pt x="37" y="9"/>
                  </a:cubicBezTo>
                  <a:cubicBezTo>
                    <a:pt x="32" y="9"/>
                    <a:pt x="28" y="5"/>
                    <a:pt x="28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18" y="1"/>
                    <a:pt x="18" y="3"/>
                    <a:pt x="17" y="4"/>
                  </a:cubicBezTo>
                  <a:cubicBezTo>
                    <a:pt x="14" y="9"/>
                    <a:pt x="9" y="10"/>
                    <a:pt x="4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1" y="17"/>
                    <a:pt x="2" y="18"/>
                    <a:pt x="3" y="19"/>
                  </a:cubicBezTo>
                  <a:cubicBezTo>
                    <a:pt x="6" y="24"/>
                    <a:pt x="4" y="29"/>
                    <a:pt x="0" y="3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6" y="39"/>
                    <a:pt x="7" y="39"/>
                    <a:pt x="9" y="39"/>
                  </a:cubicBezTo>
                  <a:cubicBezTo>
                    <a:pt x="14" y="39"/>
                    <a:pt x="18" y="43"/>
                    <a:pt x="18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8" y="45"/>
                    <a:pt x="29" y="44"/>
                  </a:cubicBezTo>
                  <a:cubicBezTo>
                    <a:pt x="31" y="39"/>
                    <a:pt x="37" y="38"/>
                    <a:pt x="41" y="40"/>
                  </a:cubicBezTo>
                  <a:cubicBezTo>
                    <a:pt x="46" y="32"/>
                    <a:pt x="46" y="32"/>
                    <a:pt x="46" y="32"/>
                  </a:cubicBezTo>
                  <a:cubicBezTo>
                    <a:pt x="45" y="31"/>
                    <a:pt x="44" y="30"/>
                    <a:pt x="43" y="29"/>
                  </a:cubicBezTo>
                  <a:close/>
                  <a:moveTo>
                    <a:pt x="23" y="34"/>
                  </a:moveTo>
                  <a:cubicBezTo>
                    <a:pt x="18" y="34"/>
                    <a:pt x="13" y="29"/>
                    <a:pt x="13" y="24"/>
                  </a:cubicBezTo>
                  <a:cubicBezTo>
                    <a:pt x="13" y="19"/>
                    <a:pt x="18" y="14"/>
                    <a:pt x="23" y="14"/>
                  </a:cubicBezTo>
                  <a:cubicBezTo>
                    <a:pt x="28" y="14"/>
                    <a:pt x="33" y="19"/>
                    <a:pt x="33" y="24"/>
                  </a:cubicBezTo>
                  <a:cubicBezTo>
                    <a:pt x="33" y="29"/>
                    <a:pt x="28" y="34"/>
                    <a:pt x="2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4" name="任意多边形: 形状 143">
              <a:extLst>
                <a:ext uri="{FF2B5EF4-FFF2-40B4-BE49-F238E27FC236}">
                  <a16:creationId xmlns:a16="http://schemas.microsoft.com/office/drawing/2014/main" id="{9167561B-ABEB-428F-A04A-7C7C7141A8D5}"/>
                </a:ext>
              </a:extLst>
            </p:cNvPr>
            <p:cNvSpPr/>
            <p:nvPr/>
          </p:nvSpPr>
          <p:spPr bwMode="auto">
            <a:xfrm>
              <a:off x="8371838" y="3567843"/>
              <a:ext cx="107653" cy="207478"/>
            </a:xfrm>
            <a:custGeom>
              <a:avLst/>
              <a:gdLst>
                <a:gd name="T0" fmla="*/ 23 w 34"/>
                <a:gd name="T1" fmla="*/ 64 h 65"/>
                <a:gd name="T2" fmla="*/ 23 w 34"/>
                <a:gd name="T3" fmla="*/ 64 h 65"/>
                <a:gd name="T4" fmla="*/ 33 w 34"/>
                <a:gd name="T5" fmla="*/ 50 h 65"/>
                <a:gd name="T6" fmla="*/ 30 w 34"/>
                <a:gd name="T7" fmla="*/ 34 h 65"/>
                <a:gd name="T8" fmla="*/ 15 w 34"/>
                <a:gd name="T9" fmla="*/ 24 h 65"/>
                <a:gd name="T10" fmla="*/ 15 w 34"/>
                <a:gd name="T11" fmla="*/ 24 h 65"/>
                <a:gd name="T12" fmla="*/ 14 w 34"/>
                <a:gd name="T13" fmla="*/ 25 h 65"/>
                <a:gd name="T14" fmla="*/ 15 w 34"/>
                <a:gd name="T15" fmla="*/ 30 h 65"/>
                <a:gd name="T16" fmla="*/ 16 w 34"/>
                <a:gd name="T17" fmla="*/ 30 h 65"/>
                <a:gd name="T18" fmla="*/ 17 w 34"/>
                <a:gd name="T19" fmla="*/ 30 h 65"/>
                <a:gd name="T20" fmla="*/ 24 w 34"/>
                <a:gd name="T21" fmla="*/ 35 h 65"/>
                <a:gd name="T22" fmla="*/ 27 w 34"/>
                <a:gd name="T23" fmla="*/ 51 h 65"/>
                <a:gd name="T24" fmla="*/ 22 w 34"/>
                <a:gd name="T25" fmla="*/ 59 h 65"/>
                <a:gd name="T26" fmla="*/ 22 w 34"/>
                <a:gd name="T27" fmla="*/ 59 h 65"/>
                <a:gd name="T28" fmla="*/ 14 w 34"/>
                <a:gd name="T29" fmla="*/ 53 h 65"/>
                <a:gd name="T30" fmla="*/ 13 w 34"/>
                <a:gd name="T31" fmla="*/ 46 h 65"/>
                <a:gd name="T32" fmla="*/ 6 w 34"/>
                <a:gd name="T33" fmla="*/ 44 h 65"/>
                <a:gd name="T34" fmla="*/ 8 w 34"/>
                <a:gd name="T35" fmla="*/ 54 h 65"/>
                <a:gd name="T36" fmla="*/ 23 w 34"/>
                <a:gd name="T37" fmla="*/ 64 h 65"/>
                <a:gd name="T38" fmla="*/ 19 w 34"/>
                <a:gd name="T39" fmla="*/ 42 h 65"/>
                <a:gd name="T40" fmla="*/ 20 w 34"/>
                <a:gd name="T41" fmla="*/ 41 h 65"/>
                <a:gd name="T42" fmla="*/ 19 w 34"/>
                <a:gd name="T43" fmla="*/ 35 h 65"/>
                <a:gd name="T44" fmla="*/ 18 w 34"/>
                <a:gd name="T45" fmla="*/ 36 h 65"/>
                <a:gd name="T46" fmla="*/ 17 w 34"/>
                <a:gd name="T47" fmla="*/ 36 h 65"/>
                <a:gd name="T48" fmla="*/ 10 w 34"/>
                <a:gd name="T49" fmla="*/ 31 h 65"/>
                <a:gd name="T50" fmla="*/ 7 w 34"/>
                <a:gd name="T51" fmla="*/ 15 h 65"/>
                <a:gd name="T52" fmla="*/ 12 w 34"/>
                <a:gd name="T53" fmla="*/ 7 h 65"/>
                <a:gd name="T54" fmla="*/ 12 w 34"/>
                <a:gd name="T55" fmla="*/ 7 h 65"/>
                <a:gd name="T56" fmla="*/ 20 w 34"/>
                <a:gd name="T57" fmla="*/ 13 h 65"/>
                <a:gd name="T58" fmla="*/ 21 w 34"/>
                <a:gd name="T59" fmla="*/ 20 h 65"/>
                <a:gd name="T60" fmla="*/ 28 w 34"/>
                <a:gd name="T61" fmla="*/ 22 h 65"/>
                <a:gd name="T62" fmla="*/ 26 w 34"/>
                <a:gd name="T63" fmla="*/ 12 h 65"/>
                <a:gd name="T64" fmla="*/ 11 w 34"/>
                <a:gd name="T65" fmla="*/ 2 h 65"/>
                <a:gd name="T66" fmla="*/ 11 w 34"/>
                <a:gd name="T67" fmla="*/ 2 h 65"/>
                <a:gd name="T68" fmla="*/ 1 w 34"/>
                <a:gd name="T69" fmla="*/ 16 h 65"/>
                <a:gd name="T70" fmla="*/ 4 w 34"/>
                <a:gd name="T71" fmla="*/ 32 h 65"/>
                <a:gd name="T72" fmla="*/ 19 w 34"/>
                <a:gd name="T73" fmla="*/ 42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4" h="65">
                  <a:moveTo>
                    <a:pt x="23" y="64"/>
                  </a:moveTo>
                  <a:cubicBezTo>
                    <a:pt x="23" y="64"/>
                    <a:pt x="23" y="64"/>
                    <a:pt x="23" y="64"/>
                  </a:cubicBezTo>
                  <a:cubicBezTo>
                    <a:pt x="30" y="63"/>
                    <a:pt x="34" y="56"/>
                    <a:pt x="33" y="50"/>
                  </a:cubicBezTo>
                  <a:cubicBezTo>
                    <a:pt x="30" y="34"/>
                    <a:pt x="30" y="34"/>
                    <a:pt x="30" y="34"/>
                  </a:cubicBezTo>
                  <a:cubicBezTo>
                    <a:pt x="29" y="27"/>
                    <a:pt x="22" y="23"/>
                    <a:pt x="15" y="24"/>
                  </a:cubicBezTo>
                  <a:cubicBezTo>
                    <a:pt x="15" y="24"/>
                    <a:pt x="15" y="24"/>
                    <a:pt x="15" y="24"/>
                  </a:cubicBezTo>
                  <a:cubicBezTo>
                    <a:pt x="15" y="25"/>
                    <a:pt x="14" y="25"/>
                    <a:pt x="14" y="25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5" y="30"/>
                    <a:pt x="16" y="30"/>
                    <a:pt x="16" y="30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0" y="29"/>
                    <a:pt x="24" y="32"/>
                    <a:pt x="24" y="35"/>
                  </a:cubicBezTo>
                  <a:cubicBezTo>
                    <a:pt x="27" y="51"/>
                    <a:pt x="27" y="51"/>
                    <a:pt x="27" y="51"/>
                  </a:cubicBezTo>
                  <a:cubicBezTo>
                    <a:pt x="28" y="54"/>
                    <a:pt x="26" y="58"/>
                    <a:pt x="22" y="59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8" y="59"/>
                    <a:pt x="15" y="57"/>
                    <a:pt x="14" y="53"/>
                  </a:cubicBezTo>
                  <a:cubicBezTo>
                    <a:pt x="13" y="46"/>
                    <a:pt x="13" y="46"/>
                    <a:pt x="13" y="46"/>
                  </a:cubicBezTo>
                  <a:cubicBezTo>
                    <a:pt x="10" y="46"/>
                    <a:pt x="8" y="45"/>
                    <a:pt x="6" y="4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10" y="61"/>
                    <a:pt x="16" y="65"/>
                    <a:pt x="23" y="64"/>
                  </a:cubicBezTo>
                  <a:close/>
                  <a:moveTo>
                    <a:pt x="19" y="42"/>
                  </a:moveTo>
                  <a:cubicBezTo>
                    <a:pt x="19" y="41"/>
                    <a:pt x="20" y="41"/>
                    <a:pt x="20" y="41"/>
                  </a:cubicBezTo>
                  <a:cubicBezTo>
                    <a:pt x="19" y="35"/>
                    <a:pt x="19" y="35"/>
                    <a:pt x="19" y="35"/>
                  </a:cubicBezTo>
                  <a:cubicBezTo>
                    <a:pt x="19" y="36"/>
                    <a:pt x="18" y="36"/>
                    <a:pt x="18" y="36"/>
                  </a:cubicBezTo>
                  <a:cubicBezTo>
                    <a:pt x="17" y="36"/>
                    <a:pt x="17" y="36"/>
                    <a:pt x="17" y="36"/>
                  </a:cubicBezTo>
                  <a:cubicBezTo>
                    <a:pt x="14" y="37"/>
                    <a:pt x="10" y="34"/>
                    <a:pt x="10" y="31"/>
                  </a:cubicBezTo>
                  <a:cubicBezTo>
                    <a:pt x="7" y="15"/>
                    <a:pt x="7" y="15"/>
                    <a:pt x="7" y="15"/>
                  </a:cubicBezTo>
                  <a:cubicBezTo>
                    <a:pt x="6" y="12"/>
                    <a:pt x="8" y="8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6" y="7"/>
                    <a:pt x="19" y="9"/>
                    <a:pt x="20" y="13"/>
                  </a:cubicBezTo>
                  <a:cubicBezTo>
                    <a:pt x="21" y="20"/>
                    <a:pt x="21" y="20"/>
                    <a:pt x="21" y="20"/>
                  </a:cubicBezTo>
                  <a:cubicBezTo>
                    <a:pt x="24" y="20"/>
                    <a:pt x="26" y="21"/>
                    <a:pt x="28" y="22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4" y="5"/>
                    <a:pt x="18" y="0"/>
                    <a:pt x="11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4" y="3"/>
                    <a:pt x="0" y="10"/>
                    <a:pt x="1" y="16"/>
                  </a:cubicBezTo>
                  <a:cubicBezTo>
                    <a:pt x="4" y="32"/>
                    <a:pt x="4" y="32"/>
                    <a:pt x="4" y="32"/>
                  </a:cubicBezTo>
                  <a:cubicBezTo>
                    <a:pt x="5" y="38"/>
                    <a:pt x="12" y="43"/>
                    <a:pt x="19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5" name="任意多边形: 形状 144">
              <a:extLst>
                <a:ext uri="{FF2B5EF4-FFF2-40B4-BE49-F238E27FC236}">
                  <a16:creationId xmlns:a16="http://schemas.microsoft.com/office/drawing/2014/main" id="{F060F1A1-389E-43FC-BCEC-B3482822E806}"/>
                </a:ext>
              </a:extLst>
            </p:cNvPr>
            <p:cNvSpPr/>
            <p:nvPr/>
          </p:nvSpPr>
          <p:spPr bwMode="auto">
            <a:xfrm>
              <a:off x="8448174" y="1575279"/>
              <a:ext cx="293599" cy="293600"/>
            </a:xfrm>
            <a:custGeom>
              <a:avLst/>
              <a:gdLst>
                <a:gd name="T0" fmla="*/ 29 w 92"/>
                <a:gd name="T1" fmla="*/ 17 h 92"/>
                <a:gd name="T2" fmla="*/ 92 w 92"/>
                <a:gd name="T3" fmla="*/ 0 h 92"/>
                <a:gd name="T4" fmla="*/ 92 w 92"/>
                <a:gd name="T5" fmla="*/ 6 h 92"/>
                <a:gd name="T6" fmla="*/ 92 w 92"/>
                <a:gd name="T7" fmla="*/ 17 h 92"/>
                <a:gd name="T8" fmla="*/ 92 w 92"/>
                <a:gd name="T9" fmla="*/ 66 h 92"/>
                <a:gd name="T10" fmla="*/ 72 w 92"/>
                <a:gd name="T11" fmla="*/ 80 h 92"/>
                <a:gd name="T12" fmla="*/ 52 w 92"/>
                <a:gd name="T13" fmla="*/ 66 h 92"/>
                <a:gd name="T14" fmla="*/ 72 w 92"/>
                <a:gd name="T15" fmla="*/ 52 h 92"/>
                <a:gd name="T16" fmla="*/ 81 w 92"/>
                <a:gd name="T17" fmla="*/ 53 h 92"/>
                <a:gd name="T18" fmla="*/ 81 w 92"/>
                <a:gd name="T19" fmla="*/ 23 h 92"/>
                <a:gd name="T20" fmla="*/ 41 w 92"/>
                <a:gd name="T21" fmla="*/ 34 h 92"/>
                <a:gd name="T22" fmla="*/ 41 w 92"/>
                <a:gd name="T23" fmla="*/ 78 h 92"/>
                <a:gd name="T24" fmla="*/ 21 w 92"/>
                <a:gd name="T25" fmla="*/ 92 h 92"/>
                <a:gd name="T26" fmla="*/ 0 w 92"/>
                <a:gd name="T27" fmla="*/ 78 h 92"/>
                <a:gd name="T28" fmla="*/ 21 w 92"/>
                <a:gd name="T29" fmla="*/ 63 h 92"/>
                <a:gd name="T30" fmla="*/ 29 w 92"/>
                <a:gd name="T31" fmla="*/ 65 h 92"/>
                <a:gd name="T32" fmla="*/ 29 w 92"/>
                <a:gd name="T33" fmla="*/ 34 h 92"/>
                <a:gd name="T34" fmla="*/ 29 w 92"/>
                <a:gd name="T35" fmla="*/ 17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2" h="92">
                  <a:moveTo>
                    <a:pt x="29" y="17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6"/>
                    <a:pt x="92" y="6"/>
                    <a:pt x="92" y="6"/>
                  </a:cubicBezTo>
                  <a:cubicBezTo>
                    <a:pt x="92" y="17"/>
                    <a:pt x="92" y="17"/>
                    <a:pt x="92" y="17"/>
                  </a:cubicBezTo>
                  <a:cubicBezTo>
                    <a:pt x="92" y="66"/>
                    <a:pt x="92" y="66"/>
                    <a:pt x="92" y="66"/>
                  </a:cubicBezTo>
                  <a:cubicBezTo>
                    <a:pt x="92" y="74"/>
                    <a:pt x="83" y="80"/>
                    <a:pt x="72" y="80"/>
                  </a:cubicBezTo>
                  <a:cubicBezTo>
                    <a:pt x="61" y="80"/>
                    <a:pt x="52" y="74"/>
                    <a:pt x="52" y="66"/>
                  </a:cubicBezTo>
                  <a:cubicBezTo>
                    <a:pt x="52" y="58"/>
                    <a:pt x="61" y="52"/>
                    <a:pt x="72" y="52"/>
                  </a:cubicBezTo>
                  <a:cubicBezTo>
                    <a:pt x="75" y="52"/>
                    <a:pt x="78" y="52"/>
                    <a:pt x="81" y="53"/>
                  </a:cubicBezTo>
                  <a:cubicBezTo>
                    <a:pt x="81" y="23"/>
                    <a:pt x="81" y="23"/>
                    <a:pt x="81" y="23"/>
                  </a:cubicBezTo>
                  <a:cubicBezTo>
                    <a:pt x="41" y="34"/>
                    <a:pt x="41" y="34"/>
                    <a:pt x="41" y="34"/>
                  </a:cubicBezTo>
                  <a:cubicBezTo>
                    <a:pt x="41" y="78"/>
                    <a:pt x="41" y="78"/>
                    <a:pt x="41" y="78"/>
                  </a:cubicBezTo>
                  <a:cubicBezTo>
                    <a:pt x="41" y="86"/>
                    <a:pt x="32" y="92"/>
                    <a:pt x="21" y="92"/>
                  </a:cubicBezTo>
                  <a:cubicBezTo>
                    <a:pt x="9" y="92"/>
                    <a:pt x="0" y="86"/>
                    <a:pt x="0" y="78"/>
                  </a:cubicBezTo>
                  <a:cubicBezTo>
                    <a:pt x="0" y="70"/>
                    <a:pt x="9" y="63"/>
                    <a:pt x="21" y="63"/>
                  </a:cubicBezTo>
                  <a:cubicBezTo>
                    <a:pt x="24" y="63"/>
                    <a:pt x="27" y="64"/>
                    <a:pt x="29" y="65"/>
                  </a:cubicBezTo>
                  <a:cubicBezTo>
                    <a:pt x="29" y="34"/>
                    <a:pt x="29" y="34"/>
                    <a:pt x="29" y="34"/>
                  </a:cubicBezTo>
                  <a:lnTo>
                    <a:pt x="2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5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6" name="任意多边形: 形状 145">
              <a:extLst>
                <a:ext uri="{FF2B5EF4-FFF2-40B4-BE49-F238E27FC236}">
                  <a16:creationId xmlns:a16="http://schemas.microsoft.com/office/drawing/2014/main" id="{215AEC3B-B394-47D5-A98A-678CE6556D28}"/>
                </a:ext>
              </a:extLst>
            </p:cNvPr>
            <p:cNvSpPr/>
            <p:nvPr/>
          </p:nvSpPr>
          <p:spPr bwMode="auto">
            <a:xfrm>
              <a:off x="7763110" y="4108068"/>
              <a:ext cx="227050" cy="201604"/>
            </a:xfrm>
            <a:custGeom>
              <a:avLst/>
              <a:gdLst>
                <a:gd name="T0" fmla="*/ 30 w 71"/>
                <a:gd name="T1" fmla="*/ 0 h 63"/>
                <a:gd name="T2" fmla="*/ 30 w 71"/>
                <a:gd name="T3" fmla="*/ 0 h 63"/>
                <a:gd name="T4" fmla="*/ 59 w 71"/>
                <a:gd name="T5" fmla="*/ 23 h 63"/>
                <a:gd name="T6" fmla="*/ 30 w 71"/>
                <a:gd name="T7" fmla="*/ 47 h 63"/>
                <a:gd name="T8" fmla="*/ 25 w 71"/>
                <a:gd name="T9" fmla="*/ 47 h 63"/>
                <a:gd name="T10" fmla="*/ 4 w 71"/>
                <a:gd name="T11" fmla="*/ 55 h 63"/>
                <a:gd name="T12" fmla="*/ 4 w 71"/>
                <a:gd name="T13" fmla="*/ 53 h 63"/>
                <a:gd name="T14" fmla="*/ 11 w 71"/>
                <a:gd name="T15" fmla="*/ 44 h 63"/>
                <a:gd name="T16" fmla="*/ 11 w 71"/>
                <a:gd name="T17" fmla="*/ 42 h 63"/>
                <a:gd name="T18" fmla="*/ 0 w 71"/>
                <a:gd name="T19" fmla="*/ 23 h 63"/>
                <a:gd name="T20" fmla="*/ 30 w 71"/>
                <a:gd name="T21" fmla="*/ 0 h 63"/>
                <a:gd name="T22" fmla="*/ 62 w 71"/>
                <a:gd name="T23" fmla="*/ 53 h 63"/>
                <a:gd name="T24" fmla="*/ 67 w 71"/>
                <a:gd name="T25" fmla="*/ 61 h 63"/>
                <a:gd name="T26" fmla="*/ 67 w 71"/>
                <a:gd name="T27" fmla="*/ 63 h 63"/>
                <a:gd name="T28" fmla="*/ 50 w 71"/>
                <a:gd name="T29" fmla="*/ 56 h 63"/>
                <a:gd name="T30" fmla="*/ 46 w 71"/>
                <a:gd name="T31" fmla="*/ 56 h 63"/>
                <a:gd name="T32" fmla="*/ 30 w 71"/>
                <a:gd name="T33" fmla="*/ 52 h 63"/>
                <a:gd name="T34" fmla="*/ 54 w 71"/>
                <a:gd name="T35" fmla="*/ 44 h 63"/>
                <a:gd name="T36" fmla="*/ 61 w 71"/>
                <a:gd name="T37" fmla="*/ 35 h 63"/>
                <a:gd name="T38" fmla="*/ 64 w 71"/>
                <a:gd name="T39" fmla="*/ 23 h 63"/>
                <a:gd name="T40" fmla="*/ 64 w 71"/>
                <a:gd name="T41" fmla="*/ 22 h 63"/>
                <a:gd name="T42" fmla="*/ 71 w 71"/>
                <a:gd name="T43" fmla="*/ 36 h 63"/>
                <a:gd name="T44" fmla="*/ 62 w 71"/>
                <a:gd name="T45" fmla="*/ 52 h 63"/>
                <a:gd name="T46" fmla="*/ 62 w 71"/>
                <a:gd name="T47" fmla="*/ 5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1" h="63">
                  <a:moveTo>
                    <a:pt x="30" y="0"/>
                  </a:moveTo>
                  <a:cubicBezTo>
                    <a:pt x="30" y="0"/>
                    <a:pt x="30" y="0"/>
                    <a:pt x="30" y="0"/>
                  </a:cubicBezTo>
                  <a:cubicBezTo>
                    <a:pt x="46" y="0"/>
                    <a:pt x="59" y="10"/>
                    <a:pt x="59" y="23"/>
                  </a:cubicBezTo>
                  <a:cubicBezTo>
                    <a:pt x="59" y="37"/>
                    <a:pt x="46" y="47"/>
                    <a:pt x="30" y="47"/>
                  </a:cubicBezTo>
                  <a:cubicBezTo>
                    <a:pt x="28" y="47"/>
                    <a:pt x="27" y="47"/>
                    <a:pt x="25" y="47"/>
                  </a:cubicBezTo>
                  <a:cubicBezTo>
                    <a:pt x="19" y="53"/>
                    <a:pt x="11" y="55"/>
                    <a:pt x="4" y="55"/>
                  </a:cubicBezTo>
                  <a:cubicBezTo>
                    <a:pt x="4" y="53"/>
                    <a:pt x="4" y="53"/>
                    <a:pt x="4" y="53"/>
                  </a:cubicBezTo>
                  <a:cubicBezTo>
                    <a:pt x="8" y="51"/>
                    <a:pt x="11" y="48"/>
                    <a:pt x="11" y="44"/>
                  </a:cubicBezTo>
                  <a:cubicBezTo>
                    <a:pt x="11" y="43"/>
                    <a:pt x="11" y="43"/>
                    <a:pt x="11" y="42"/>
                  </a:cubicBezTo>
                  <a:cubicBezTo>
                    <a:pt x="4" y="38"/>
                    <a:pt x="0" y="31"/>
                    <a:pt x="0" y="23"/>
                  </a:cubicBezTo>
                  <a:cubicBezTo>
                    <a:pt x="0" y="10"/>
                    <a:pt x="13" y="0"/>
                    <a:pt x="30" y="0"/>
                  </a:cubicBezTo>
                  <a:close/>
                  <a:moveTo>
                    <a:pt x="62" y="53"/>
                  </a:moveTo>
                  <a:cubicBezTo>
                    <a:pt x="62" y="57"/>
                    <a:pt x="64" y="60"/>
                    <a:pt x="67" y="61"/>
                  </a:cubicBezTo>
                  <a:cubicBezTo>
                    <a:pt x="67" y="63"/>
                    <a:pt x="67" y="63"/>
                    <a:pt x="67" y="63"/>
                  </a:cubicBezTo>
                  <a:cubicBezTo>
                    <a:pt x="61" y="62"/>
                    <a:pt x="55" y="61"/>
                    <a:pt x="50" y="56"/>
                  </a:cubicBezTo>
                  <a:cubicBezTo>
                    <a:pt x="48" y="56"/>
                    <a:pt x="47" y="56"/>
                    <a:pt x="46" y="56"/>
                  </a:cubicBezTo>
                  <a:cubicBezTo>
                    <a:pt x="40" y="56"/>
                    <a:pt x="34" y="55"/>
                    <a:pt x="30" y="52"/>
                  </a:cubicBezTo>
                  <a:cubicBezTo>
                    <a:pt x="39" y="52"/>
                    <a:pt x="47" y="49"/>
                    <a:pt x="54" y="44"/>
                  </a:cubicBezTo>
                  <a:cubicBezTo>
                    <a:pt x="57" y="41"/>
                    <a:pt x="59" y="38"/>
                    <a:pt x="61" y="35"/>
                  </a:cubicBezTo>
                  <a:cubicBezTo>
                    <a:pt x="63" y="31"/>
                    <a:pt x="64" y="27"/>
                    <a:pt x="64" y="23"/>
                  </a:cubicBezTo>
                  <a:cubicBezTo>
                    <a:pt x="64" y="23"/>
                    <a:pt x="64" y="22"/>
                    <a:pt x="64" y="22"/>
                  </a:cubicBezTo>
                  <a:cubicBezTo>
                    <a:pt x="68" y="25"/>
                    <a:pt x="71" y="30"/>
                    <a:pt x="71" y="36"/>
                  </a:cubicBezTo>
                  <a:cubicBezTo>
                    <a:pt x="71" y="42"/>
                    <a:pt x="67" y="48"/>
                    <a:pt x="62" y="52"/>
                  </a:cubicBezTo>
                  <a:cubicBezTo>
                    <a:pt x="62" y="52"/>
                    <a:pt x="62" y="53"/>
                    <a:pt x="62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7" name="任意多边形: 形状 146">
              <a:extLst>
                <a:ext uri="{FF2B5EF4-FFF2-40B4-BE49-F238E27FC236}">
                  <a16:creationId xmlns:a16="http://schemas.microsoft.com/office/drawing/2014/main" id="{F93D3E28-AD26-4427-834A-ECAF657F7E5A}"/>
                </a:ext>
              </a:extLst>
            </p:cNvPr>
            <p:cNvSpPr/>
            <p:nvPr/>
          </p:nvSpPr>
          <p:spPr bwMode="auto">
            <a:xfrm>
              <a:off x="7947099" y="3679414"/>
              <a:ext cx="207476" cy="207478"/>
            </a:xfrm>
            <a:custGeom>
              <a:avLst/>
              <a:gdLst>
                <a:gd name="T0" fmla="*/ 65 w 65"/>
                <a:gd name="T1" fmla="*/ 24 h 65"/>
                <a:gd name="T2" fmla="*/ 41 w 65"/>
                <a:gd name="T3" fmla="*/ 24 h 65"/>
                <a:gd name="T4" fmla="*/ 50 w 65"/>
                <a:gd name="T5" fmla="*/ 15 h 65"/>
                <a:gd name="T6" fmla="*/ 33 w 65"/>
                <a:gd name="T7" fmla="*/ 8 h 65"/>
                <a:gd name="T8" fmla="*/ 16 w 65"/>
                <a:gd name="T9" fmla="*/ 15 h 65"/>
                <a:gd name="T10" fmla="*/ 9 w 65"/>
                <a:gd name="T11" fmla="*/ 32 h 65"/>
                <a:gd name="T12" fmla="*/ 16 w 65"/>
                <a:gd name="T13" fmla="*/ 49 h 65"/>
                <a:gd name="T14" fmla="*/ 33 w 65"/>
                <a:gd name="T15" fmla="*/ 56 h 65"/>
                <a:gd name="T16" fmla="*/ 50 w 65"/>
                <a:gd name="T17" fmla="*/ 49 h 65"/>
                <a:gd name="T18" fmla="*/ 51 w 65"/>
                <a:gd name="T19" fmla="*/ 48 h 65"/>
                <a:gd name="T20" fmla="*/ 57 w 65"/>
                <a:gd name="T21" fmla="*/ 54 h 65"/>
                <a:gd name="T22" fmla="*/ 33 w 65"/>
                <a:gd name="T23" fmla="*/ 65 h 65"/>
                <a:gd name="T24" fmla="*/ 0 w 65"/>
                <a:gd name="T25" fmla="*/ 32 h 65"/>
                <a:gd name="T26" fmla="*/ 33 w 65"/>
                <a:gd name="T27" fmla="*/ 0 h 65"/>
                <a:gd name="T28" fmla="*/ 56 w 65"/>
                <a:gd name="T29" fmla="*/ 9 h 65"/>
                <a:gd name="T30" fmla="*/ 65 w 65"/>
                <a:gd name="T31" fmla="*/ 0 h 65"/>
                <a:gd name="T32" fmla="*/ 65 w 65"/>
                <a:gd name="T33" fmla="*/ 24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5" h="65">
                  <a:moveTo>
                    <a:pt x="65" y="24"/>
                  </a:moveTo>
                  <a:cubicBezTo>
                    <a:pt x="41" y="24"/>
                    <a:pt x="41" y="24"/>
                    <a:pt x="41" y="24"/>
                  </a:cubicBezTo>
                  <a:cubicBezTo>
                    <a:pt x="50" y="15"/>
                    <a:pt x="50" y="15"/>
                    <a:pt x="50" y="15"/>
                  </a:cubicBezTo>
                  <a:cubicBezTo>
                    <a:pt x="45" y="10"/>
                    <a:pt x="39" y="8"/>
                    <a:pt x="33" y="8"/>
                  </a:cubicBezTo>
                  <a:cubicBezTo>
                    <a:pt x="26" y="8"/>
                    <a:pt x="20" y="10"/>
                    <a:pt x="16" y="15"/>
                  </a:cubicBezTo>
                  <a:cubicBezTo>
                    <a:pt x="11" y="20"/>
                    <a:pt x="9" y="26"/>
                    <a:pt x="9" y="32"/>
                  </a:cubicBezTo>
                  <a:cubicBezTo>
                    <a:pt x="9" y="39"/>
                    <a:pt x="11" y="45"/>
                    <a:pt x="16" y="49"/>
                  </a:cubicBezTo>
                  <a:cubicBezTo>
                    <a:pt x="20" y="54"/>
                    <a:pt x="26" y="56"/>
                    <a:pt x="33" y="56"/>
                  </a:cubicBezTo>
                  <a:cubicBezTo>
                    <a:pt x="39" y="56"/>
                    <a:pt x="45" y="54"/>
                    <a:pt x="50" y="49"/>
                  </a:cubicBezTo>
                  <a:cubicBezTo>
                    <a:pt x="50" y="49"/>
                    <a:pt x="51" y="49"/>
                    <a:pt x="51" y="48"/>
                  </a:cubicBezTo>
                  <a:cubicBezTo>
                    <a:pt x="57" y="54"/>
                    <a:pt x="57" y="54"/>
                    <a:pt x="57" y="54"/>
                  </a:cubicBezTo>
                  <a:cubicBezTo>
                    <a:pt x="51" y="60"/>
                    <a:pt x="43" y="65"/>
                    <a:pt x="33" y="65"/>
                  </a:cubicBezTo>
                  <a:cubicBezTo>
                    <a:pt x="15" y="65"/>
                    <a:pt x="0" y="50"/>
                    <a:pt x="0" y="32"/>
                  </a:cubicBezTo>
                  <a:cubicBezTo>
                    <a:pt x="0" y="14"/>
                    <a:pt x="15" y="0"/>
                    <a:pt x="33" y="0"/>
                  </a:cubicBezTo>
                  <a:cubicBezTo>
                    <a:pt x="42" y="0"/>
                    <a:pt x="50" y="4"/>
                    <a:pt x="56" y="9"/>
                  </a:cubicBezTo>
                  <a:cubicBezTo>
                    <a:pt x="65" y="0"/>
                    <a:pt x="65" y="0"/>
                    <a:pt x="65" y="0"/>
                  </a:cubicBezTo>
                  <a:lnTo>
                    <a:pt x="65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8" name="任意多边形: 形状 147">
              <a:extLst>
                <a:ext uri="{FF2B5EF4-FFF2-40B4-BE49-F238E27FC236}">
                  <a16:creationId xmlns:a16="http://schemas.microsoft.com/office/drawing/2014/main" id="{48B00F26-6DC4-4CFB-96AD-8EE58C9F8D9E}"/>
                </a:ext>
              </a:extLst>
            </p:cNvPr>
            <p:cNvSpPr/>
            <p:nvPr/>
          </p:nvSpPr>
          <p:spPr bwMode="auto">
            <a:xfrm>
              <a:off x="8704585" y="1177942"/>
              <a:ext cx="172244" cy="170287"/>
            </a:xfrm>
            <a:custGeom>
              <a:avLst/>
              <a:gdLst>
                <a:gd name="T0" fmla="*/ 27 w 54"/>
                <a:gd name="T1" fmla="*/ 0 h 53"/>
                <a:gd name="T2" fmla="*/ 0 w 54"/>
                <a:gd name="T3" fmla="*/ 26 h 53"/>
                <a:gd name="T4" fmla="*/ 27 w 54"/>
                <a:gd name="T5" fmla="*/ 53 h 53"/>
                <a:gd name="T6" fmla="*/ 54 w 54"/>
                <a:gd name="T7" fmla="*/ 26 h 53"/>
                <a:gd name="T8" fmla="*/ 27 w 54"/>
                <a:gd name="T9" fmla="*/ 0 h 53"/>
                <a:gd name="T10" fmla="*/ 16 w 54"/>
                <a:gd name="T11" fmla="*/ 43 h 53"/>
                <a:gd name="T12" fmla="*/ 17 w 54"/>
                <a:gd name="T13" fmla="*/ 38 h 53"/>
                <a:gd name="T14" fmla="*/ 7 w 54"/>
                <a:gd name="T15" fmla="*/ 24 h 53"/>
                <a:gd name="T16" fmla="*/ 13 w 54"/>
                <a:gd name="T17" fmla="*/ 12 h 53"/>
                <a:gd name="T18" fmla="*/ 27 w 54"/>
                <a:gd name="T19" fmla="*/ 6 h 53"/>
                <a:gd name="T20" fmla="*/ 41 w 54"/>
                <a:gd name="T21" fmla="*/ 12 h 53"/>
                <a:gd name="T22" fmla="*/ 47 w 54"/>
                <a:gd name="T23" fmla="*/ 24 h 53"/>
                <a:gd name="T24" fmla="*/ 37 w 54"/>
                <a:gd name="T25" fmla="*/ 38 h 53"/>
                <a:gd name="T26" fmla="*/ 38 w 54"/>
                <a:gd name="T27" fmla="*/ 43 h 53"/>
                <a:gd name="T28" fmla="*/ 27 w 54"/>
                <a:gd name="T29" fmla="*/ 46 h 53"/>
                <a:gd name="T30" fmla="*/ 16 w 54"/>
                <a:gd name="T31" fmla="*/ 43 h 53"/>
                <a:gd name="T32" fmla="*/ 29 w 54"/>
                <a:gd name="T33" fmla="*/ 33 h 53"/>
                <a:gd name="T34" fmla="*/ 30 w 54"/>
                <a:gd name="T35" fmla="*/ 35 h 53"/>
                <a:gd name="T36" fmla="*/ 30 w 54"/>
                <a:gd name="T37" fmla="*/ 38 h 53"/>
                <a:gd name="T38" fmla="*/ 28 w 54"/>
                <a:gd name="T39" fmla="*/ 40 h 53"/>
                <a:gd name="T40" fmla="*/ 25 w 54"/>
                <a:gd name="T41" fmla="*/ 40 h 53"/>
                <a:gd name="T42" fmla="*/ 23 w 54"/>
                <a:gd name="T43" fmla="*/ 38 h 53"/>
                <a:gd name="T44" fmla="*/ 23 w 54"/>
                <a:gd name="T45" fmla="*/ 35 h 53"/>
                <a:gd name="T46" fmla="*/ 25 w 54"/>
                <a:gd name="T47" fmla="*/ 33 h 53"/>
                <a:gd name="T48" fmla="*/ 26 w 54"/>
                <a:gd name="T49" fmla="*/ 10 h 53"/>
                <a:gd name="T50" fmla="*/ 28 w 54"/>
                <a:gd name="T51" fmla="*/ 10 h 53"/>
                <a:gd name="T52" fmla="*/ 29 w 54"/>
                <a:gd name="T53" fmla="*/ 3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53">
                  <a:moveTo>
                    <a:pt x="27" y="0"/>
                  </a:moveTo>
                  <a:cubicBezTo>
                    <a:pt x="12" y="0"/>
                    <a:pt x="0" y="12"/>
                    <a:pt x="0" y="26"/>
                  </a:cubicBezTo>
                  <a:cubicBezTo>
                    <a:pt x="0" y="41"/>
                    <a:pt x="12" y="53"/>
                    <a:pt x="27" y="53"/>
                  </a:cubicBezTo>
                  <a:cubicBezTo>
                    <a:pt x="42" y="53"/>
                    <a:pt x="54" y="41"/>
                    <a:pt x="54" y="26"/>
                  </a:cubicBezTo>
                  <a:cubicBezTo>
                    <a:pt x="54" y="12"/>
                    <a:pt x="42" y="0"/>
                    <a:pt x="27" y="0"/>
                  </a:cubicBezTo>
                  <a:close/>
                  <a:moveTo>
                    <a:pt x="16" y="43"/>
                  </a:moveTo>
                  <a:cubicBezTo>
                    <a:pt x="16" y="42"/>
                    <a:pt x="17" y="40"/>
                    <a:pt x="17" y="38"/>
                  </a:cubicBezTo>
                  <a:cubicBezTo>
                    <a:pt x="17" y="32"/>
                    <a:pt x="13" y="26"/>
                    <a:pt x="7" y="24"/>
                  </a:cubicBezTo>
                  <a:cubicBezTo>
                    <a:pt x="7" y="20"/>
                    <a:pt x="9" y="15"/>
                    <a:pt x="13" y="12"/>
                  </a:cubicBezTo>
                  <a:cubicBezTo>
                    <a:pt x="16" y="8"/>
                    <a:pt x="21" y="6"/>
                    <a:pt x="27" y="6"/>
                  </a:cubicBezTo>
                  <a:cubicBezTo>
                    <a:pt x="32" y="6"/>
                    <a:pt x="37" y="8"/>
                    <a:pt x="41" y="12"/>
                  </a:cubicBezTo>
                  <a:cubicBezTo>
                    <a:pt x="44" y="15"/>
                    <a:pt x="46" y="20"/>
                    <a:pt x="47" y="24"/>
                  </a:cubicBezTo>
                  <a:cubicBezTo>
                    <a:pt x="41" y="26"/>
                    <a:pt x="37" y="32"/>
                    <a:pt x="37" y="38"/>
                  </a:cubicBezTo>
                  <a:cubicBezTo>
                    <a:pt x="37" y="40"/>
                    <a:pt x="37" y="42"/>
                    <a:pt x="38" y="43"/>
                  </a:cubicBezTo>
                  <a:cubicBezTo>
                    <a:pt x="35" y="45"/>
                    <a:pt x="31" y="46"/>
                    <a:pt x="27" y="46"/>
                  </a:cubicBezTo>
                  <a:cubicBezTo>
                    <a:pt x="23" y="46"/>
                    <a:pt x="19" y="45"/>
                    <a:pt x="16" y="43"/>
                  </a:cubicBezTo>
                  <a:close/>
                  <a:moveTo>
                    <a:pt x="29" y="33"/>
                  </a:moveTo>
                  <a:cubicBezTo>
                    <a:pt x="30" y="33"/>
                    <a:pt x="30" y="34"/>
                    <a:pt x="30" y="35"/>
                  </a:cubicBezTo>
                  <a:cubicBezTo>
                    <a:pt x="30" y="38"/>
                    <a:pt x="30" y="38"/>
                    <a:pt x="30" y="38"/>
                  </a:cubicBezTo>
                  <a:cubicBezTo>
                    <a:pt x="30" y="39"/>
                    <a:pt x="29" y="40"/>
                    <a:pt x="28" y="40"/>
                  </a:cubicBezTo>
                  <a:cubicBezTo>
                    <a:pt x="25" y="40"/>
                    <a:pt x="25" y="40"/>
                    <a:pt x="25" y="40"/>
                  </a:cubicBezTo>
                  <a:cubicBezTo>
                    <a:pt x="24" y="40"/>
                    <a:pt x="23" y="39"/>
                    <a:pt x="23" y="38"/>
                  </a:cubicBezTo>
                  <a:cubicBezTo>
                    <a:pt x="23" y="35"/>
                    <a:pt x="23" y="35"/>
                    <a:pt x="23" y="35"/>
                  </a:cubicBezTo>
                  <a:cubicBezTo>
                    <a:pt x="23" y="34"/>
                    <a:pt x="24" y="33"/>
                    <a:pt x="25" y="33"/>
                  </a:cubicBezTo>
                  <a:cubicBezTo>
                    <a:pt x="26" y="10"/>
                    <a:pt x="26" y="10"/>
                    <a:pt x="26" y="10"/>
                  </a:cubicBezTo>
                  <a:cubicBezTo>
                    <a:pt x="28" y="10"/>
                    <a:pt x="28" y="10"/>
                    <a:pt x="28" y="10"/>
                  </a:cubicBezTo>
                  <a:lnTo>
                    <a:pt x="29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9" name="任意多边形: 形状 148">
              <a:extLst>
                <a:ext uri="{FF2B5EF4-FFF2-40B4-BE49-F238E27FC236}">
                  <a16:creationId xmlns:a16="http://schemas.microsoft.com/office/drawing/2014/main" id="{9D77B080-D326-42A7-B514-A4886FF3EA80}"/>
                </a:ext>
              </a:extLst>
            </p:cNvPr>
            <p:cNvSpPr/>
            <p:nvPr/>
          </p:nvSpPr>
          <p:spPr bwMode="auto">
            <a:xfrm>
              <a:off x="7489083" y="3493466"/>
              <a:ext cx="201605" cy="199649"/>
            </a:xfrm>
            <a:custGeom>
              <a:avLst/>
              <a:gdLst>
                <a:gd name="T0" fmla="*/ 32 w 63"/>
                <a:gd name="T1" fmla="*/ 62 h 62"/>
                <a:gd name="T2" fmla="*/ 0 w 63"/>
                <a:gd name="T3" fmla="*/ 31 h 62"/>
                <a:gd name="T4" fmla="*/ 32 w 63"/>
                <a:gd name="T5" fmla="*/ 0 h 62"/>
                <a:gd name="T6" fmla="*/ 63 w 63"/>
                <a:gd name="T7" fmla="*/ 31 h 62"/>
                <a:gd name="T8" fmla="*/ 32 w 63"/>
                <a:gd name="T9" fmla="*/ 62 h 62"/>
                <a:gd name="T10" fmla="*/ 58 w 63"/>
                <a:gd name="T11" fmla="*/ 36 h 62"/>
                <a:gd name="T12" fmla="*/ 41 w 63"/>
                <a:gd name="T13" fmla="*/ 34 h 62"/>
                <a:gd name="T14" fmla="*/ 46 w 63"/>
                <a:gd name="T15" fmla="*/ 53 h 62"/>
                <a:gd name="T16" fmla="*/ 58 w 63"/>
                <a:gd name="T17" fmla="*/ 36 h 62"/>
                <a:gd name="T18" fmla="*/ 42 w 63"/>
                <a:gd name="T19" fmla="*/ 56 h 62"/>
                <a:gd name="T20" fmla="*/ 36 w 63"/>
                <a:gd name="T21" fmla="*/ 36 h 62"/>
                <a:gd name="T22" fmla="*/ 36 w 63"/>
                <a:gd name="T23" fmla="*/ 36 h 62"/>
                <a:gd name="T24" fmla="*/ 15 w 63"/>
                <a:gd name="T25" fmla="*/ 52 h 62"/>
                <a:gd name="T26" fmla="*/ 32 w 63"/>
                <a:gd name="T27" fmla="*/ 58 h 62"/>
                <a:gd name="T28" fmla="*/ 42 w 63"/>
                <a:gd name="T29" fmla="*/ 56 h 62"/>
                <a:gd name="T30" fmla="*/ 12 w 63"/>
                <a:gd name="T31" fmla="*/ 49 h 62"/>
                <a:gd name="T32" fmla="*/ 33 w 63"/>
                <a:gd name="T33" fmla="*/ 32 h 62"/>
                <a:gd name="T34" fmla="*/ 34 w 63"/>
                <a:gd name="T35" fmla="*/ 31 h 62"/>
                <a:gd name="T36" fmla="*/ 32 w 63"/>
                <a:gd name="T37" fmla="*/ 27 h 62"/>
                <a:gd name="T38" fmla="*/ 5 w 63"/>
                <a:gd name="T39" fmla="*/ 31 h 62"/>
                <a:gd name="T40" fmla="*/ 5 w 63"/>
                <a:gd name="T41" fmla="*/ 31 h 62"/>
                <a:gd name="T42" fmla="*/ 12 w 63"/>
                <a:gd name="T43" fmla="*/ 49 h 62"/>
                <a:gd name="T44" fmla="*/ 5 w 63"/>
                <a:gd name="T45" fmla="*/ 26 h 62"/>
                <a:gd name="T46" fmla="*/ 30 w 63"/>
                <a:gd name="T47" fmla="*/ 23 h 62"/>
                <a:gd name="T48" fmla="*/ 20 w 63"/>
                <a:gd name="T49" fmla="*/ 7 h 62"/>
                <a:gd name="T50" fmla="*/ 5 w 63"/>
                <a:gd name="T51" fmla="*/ 26 h 62"/>
                <a:gd name="T52" fmla="*/ 25 w 63"/>
                <a:gd name="T53" fmla="*/ 6 h 62"/>
                <a:gd name="T54" fmla="*/ 35 w 63"/>
                <a:gd name="T55" fmla="*/ 21 h 62"/>
                <a:gd name="T56" fmla="*/ 49 w 63"/>
                <a:gd name="T57" fmla="*/ 12 h 62"/>
                <a:gd name="T58" fmla="*/ 32 w 63"/>
                <a:gd name="T59" fmla="*/ 5 h 62"/>
                <a:gd name="T60" fmla="*/ 25 w 63"/>
                <a:gd name="T61" fmla="*/ 6 h 62"/>
                <a:gd name="T62" fmla="*/ 52 w 63"/>
                <a:gd name="T63" fmla="*/ 15 h 62"/>
                <a:gd name="T64" fmla="*/ 37 w 63"/>
                <a:gd name="T65" fmla="*/ 25 h 62"/>
                <a:gd name="T66" fmla="*/ 39 w 63"/>
                <a:gd name="T67" fmla="*/ 29 h 62"/>
                <a:gd name="T68" fmla="*/ 40 w 63"/>
                <a:gd name="T69" fmla="*/ 30 h 62"/>
                <a:gd name="T70" fmla="*/ 58 w 63"/>
                <a:gd name="T71" fmla="*/ 31 h 62"/>
                <a:gd name="T72" fmla="*/ 52 w 63"/>
                <a:gd name="T73" fmla="*/ 15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3" h="62">
                  <a:moveTo>
                    <a:pt x="32" y="62"/>
                  </a:moveTo>
                  <a:cubicBezTo>
                    <a:pt x="14" y="62"/>
                    <a:pt x="0" y="49"/>
                    <a:pt x="0" y="31"/>
                  </a:cubicBezTo>
                  <a:cubicBezTo>
                    <a:pt x="0" y="14"/>
                    <a:pt x="14" y="0"/>
                    <a:pt x="32" y="0"/>
                  </a:cubicBezTo>
                  <a:cubicBezTo>
                    <a:pt x="49" y="0"/>
                    <a:pt x="63" y="14"/>
                    <a:pt x="63" y="31"/>
                  </a:cubicBezTo>
                  <a:cubicBezTo>
                    <a:pt x="63" y="49"/>
                    <a:pt x="49" y="62"/>
                    <a:pt x="32" y="62"/>
                  </a:cubicBezTo>
                  <a:close/>
                  <a:moveTo>
                    <a:pt x="58" y="36"/>
                  </a:moveTo>
                  <a:cubicBezTo>
                    <a:pt x="57" y="35"/>
                    <a:pt x="50" y="33"/>
                    <a:pt x="41" y="34"/>
                  </a:cubicBezTo>
                  <a:cubicBezTo>
                    <a:pt x="45" y="44"/>
                    <a:pt x="46" y="52"/>
                    <a:pt x="46" y="53"/>
                  </a:cubicBezTo>
                  <a:cubicBezTo>
                    <a:pt x="52" y="49"/>
                    <a:pt x="57" y="43"/>
                    <a:pt x="58" y="36"/>
                  </a:cubicBezTo>
                  <a:close/>
                  <a:moveTo>
                    <a:pt x="42" y="56"/>
                  </a:moveTo>
                  <a:cubicBezTo>
                    <a:pt x="41" y="54"/>
                    <a:pt x="40" y="45"/>
                    <a:pt x="36" y="36"/>
                  </a:cubicBezTo>
                  <a:cubicBezTo>
                    <a:pt x="36" y="36"/>
                    <a:pt x="36" y="36"/>
                    <a:pt x="36" y="36"/>
                  </a:cubicBezTo>
                  <a:cubicBezTo>
                    <a:pt x="21" y="41"/>
                    <a:pt x="16" y="51"/>
                    <a:pt x="15" y="52"/>
                  </a:cubicBezTo>
                  <a:cubicBezTo>
                    <a:pt x="20" y="56"/>
                    <a:pt x="25" y="58"/>
                    <a:pt x="32" y="58"/>
                  </a:cubicBezTo>
                  <a:cubicBezTo>
                    <a:pt x="35" y="58"/>
                    <a:pt x="39" y="57"/>
                    <a:pt x="42" y="56"/>
                  </a:cubicBezTo>
                  <a:close/>
                  <a:moveTo>
                    <a:pt x="12" y="49"/>
                  </a:moveTo>
                  <a:cubicBezTo>
                    <a:pt x="12" y="48"/>
                    <a:pt x="20" y="36"/>
                    <a:pt x="33" y="32"/>
                  </a:cubicBezTo>
                  <a:cubicBezTo>
                    <a:pt x="34" y="32"/>
                    <a:pt x="34" y="31"/>
                    <a:pt x="34" y="31"/>
                  </a:cubicBezTo>
                  <a:cubicBezTo>
                    <a:pt x="34" y="30"/>
                    <a:pt x="33" y="28"/>
                    <a:pt x="32" y="27"/>
                  </a:cubicBezTo>
                  <a:cubicBezTo>
                    <a:pt x="19" y="31"/>
                    <a:pt x="6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8"/>
                    <a:pt x="8" y="44"/>
                    <a:pt x="12" y="49"/>
                  </a:cubicBezTo>
                  <a:close/>
                  <a:moveTo>
                    <a:pt x="5" y="26"/>
                  </a:moveTo>
                  <a:cubicBezTo>
                    <a:pt x="7" y="26"/>
                    <a:pt x="18" y="26"/>
                    <a:pt x="30" y="23"/>
                  </a:cubicBezTo>
                  <a:cubicBezTo>
                    <a:pt x="26" y="15"/>
                    <a:pt x="21" y="8"/>
                    <a:pt x="20" y="7"/>
                  </a:cubicBezTo>
                  <a:cubicBezTo>
                    <a:pt x="13" y="11"/>
                    <a:pt x="7" y="18"/>
                    <a:pt x="5" y="26"/>
                  </a:cubicBezTo>
                  <a:close/>
                  <a:moveTo>
                    <a:pt x="25" y="6"/>
                  </a:moveTo>
                  <a:cubicBezTo>
                    <a:pt x="26" y="7"/>
                    <a:pt x="31" y="13"/>
                    <a:pt x="35" y="21"/>
                  </a:cubicBezTo>
                  <a:cubicBezTo>
                    <a:pt x="45" y="18"/>
                    <a:pt x="49" y="12"/>
                    <a:pt x="49" y="12"/>
                  </a:cubicBezTo>
                  <a:cubicBezTo>
                    <a:pt x="44" y="7"/>
                    <a:pt x="38" y="5"/>
                    <a:pt x="32" y="5"/>
                  </a:cubicBezTo>
                  <a:cubicBezTo>
                    <a:pt x="29" y="5"/>
                    <a:pt x="27" y="5"/>
                    <a:pt x="25" y="6"/>
                  </a:cubicBezTo>
                  <a:close/>
                  <a:moveTo>
                    <a:pt x="52" y="15"/>
                  </a:moveTo>
                  <a:cubicBezTo>
                    <a:pt x="52" y="15"/>
                    <a:pt x="47" y="21"/>
                    <a:pt x="37" y="25"/>
                  </a:cubicBezTo>
                  <a:cubicBezTo>
                    <a:pt x="38" y="26"/>
                    <a:pt x="38" y="28"/>
                    <a:pt x="39" y="29"/>
                  </a:cubicBezTo>
                  <a:cubicBezTo>
                    <a:pt x="39" y="29"/>
                    <a:pt x="39" y="30"/>
                    <a:pt x="40" y="30"/>
                  </a:cubicBezTo>
                  <a:cubicBezTo>
                    <a:pt x="48" y="29"/>
                    <a:pt x="57" y="31"/>
                    <a:pt x="58" y="31"/>
                  </a:cubicBezTo>
                  <a:cubicBezTo>
                    <a:pt x="58" y="25"/>
                    <a:pt x="56" y="19"/>
                    <a:pt x="52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0" name="任意多边形: 形状 149">
              <a:extLst>
                <a:ext uri="{FF2B5EF4-FFF2-40B4-BE49-F238E27FC236}">
                  <a16:creationId xmlns:a16="http://schemas.microsoft.com/office/drawing/2014/main" id="{7423ED4E-46D3-4622-AC8C-064B5DCBBDDA}"/>
                </a:ext>
              </a:extLst>
            </p:cNvPr>
            <p:cNvSpPr/>
            <p:nvPr/>
          </p:nvSpPr>
          <p:spPr bwMode="auto">
            <a:xfrm>
              <a:off x="7424491" y="4556298"/>
              <a:ext cx="207476" cy="182032"/>
            </a:xfrm>
            <a:custGeom>
              <a:avLst/>
              <a:gdLst>
                <a:gd name="T0" fmla="*/ 65 w 65"/>
                <a:gd name="T1" fmla="*/ 19 h 57"/>
                <a:gd name="T2" fmla="*/ 47 w 65"/>
                <a:gd name="T3" fmla="*/ 0 h 57"/>
                <a:gd name="T4" fmla="*/ 32 w 65"/>
                <a:gd name="T5" fmla="*/ 6 h 57"/>
                <a:gd name="T6" fmla="*/ 18 w 65"/>
                <a:gd name="T7" fmla="*/ 0 h 57"/>
                <a:gd name="T8" fmla="*/ 0 w 65"/>
                <a:gd name="T9" fmla="*/ 19 h 57"/>
                <a:gd name="T10" fmla="*/ 6 w 65"/>
                <a:gd name="T11" fmla="*/ 33 h 57"/>
                <a:gd name="T12" fmla="*/ 6 w 65"/>
                <a:gd name="T13" fmla="*/ 33 h 57"/>
                <a:gd name="T14" fmla="*/ 26 w 65"/>
                <a:gd name="T15" fmla="*/ 53 h 57"/>
                <a:gd name="T16" fmla="*/ 32 w 65"/>
                <a:gd name="T17" fmla="*/ 57 h 57"/>
                <a:gd name="T18" fmla="*/ 39 w 65"/>
                <a:gd name="T19" fmla="*/ 53 h 57"/>
                <a:gd name="T20" fmla="*/ 59 w 65"/>
                <a:gd name="T21" fmla="*/ 33 h 57"/>
                <a:gd name="T22" fmla="*/ 59 w 65"/>
                <a:gd name="T23" fmla="*/ 33 h 57"/>
                <a:gd name="T24" fmla="*/ 65 w 65"/>
                <a:gd name="T25" fmla="*/ 19 h 57"/>
                <a:gd name="T26" fmla="*/ 54 w 65"/>
                <a:gd name="T27" fmla="*/ 27 h 57"/>
                <a:gd name="T28" fmla="*/ 33 w 65"/>
                <a:gd name="T29" fmla="*/ 47 h 57"/>
                <a:gd name="T30" fmla="*/ 32 w 65"/>
                <a:gd name="T31" fmla="*/ 48 h 57"/>
                <a:gd name="T32" fmla="*/ 32 w 65"/>
                <a:gd name="T33" fmla="*/ 47 h 57"/>
                <a:gd name="T34" fmla="*/ 11 w 65"/>
                <a:gd name="T35" fmla="*/ 27 h 57"/>
                <a:gd name="T36" fmla="*/ 8 w 65"/>
                <a:gd name="T37" fmla="*/ 19 h 57"/>
                <a:gd name="T38" fmla="*/ 18 w 65"/>
                <a:gd name="T39" fmla="*/ 8 h 57"/>
                <a:gd name="T40" fmla="*/ 26 w 65"/>
                <a:gd name="T41" fmla="*/ 11 h 57"/>
                <a:gd name="T42" fmla="*/ 32 w 65"/>
                <a:gd name="T43" fmla="*/ 18 h 57"/>
                <a:gd name="T44" fmla="*/ 39 w 65"/>
                <a:gd name="T45" fmla="*/ 11 h 57"/>
                <a:gd name="T46" fmla="*/ 47 w 65"/>
                <a:gd name="T47" fmla="*/ 8 h 57"/>
                <a:gd name="T48" fmla="*/ 57 w 65"/>
                <a:gd name="T49" fmla="*/ 19 h 57"/>
                <a:gd name="T50" fmla="*/ 54 w 65"/>
                <a:gd name="T51" fmla="*/ 27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5" h="57">
                  <a:moveTo>
                    <a:pt x="65" y="19"/>
                  </a:moveTo>
                  <a:cubicBezTo>
                    <a:pt x="65" y="8"/>
                    <a:pt x="57" y="0"/>
                    <a:pt x="47" y="0"/>
                  </a:cubicBezTo>
                  <a:cubicBezTo>
                    <a:pt x="41" y="0"/>
                    <a:pt x="36" y="2"/>
                    <a:pt x="32" y="6"/>
                  </a:cubicBezTo>
                  <a:cubicBezTo>
                    <a:pt x="29" y="2"/>
                    <a:pt x="24" y="0"/>
                    <a:pt x="18" y="0"/>
                  </a:cubicBezTo>
                  <a:cubicBezTo>
                    <a:pt x="8" y="0"/>
                    <a:pt x="0" y="8"/>
                    <a:pt x="0" y="19"/>
                  </a:cubicBezTo>
                  <a:cubicBezTo>
                    <a:pt x="0" y="24"/>
                    <a:pt x="2" y="29"/>
                    <a:pt x="6" y="33"/>
                  </a:cubicBezTo>
                  <a:cubicBezTo>
                    <a:pt x="6" y="33"/>
                    <a:pt x="6" y="33"/>
                    <a:pt x="6" y="33"/>
                  </a:cubicBezTo>
                  <a:cubicBezTo>
                    <a:pt x="26" y="53"/>
                    <a:pt x="26" y="53"/>
                    <a:pt x="26" y="53"/>
                  </a:cubicBezTo>
                  <a:cubicBezTo>
                    <a:pt x="28" y="55"/>
                    <a:pt x="30" y="57"/>
                    <a:pt x="32" y="57"/>
                  </a:cubicBezTo>
                  <a:cubicBezTo>
                    <a:pt x="35" y="57"/>
                    <a:pt x="37" y="55"/>
                    <a:pt x="39" y="5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59" y="33"/>
                    <a:pt x="59" y="33"/>
                    <a:pt x="59" y="33"/>
                  </a:cubicBezTo>
                  <a:cubicBezTo>
                    <a:pt x="63" y="29"/>
                    <a:pt x="65" y="24"/>
                    <a:pt x="65" y="19"/>
                  </a:cubicBezTo>
                  <a:close/>
                  <a:moveTo>
                    <a:pt x="54" y="27"/>
                  </a:moveTo>
                  <a:cubicBezTo>
                    <a:pt x="33" y="47"/>
                    <a:pt x="33" y="47"/>
                    <a:pt x="33" y="47"/>
                  </a:cubicBezTo>
                  <a:cubicBezTo>
                    <a:pt x="33" y="47"/>
                    <a:pt x="33" y="48"/>
                    <a:pt x="32" y="48"/>
                  </a:cubicBezTo>
                  <a:cubicBezTo>
                    <a:pt x="32" y="48"/>
                    <a:pt x="32" y="47"/>
                    <a:pt x="32" y="47"/>
                  </a:cubicBezTo>
                  <a:cubicBezTo>
                    <a:pt x="11" y="27"/>
                    <a:pt x="11" y="27"/>
                    <a:pt x="11" y="27"/>
                  </a:cubicBezTo>
                  <a:cubicBezTo>
                    <a:pt x="9" y="24"/>
                    <a:pt x="8" y="22"/>
                    <a:pt x="8" y="19"/>
                  </a:cubicBezTo>
                  <a:cubicBezTo>
                    <a:pt x="8" y="13"/>
                    <a:pt x="13" y="8"/>
                    <a:pt x="18" y="8"/>
                  </a:cubicBezTo>
                  <a:cubicBezTo>
                    <a:pt x="22" y="8"/>
                    <a:pt x="24" y="9"/>
                    <a:pt x="26" y="11"/>
                  </a:cubicBezTo>
                  <a:cubicBezTo>
                    <a:pt x="32" y="18"/>
                    <a:pt x="32" y="18"/>
                    <a:pt x="32" y="18"/>
                  </a:cubicBezTo>
                  <a:cubicBezTo>
                    <a:pt x="39" y="11"/>
                    <a:pt x="39" y="11"/>
                    <a:pt x="39" y="11"/>
                  </a:cubicBezTo>
                  <a:cubicBezTo>
                    <a:pt x="41" y="9"/>
                    <a:pt x="43" y="8"/>
                    <a:pt x="47" y="8"/>
                  </a:cubicBezTo>
                  <a:cubicBezTo>
                    <a:pt x="52" y="8"/>
                    <a:pt x="57" y="13"/>
                    <a:pt x="57" y="19"/>
                  </a:cubicBezTo>
                  <a:cubicBezTo>
                    <a:pt x="57" y="22"/>
                    <a:pt x="56" y="24"/>
                    <a:pt x="54" y="2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1" name="任意多边形: 形状 150">
              <a:extLst>
                <a:ext uri="{FF2B5EF4-FFF2-40B4-BE49-F238E27FC236}">
                  <a16:creationId xmlns:a16="http://schemas.microsoft.com/office/drawing/2014/main" id="{F6959482-2C69-4307-B605-09000A8D8704}"/>
                </a:ext>
              </a:extLst>
            </p:cNvPr>
            <p:cNvSpPr/>
            <p:nvPr/>
          </p:nvSpPr>
          <p:spPr bwMode="auto">
            <a:xfrm>
              <a:off x="7725920" y="4971252"/>
              <a:ext cx="150715" cy="154629"/>
            </a:xfrm>
            <a:custGeom>
              <a:avLst/>
              <a:gdLst>
                <a:gd name="T0" fmla="*/ 43 w 47"/>
                <a:gd name="T1" fmla="*/ 29 h 48"/>
                <a:gd name="T2" fmla="*/ 47 w 47"/>
                <a:gd name="T3" fmla="*/ 16 h 48"/>
                <a:gd name="T4" fmla="*/ 42 w 47"/>
                <a:gd name="T5" fmla="*/ 8 h 48"/>
                <a:gd name="T6" fmla="*/ 37 w 47"/>
                <a:gd name="T7" fmla="*/ 9 h 48"/>
                <a:gd name="T8" fmla="*/ 28 w 47"/>
                <a:gd name="T9" fmla="*/ 0 h 48"/>
                <a:gd name="T10" fmla="*/ 19 w 47"/>
                <a:gd name="T11" fmla="*/ 0 h 48"/>
                <a:gd name="T12" fmla="*/ 18 w 47"/>
                <a:gd name="T13" fmla="*/ 5 h 48"/>
                <a:gd name="T14" fmla="*/ 5 w 47"/>
                <a:gd name="T15" fmla="*/ 8 h 48"/>
                <a:gd name="T16" fmla="*/ 0 w 47"/>
                <a:gd name="T17" fmla="*/ 16 h 48"/>
                <a:gd name="T18" fmla="*/ 4 w 47"/>
                <a:gd name="T19" fmla="*/ 20 h 48"/>
                <a:gd name="T20" fmla="*/ 0 w 47"/>
                <a:gd name="T21" fmla="*/ 32 h 48"/>
                <a:gd name="T22" fmla="*/ 5 w 47"/>
                <a:gd name="T23" fmla="*/ 40 h 48"/>
                <a:gd name="T24" fmla="*/ 10 w 47"/>
                <a:gd name="T25" fmla="*/ 39 h 48"/>
                <a:gd name="T26" fmla="*/ 19 w 47"/>
                <a:gd name="T27" fmla="*/ 48 h 48"/>
                <a:gd name="T28" fmla="*/ 28 w 47"/>
                <a:gd name="T29" fmla="*/ 48 h 48"/>
                <a:gd name="T30" fmla="*/ 29 w 47"/>
                <a:gd name="T31" fmla="*/ 44 h 48"/>
                <a:gd name="T32" fmla="*/ 42 w 47"/>
                <a:gd name="T33" fmla="*/ 40 h 48"/>
                <a:gd name="T34" fmla="*/ 47 w 47"/>
                <a:gd name="T35" fmla="*/ 32 h 48"/>
                <a:gd name="T36" fmla="*/ 43 w 47"/>
                <a:gd name="T37" fmla="*/ 29 h 48"/>
                <a:gd name="T38" fmla="*/ 23 w 47"/>
                <a:gd name="T39" fmla="*/ 34 h 48"/>
                <a:gd name="T40" fmla="*/ 14 w 47"/>
                <a:gd name="T41" fmla="*/ 24 h 48"/>
                <a:gd name="T42" fmla="*/ 23 w 47"/>
                <a:gd name="T43" fmla="*/ 14 h 48"/>
                <a:gd name="T44" fmla="*/ 33 w 47"/>
                <a:gd name="T45" fmla="*/ 24 h 48"/>
                <a:gd name="T46" fmla="*/ 23 w 47"/>
                <a:gd name="T47" fmla="*/ 3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7" h="48">
                  <a:moveTo>
                    <a:pt x="43" y="29"/>
                  </a:moveTo>
                  <a:cubicBezTo>
                    <a:pt x="41" y="24"/>
                    <a:pt x="42" y="19"/>
                    <a:pt x="47" y="16"/>
                  </a:cubicBezTo>
                  <a:cubicBezTo>
                    <a:pt x="42" y="8"/>
                    <a:pt x="42" y="8"/>
                    <a:pt x="42" y="8"/>
                  </a:cubicBezTo>
                  <a:cubicBezTo>
                    <a:pt x="41" y="9"/>
                    <a:pt x="39" y="9"/>
                    <a:pt x="37" y="9"/>
                  </a:cubicBezTo>
                  <a:cubicBezTo>
                    <a:pt x="32" y="9"/>
                    <a:pt x="28" y="5"/>
                    <a:pt x="28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2"/>
                    <a:pt x="18" y="3"/>
                    <a:pt x="18" y="5"/>
                  </a:cubicBezTo>
                  <a:cubicBezTo>
                    <a:pt x="15" y="9"/>
                    <a:pt x="9" y="11"/>
                    <a:pt x="5" y="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2" y="17"/>
                    <a:pt x="3" y="18"/>
                    <a:pt x="4" y="20"/>
                  </a:cubicBezTo>
                  <a:cubicBezTo>
                    <a:pt x="6" y="24"/>
                    <a:pt x="5" y="30"/>
                    <a:pt x="0" y="32"/>
                  </a:cubicBezTo>
                  <a:cubicBezTo>
                    <a:pt x="5" y="40"/>
                    <a:pt x="5" y="40"/>
                    <a:pt x="5" y="40"/>
                  </a:cubicBezTo>
                  <a:cubicBezTo>
                    <a:pt x="6" y="40"/>
                    <a:pt x="8" y="39"/>
                    <a:pt x="10" y="39"/>
                  </a:cubicBezTo>
                  <a:cubicBezTo>
                    <a:pt x="15" y="39"/>
                    <a:pt x="19" y="43"/>
                    <a:pt x="19" y="48"/>
                  </a:cubicBezTo>
                  <a:cubicBezTo>
                    <a:pt x="28" y="48"/>
                    <a:pt x="28" y="48"/>
                    <a:pt x="28" y="48"/>
                  </a:cubicBezTo>
                  <a:cubicBezTo>
                    <a:pt x="28" y="47"/>
                    <a:pt x="29" y="45"/>
                    <a:pt x="29" y="44"/>
                  </a:cubicBezTo>
                  <a:cubicBezTo>
                    <a:pt x="32" y="39"/>
                    <a:pt x="38" y="38"/>
                    <a:pt x="42" y="40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45" y="31"/>
                    <a:pt x="44" y="30"/>
                    <a:pt x="43" y="29"/>
                  </a:cubicBezTo>
                  <a:close/>
                  <a:moveTo>
                    <a:pt x="23" y="34"/>
                  </a:moveTo>
                  <a:cubicBezTo>
                    <a:pt x="18" y="34"/>
                    <a:pt x="14" y="30"/>
                    <a:pt x="14" y="24"/>
                  </a:cubicBezTo>
                  <a:cubicBezTo>
                    <a:pt x="14" y="19"/>
                    <a:pt x="18" y="14"/>
                    <a:pt x="23" y="14"/>
                  </a:cubicBezTo>
                  <a:cubicBezTo>
                    <a:pt x="29" y="14"/>
                    <a:pt x="33" y="19"/>
                    <a:pt x="33" y="24"/>
                  </a:cubicBezTo>
                  <a:cubicBezTo>
                    <a:pt x="33" y="30"/>
                    <a:pt x="29" y="34"/>
                    <a:pt x="23" y="3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2" name="任意多边形: 形状 151">
              <a:extLst>
                <a:ext uri="{FF2B5EF4-FFF2-40B4-BE49-F238E27FC236}">
                  <a16:creationId xmlns:a16="http://schemas.microsoft.com/office/drawing/2014/main" id="{11B688FD-BD8A-42A9-8CEB-14E34DF169C3}"/>
                </a:ext>
              </a:extLst>
            </p:cNvPr>
            <p:cNvSpPr/>
            <p:nvPr/>
          </p:nvSpPr>
          <p:spPr bwMode="auto">
            <a:xfrm>
              <a:off x="6888184" y="4926232"/>
              <a:ext cx="248580" cy="250539"/>
            </a:xfrm>
            <a:custGeom>
              <a:avLst/>
              <a:gdLst>
                <a:gd name="T0" fmla="*/ 67 w 127"/>
                <a:gd name="T1" fmla="*/ 0 h 128"/>
                <a:gd name="T2" fmla="*/ 55 w 127"/>
                <a:gd name="T3" fmla="*/ 13 h 128"/>
                <a:gd name="T4" fmla="*/ 67 w 127"/>
                <a:gd name="T5" fmla="*/ 25 h 128"/>
                <a:gd name="T6" fmla="*/ 39 w 127"/>
                <a:gd name="T7" fmla="*/ 56 h 128"/>
                <a:gd name="T8" fmla="*/ 11 w 127"/>
                <a:gd name="T9" fmla="*/ 56 h 128"/>
                <a:gd name="T10" fmla="*/ 32 w 127"/>
                <a:gd name="T11" fmla="*/ 79 h 128"/>
                <a:gd name="T12" fmla="*/ 0 w 127"/>
                <a:gd name="T13" fmla="*/ 123 h 128"/>
                <a:gd name="T14" fmla="*/ 0 w 127"/>
                <a:gd name="T15" fmla="*/ 128 h 128"/>
                <a:gd name="T16" fmla="*/ 5 w 127"/>
                <a:gd name="T17" fmla="*/ 128 h 128"/>
                <a:gd name="T18" fmla="*/ 49 w 127"/>
                <a:gd name="T19" fmla="*/ 93 h 128"/>
                <a:gd name="T20" fmla="*/ 72 w 127"/>
                <a:gd name="T21" fmla="*/ 116 h 128"/>
                <a:gd name="T22" fmla="*/ 72 w 127"/>
                <a:gd name="T23" fmla="*/ 88 h 128"/>
                <a:gd name="T24" fmla="*/ 103 w 127"/>
                <a:gd name="T25" fmla="*/ 61 h 128"/>
                <a:gd name="T26" fmla="*/ 114 w 127"/>
                <a:gd name="T27" fmla="*/ 72 h 128"/>
                <a:gd name="T28" fmla="*/ 127 w 127"/>
                <a:gd name="T29" fmla="*/ 61 h 128"/>
                <a:gd name="T30" fmla="*/ 67 w 127"/>
                <a:gd name="T31" fmla="*/ 0 h 128"/>
                <a:gd name="T32" fmla="*/ 55 w 127"/>
                <a:gd name="T33" fmla="*/ 69 h 128"/>
                <a:gd name="T34" fmla="*/ 47 w 127"/>
                <a:gd name="T35" fmla="*/ 61 h 128"/>
                <a:gd name="T36" fmla="*/ 75 w 127"/>
                <a:gd name="T37" fmla="*/ 33 h 128"/>
                <a:gd name="T38" fmla="*/ 83 w 127"/>
                <a:gd name="T39" fmla="*/ 41 h 128"/>
                <a:gd name="T40" fmla="*/ 55 w 127"/>
                <a:gd name="T41" fmla="*/ 69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7" h="128">
                  <a:moveTo>
                    <a:pt x="67" y="0"/>
                  </a:moveTo>
                  <a:lnTo>
                    <a:pt x="55" y="13"/>
                  </a:lnTo>
                  <a:lnTo>
                    <a:pt x="67" y="25"/>
                  </a:lnTo>
                  <a:lnTo>
                    <a:pt x="39" y="56"/>
                  </a:lnTo>
                  <a:lnTo>
                    <a:pt x="11" y="56"/>
                  </a:lnTo>
                  <a:lnTo>
                    <a:pt x="32" y="79"/>
                  </a:lnTo>
                  <a:lnTo>
                    <a:pt x="0" y="123"/>
                  </a:lnTo>
                  <a:lnTo>
                    <a:pt x="0" y="128"/>
                  </a:lnTo>
                  <a:lnTo>
                    <a:pt x="5" y="128"/>
                  </a:lnTo>
                  <a:lnTo>
                    <a:pt x="49" y="93"/>
                  </a:lnTo>
                  <a:lnTo>
                    <a:pt x="72" y="116"/>
                  </a:lnTo>
                  <a:lnTo>
                    <a:pt x="72" y="88"/>
                  </a:lnTo>
                  <a:lnTo>
                    <a:pt x="103" y="61"/>
                  </a:lnTo>
                  <a:lnTo>
                    <a:pt x="114" y="72"/>
                  </a:lnTo>
                  <a:lnTo>
                    <a:pt x="127" y="61"/>
                  </a:lnTo>
                  <a:lnTo>
                    <a:pt x="67" y="0"/>
                  </a:lnTo>
                  <a:close/>
                  <a:moveTo>
                    <a:pt x="55" y="69"/>
                  </a:moveTo>
                  <a:lnTo>
                    <a:pt x="47" y="61"/>
                  </a:lnTo>
                  <a:lnTo>
                    <a:pt x="75" y="33"/>
                  </a:lnTo>
                  <a:lnTo>
                    <a:pt x="83" y="41"/>
                  </a:lnTo>
                  <a:lnTo>
                    <a:pt x="55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3" name="任意多边形: 形状 152">
              <a:extLst>
                <a:ext uri="{FF2B5EF4-FFF2-40B4-BE49-F238E27FC236}">
                  <a16:creationId xmlns:a16="http://schemas.microsoft.com/office/drawing/2014/main" id="{49D72080-8808-4B76-8902-B4D51B4CABBC}"/>
                </a:ext>
              </a:extLst>
            </p:cNvPr>
            <p:cNvSpPr/>
            <p:nvPr/>
          </p:nvSpPr>
          <p:spPr bwMode="auto">
            <a:xfrm>
              <a:off x="6868610" y="4354691"/>
              <a:ext cx="182032" cy="185946"/>
            </a:xfrm>
            <a:custGeom>
              <a:avLst/>
              <a:gdLst>
                <a:gd name="T0" fmla="*/ 57 w 57"/>
                <a:gd name="T1" fmla="*/ 29 h 58"/>
                <a:gd name="T2" fmla="*/ 28 w 57"/>
                <a:gd name="T3" fmla="*/ 58 h 58"/>
                <a:gd name="T4" fmla="*/ 0 w 57"/>
                <a:gd name="T5" fmla="*/ 29 h 58"/>
                <a:gd name="T6" fmla="*/ 28 w 57"/>
                <a:gd name="T7" fmla="*/ 0 h 58"/>
                <a:gd name="T8" fmla="*/ 57 w 57"/>
                <a:gd name="T9" fmla="*/ 29 h 58"/>
                <a:gd name="T10" fmla="*/ 5 w 57"/>
                <a:gd name="T11" fmla="*/ 29 h 58"/>
                <a:gd name="T12" fmla="*/ 28 w 57"/>
                <a:gd name="T13" fmla="*/ 52 h 58"/>
                <a:gd name="T14" fmla="*/ 52 w 57"/>
                <a:gd name="T15" fmla="*/ 29 h 58"/>
                <a:gd name="T16" fmla="*/ 28 w 57"/>
                <a:gd name="T17" fmla="*/ 6 h 58"/>
                <a:gd name="T18" fmla="*/ 5 w 57"/>
                <a:gd name="T19" fmla="*/ 29 h 58"/>
                <a:gd name="T20" fmla="*/ 31 w 57"/>
                <a:gd name="T21" fmla="*/ 12 h 58"/>
                <a:gd name="T22" fmla="*/ 45 w 57"/>
                <a:gd name="T23" fmla="*/ 26 h 58"/>
                <a:gd name="T24" fmla="*/ 45 w 57"/>
                <a:gd name="T25" fmla="*/ 31 h 58"/>
                <a:gd name="T26" fmla="*/ 40 w 57"/>
                <a:gd name="T27" fmla="*/ 31 h 58"/>
                <a:gd name="T28" fmla="*/ 32 w 57"/>
                <a:gd name="T29" fmla="*/ 23 h 58"/>
                <a:gd name="T30" fmla="*/ 32 w 57"/>
                <a:gd name="T31" fmla="*/ 43 h 58"/>
                <a:gd name="T32" fmla="*/ 28 w 57"/>
                <a:gd name="T33" fmla="*/ 47 h 58"/>
                <a:gd name="T34" fmla="*/ 25 w 57"/>
                <a:gd name="T35" fmla="*/ 43 h 58"/>
                <a:gd name="T36" fmla="*/ 25 w 57"/>
                <a:gd name="T37" fmla="*/ 23 h 58"/>
                <a:gd name="T38" fmla="*/ 17 w 57"/>
                <a:gd name="T39" fmla="*/ 31 h 58"/>
                <a:gd name="T40" fmla="*/ 12 w 57"/>
                <a:gd name="T41" fmla="*/ 31 h 58"/>
                <a:gd name="T42" fmla="*/ 11 w 57"/>
                <a:gd name="T43" fmla="*/ 29 h 58"/>
                <a:gd name="T44" fmla="*/ 12 w 57"/>
                <a:gd name="T45" fmla="*/ 26 h 58"/>
                <a:gd name="T46" fmla="*/ 26 w 57"/>
                <a:gd name="T47" fmla="*/ 12 h 58"/>
                <a:gd name="T48" fmla="*/ 31 w 57"/>
                <a:gd name="T49" fmla="*/ 12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7" h="58">
                  <a:moveTo>
                    <a:pt x="57" y="29"/>
                  </a:moveTo>
                  <a:cubicBezTo>
                    <a:pt x="57" y="45"/>
                    <a:pt x="44" y="58"/>
                    <a:pt x="28" y="58"/>
                  </a:cubicBezTo>
                  <a:cubicBezTo>
                    <a:pt x="13" y="58"/>
                    <a:pt x="0" y="45"/>
                    <a:pt x="0" y="29"/>
                  </a:cubicBezTo>
                  <a:cubicBezTo>
                    <a:pt x="0" y="13"/>
                    <a:pt x="13" y="0"/>
                    <a:pt x="28" y="0"/>
                  </a:cubicBezTo>
                  <a:cubicBezTo>
                    <a:pt x="44" y="0"/>
                    <a:pt x="57" y="13"/>
                    <a:pt x="57" y="29"/>
                  </a:cubicBezTo>
                  <a:close/>
                  <a:moveTo>
                    <a:pt x="5" y="29"/>
                  </a:moveTo>
                  <a:cubicBezTo>
                    <a:pt x="5" y="42"/>
                    <a:pt x="16" y="52"/>
                    <a:pt x="28" y="52"/>
                  </a:cubicBezTo>
                  <a:cubicBezTo>
                    <a:pt x="41" y="52"/>
                    <a:pt x="52" y="42"/>
                    <a:pt x="52" y="29"/>
                  </a:cubicBezTo>
                  <a:cubicBezTo>
                    <a:pt x="52" y="16"/>
                    <a:pt x="41" y="6"/>
                    <a:pt x="28" y="6"/>
                  </a:cubicBezTo>
                  <a:cubicBezTo>
                    <a:pt x="16" y="6"/>
                    <a:pt x="5" y="16"/>
                    <a:pt x="5" y="29"/>
                  </a:cubicBezTo>
                  <a:close/>
                  <a:moveTo>
                    <a:pt x="31" y="12"/>
                  </a:moveTo>
                  <a:cubicBezTo>
                    <a:pt x="45" y="26"/>
                    <a:pt x="45" y="26"/>
                    <a:pt x="45" y="26"/>
                  </a:cubicBezTo>
                  <a:cubicBezTo>
                    <a:pt x="47" y="28"/>
                    <a:pt x="47" y="30"/>
                    <a:pt x="45" y="31"/>
                  </a:cubicBezTo>
                  <a:cubicBezTo>
                    <a:pt x="44" y="33"/>
                    <a:pt x="42" y="33"/>
                    <a:pt x="40" y="31"/>
                  </a:cubicBezTo>
                  <a:cubicBezTo>
                    <a:pt x="32" y="23"/>
                    <a:pt x="32" y="23"/>
                    <a:pt x="32" y="23"/>
                  </a:cubicBezTo>
                  <a:cubicBezTo>
                    <a:pt x="32" y="43"/>
                    <a:pt x="32" y="43"/>
                    <a:pt x="32" y="43"/>
                  </a:cubicBezTo>
                  <a:cubicBezTo>
                    <a:pt x="32" y="45"/>
                    <a:pt x="30" y="47"/>
                    <a:pt x="28" y="47"/>
                  </a:cubicBezTo>
                  <a:cubicBezTo>
                    <a:pt x="26" y="47"/>
                    <a:pt x="25" y="45"/>
                    <a:pt x="25" y="43"/>
                  </a:cubicBezTo>
                  <a:cubicBezTo>
                    <a:pt x="25" y="23"/>
                    <a:pt x="25" y="23"/>
                    <a:pt x="25" y="23"/>
                  </a:cubicBezTo>
                  <a:cubicBezTo>
                    <a:pt x="17" y="31"/>
                    <a:pt x="17" y="31"/>
                    <a:pt x="17" y="31"/>
                  </a:cubicBezTo>
                  <a:cubicBezTo>
                    <a:pt x="15" y="33"/>
                    <a:pt x="13" y="33"/>
                    <a:pt x="12" y="31"/>
                  </a:cubicBezTo>
                  <a:cubicBezTo>
                    <a:pt x="11" y="31"/>
                    <a:pt x="11" y="30"/>
                    <a:pt x="11" y="29"/>
                  </a:cubicBezTo>
                  <a:cubicBezTo>
                    <a:pt x="11" y="28"/>
                    <a:pt x="11" y="27"/>
                    <a:pt x="12" y="26"/>
                  </a:cubicBezTo>
                  <a:cubicBezTo>
                    <a:pt x="26" y="12"/>
                    <a:pt x="26" y="12"/>
                    <a:pt x="26" y="12"/>
                  </a:cubicBezTo>
                  <a:cubicBezTo>
                    <a:pt x="27" y="11"/>
                    <a:pt x="30" y="11"/>
                    <a:pt x="3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4" name="任意多边形: 形状 153">
              <a:extLst>
                <a:ext uri="{FF2B5EF4-FFF2-40B4-BE49-F238E27FC236}">
                  <a16:creationId xmlns:a16="http://schemas.microsoft.com/office/drawing/2014/main" id="{FBDB3922-6E19-422C-AE3D-04B35E9AB826}"/>
                </a:ext>
              </a:extLst>
            </p:cNvPr>
            <p:cNvSpPr/>
            <p:nvPr/>
          </p:nvSpPr>
          <p:spPr bwMode="auto">
            <a:xfrm>
              <a:off x="6958648" y="3260543"/>
              <a:ext cx="287728" cy="160502"/>
            </a:xfrm>
            <a:custGeom>
              <a:avLst/>
              <a:gdLst>
                <a:gd name="T0" fmla="*/ 83 w 90"/>
                <a:gd name="T1" fmla="*/ 46 h 50"/>
                <a:gd name="T2" fmla="*/ 85 w 90"/>
                <a:gd name="T3" fmla="*/ 36 h 50"/>
                <a:gd name="T4" fmla="*/ 87 w 90"/>
                <a:gd name="T5" fmla="*/ 27 h 50"/>
                <a:gd name="T6" fmla="*/ 89 w 90"/>
                <a:gd name="T7" fmla="*/ 16 h 50"/>
                <a:gd name="T8" fmla="*/ 86 w 90"/>
                <a:gd name="T9" fmla="*/ 10 h 50"/>
                <a:gd name="T10" fmla="*/ 64 w 90"/>
                <a:gd name="T11" fmla="*/ 1 h 50"/>
                <a:gd name="T12" fmla="*/ 57 w 90"/>
                <a:gd name="T13" fmla="*/ 3 h 50"/>
                <a:gd name="T14" fmla="*/ 52 w 90"/>
                <a:gd name="T15" fmla="*/ 13 h 50"/>
                <a:gd name="T16" fmla="*/ 51 w 90"/>
                <a:gd name="T17" fmla="*/ 14 h 50"/>
                <a:gd name="T18" fmla="*/ 15 w 90"/>
                <a:gd name="T19" fmla="*/ 6 h 50"/>
                <a:gd name="T20" fmla="*/ 0 w 90"/>
                <a:gd name="T21" fmla="*/ 13 h 50"/>
                <a:gd name="T22" fmla="*/ 8 w 90"/>
                <a:gd name="T23" fmla="*/ 25 h 50"/>
                <a:gd name="T24" fmla="*/ 12 w 90"/>
                <a:gd name="T25" fmla="*/ 22 h 50"/>
                <a:gd name="T26" fmla="*/ 17 w 90"/>
                <a:gd name="T27" fmla="*/ 30 h 50"/>
                <a:gd name="T28" fmla="*/ 25 w 90"/>
                <a:gd name="T29" fmla="*/ 25 h 50"/>
                <a:gd name="T30" fmla="*/ 30 w 90"/>
                <a:gd name="T31" fmla="*/ 33 h 50"/>
                <a:gd name="T32" fmla="*/ 38 w 90"/>
                <a:gd name="T33" fmla="*/ 28 h 50"/>
                <a:gd name="T34" fmla="*/ 43 w 90"/>
                <a:gd name="T35" fmla="*/ 35 h 50"/>
                <a:gd name="T36" fmla="*/ 47 w 90"/>
                <a:gd name="T37" fmla="*/ 33 h 50"/>
                <a:gd name="T38" fmla="*/ 47 w 90"/>
                <a:gd name="T39" fmla="*/ 34 h 50"/>
                <a:gd name="T40" fmla="*/ 48 w 90"/>
                <a:gd name="T41" fmla="*/ 45 h 50"/>
                <a:gd name="T42" fmla="*/ 54 w 90"/>
                <a:gd name="T43" fmla="*/ 50 h 50"/>
                <a:gd name="T44" fmla="*/ 78 w 90"/>
                <a:gd name="T45" fmla="*/ 50 h 50"/>
                <a:gd name="T46" fmla="*/ 83 w 90"/>
                <a:gd name="T47" fmla="*/ 46 h 50"/>
                <a:gd name="T48" fmla="*/ 17 w 90"/>
                <a:gd name="T49" fmla="*/ 15 h 50"/>
                <a:gd name="T50" fmla="*/ 18 w 90"/>
                <a:gd name="T51" fmla="*/ 11 h 50"/>
                <a:gd name="T52" fmla="*/ 49 w 90"/>
                <a:gd name="T53" fmla="*/ 17 h 50"/>
                <a:gd name="T54" fmla="*/ 48 w 90"/>
                <a:gd name="T55" fmla="*/ 22 h 50"/>
                <a:gd name="T56" fmla="*/ 17 w 90"/>
                <a:gd name="T57" fmla="*/ 15 h 50"/>
                <a:gd name="T58" fmla="*/ 73 w 90"/>
                <a:gd name="T59" fmla="*/ 45 h 50"/>
                <a:gd name="T60" fmla="*/ 69 w 90"/>
                <a:gd name="T61" fmla="*/ 44 h 50"/>
                <a:gd name="T62" fmla="*/ 67 w 90"/>
                <a:gd name="T63" fmla="*/ 41 h 50"/>
                <a:gd name="T64" fmla="*/ 73 w 90"/>
                <a:gd name="T65" fmla="*/ 14 h 50"/>
                <a:gd name="T66" fmla="*/ 75 w 90"/>
                <a:gd name="T67" fmla="*/ 12 h 50"/>
                <a:gd name="T68" fmla="*/ 80 w 90"/>
                <a:gd name="T69" fmla="*/ 13 h 50"/>
                <a:gd name="T70" fmla="*/ 82 w 90"/>
                <a:gd name="T71" fmla="*/ 16 h 50"/>
                <a:gd name="T72" fmla="*/ 76 w 90"/>
                <a:gd name="T73" fmla="*/ 43 h 50"/>
                <a:gd name="T74" fmla="*/ 73 w 90"/>
                <a:gd name="T75" fmla="*/ 4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90" h="50">
                  <a:moveTo>
                    <a:pt x="83" y="46"/>
                  </a:moveTo>
                  <a:cubicBezTo>
                    <a:pt x="85" y="36"/>
                    <a:pt x="85" y="36"/>
                    <a:pt x="85" y="36"/>
                  </a:cubicBezTo>
                  <a:cubicBezTo>
                    <a:pt x="86" y="33"/>
                    <a:pt x="87" y="29"/>
                    <a:pt x="87" y="27"/>
                  </a:cubicBezTo>
                  <a:cubicBezTo>
                    <a:pt x="89" y="16"/>
                    <a:pt x="89" y="16"/>
                    <a:pt x="89" y="16"/>
                  </a:cubicBezTo>
                  <a:cubicBezTo>
                    <a:pt x="90" y="14"/>
                    <a:pt x="88" y="11"/>
                    <a:pt x="86" y="10"/>
                  </a:cubicBezTo>
                  <a:cubicBezTo>
                    <a:pt x="64" y="1"/>
                    <a:pt x="64" y="1"/>
                    <a:pt x="64" y="1"/>
                  </a:cubicBezTo>
                  <a:cubicBezTo>
                    <a:pt x="62" y="0"/>
                    <a:pt x="59" y="1"/>
                    <a:pt x="57" y="3"/>
                  </a:cubicBezTo>
                  <a:cubicBezTo>
                    <a:pt x="52" y="13"/>
                    <a:pt x="52" y="13"/>
                    <a:pt x="52" y="13"/>
                  </a:cubicBezTo>
                  <a:cubicBezTo>
                    <a:pt x="51" y="13"/>
                    <a:pt x="51" y="13"/>
                    <a:pt x="51" y="14"/>
                  </a:cubicBezTo>
                  <a:cubicBezTo>
                    <a:pt x="15" y="6"/>
                    <a:pt x="15" y="6"/>
                    <a:pt x="15" y="6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12" y="22"/>
                    <a:pt x="12" y="22"/>
                    <a:pt x="12" y="22"/>
                  </a:cubicBezTo>
                  <a:cubicBezTo>
                    <a:pt x="17" y="30"/>
                    <a:pt x="17" y="30"/>
                    <a:pt x="17" y="30"/>
                  </a:cubicBezTo>
                  <a:cubicBezTo>
                    <a:pt x="25" y="25"/>
                    <a:pt x="25" y="25"/>
                    <a:pt x="25" y="25"/>
                  </a:cubicBezTo>
                  <a:cubicBezTo>
                    <a:pt x="30" y="33"/>
                    <a:pt x="30" y="33"/>
                    <a:pt x="30" y="33"/>
                  </a:cubicBezTo>
                  <a:cubicBezTo>
                    <a:pt x="38" y="28"/>
                    <a:pt x="38" y="28"/>
                    <a:pt x="38" y="28"/>
                  </a:cubicBezTo>
                  <a:cubicBezTo>
                    <a:pt x="43" y="35"/>
                    <a:pt x="43" y="35"/>
                    <a:pt x="43" y="35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47" y="33"/>
                    <a:pt x="47" y="34"/>
                    <a:pt x="47" y="34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9" y="48"/>
                    <a:pt x="51" y="50"/>
                    <a:pt x="54" y="50"/>
                  </a:cubicBezTo>
                  <a:cubicBezTo>
                    <a:pt x="78" y="50"/>
                    <a:pt x="78" y="50"/>
                    <a:pt x="78" y="50"/>
                  </a:cubicBezTo>
                  <a:cubicBezTo>
                    <a:pt x="80" y="50"/>
                    <a:pt x="83" y="48"/>
                    <a:pt x="83" y="46"/>
                  </a:cubicBezTo>
                  <a:close/>
                  <a:moveTo>
                    <a:pt x="17" y="15"/>
                  </a:moveTo>
                  <a:cubicBezTo>
                    <a:pt x="18" y="11"/>
                    <a:pt x="18" y="11"/>
                    <a:pt x="18" y="11"/>
                  </a:cubicBezTo>
                  <a:cubicBezTo>
                    <a:pt x="49" y="17"/>
                    <a:pt x="49" y="17"/>
                    <a:pt x="49" y="17"/>
                  </a:cubicBezTo>
                  <a:cubicBezTo>
                    <a:pt x="48" y="22"/>
                    <a:pt x="48" y="22"/>
                    <a:pt x="48" y="22"/>
                  </a:cubicBezTo>
                  <a:lnTo>
                    <a:pt x="17" y="15"/>
                  </a:lnTo>
                  <a:close/>
                  <a:moveTo>
                    <a:pt x="73" y="45"/>
                  </a:moveTo>
                  <a:cubicBezTo>
                    <a:pt x="69" y="44"/>
                    <a:pt x="69" y="44"/>
                    <a:pt x="69" y="44"/>
                  </a:cubicBezTo>
                  <a:cubicBezTo>
                    <a:pt x="67" y="44"/>
                    <a:pt x="67" y="42"/>
                    <a:pt x="67" y="41"/>
                  </a:cubicBezTo>
                  <a:cubicBezTo>
                    <a:pt x="73" y="14"/>
                    <a:pt x="73" y="14"/>
                    <a:pt x="73" y="14"/>
                  </a:cubicBezTo>
                  <a:cubicBezTo>
                    <a:pt x="73" y="13"/>
                    <a:pt x="74" y="12"/>
                    <a:pt x="75" y="12"/>
                  </a:cubicBezTo>
                  <a:cubicBezTo>
                    <a:pt x="80" y="13"/>
                    <a:pt x="80" y="13"/>
                    <a:pt x="80" y="13"/>
                  </a:cubicBezTo>
                  <a:cubicBezTo>
                    <a:pt x="81" y="13"/>
                    <a:pt x="82" y="15"/>
                    <a:pt x="82" y="16"/>
                  </a:cubicBezTo>
                  <a:cubicBezTo>
                    <a:pt x="76" y="43"/>
                    <a:pt x="76" y="43"/>
                    <a:pt x="76" y="43"/>
                  </a:cubicBezTo>
                  <a:cubicBezTo>
                    <a:pt x="76" y="44"/>
                    <a:pt x="74" y="45"/>
                    <a:pt x="73" y="4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5" name="任意多边形: 形状 154">
              <a:extLst>
                <a:ext uri="{FF2B5EF4-FFF2-40B4-BE49-F238E27FC236}">
                  <a16:creationId xmlns:a16="http://schemas.microsoft.com/office/drawing/2014/main" id="{D2545E80-4323-43E4-9E51-E3EDD4E3430B}"/>
                </a:ext>
              </a:extLst>
            </p:cNvPr>
            <p:cNvSpPr/>
            <p:nvPr/>
          </p:nvSpPr>
          <p:spPr bwMode="auto">
            <a:xfrm>
              <a:off x="7696560" y="835406"/>
              <a:ext cx="207476" cy="205519"/>
            </a:xfrm>
            <a:custGeom>
              <a:avLst/>
              <a:gdLst>
                <a:gd name="T0" fmla="*/ 0 w 65"/>
                <a:gd name="T1" fmla="*/ 32 h 64"/>
                <a:gd name="T2" fmla="*/ 65 w 65"/>
                <a:gd name="T3" fmla="*/ 32 h 64"/>
                <a:gd name="T4" fmla="*/ 51 w 65"/>
                <a:gd name="T5" fmla="*/ 42 h 64"/>
                <a:gd name="T6" fmla="*/ 60 w 65"/>
                <a:gd name="T7" fmla="*/ 34 h 64"/>
                <a:gd name="T8" fmla="*/ 51 w 65"/>
                <a:gd name="T9" fmla="*/ 42 h 64"/>
                <a:gd name="T10" fmla="*/ 13 w 65"/>
                <a:gd name="T11" fmla="*/ 30 h 64"/>
                <a:gd name="T12" fmla="*/ 7 w 65"/>
                <a:gd name="T13" fmla="*/ 21 h 64"/>
                <a:gd name="T14" fmla="*/ 46 w 65"/>
                <a:gd name="T15" fmla="*/ 21 h 64"/>
                <a:gd name="T16" fmla="*/ 35 w 65"/>
                <a:gd name="T17" fmla="*/ 30 h 64"/>
                <a:gd name="T18" fmla="*/ 46 w 65"/>
                <a:gd name="T19" fmla="*/ 21 h 64"/>
                <a:gd name="T20" fmla="*/ 35 w 65"/>
                <a:gd name="T21" fmla="*/ 4 h 64"/>
                <a:gd name="T22" fmla="*/ 42 w 65"/>
                <a:gd name="T23" fmla="*/ 11 h 64"/>
                <a:gd name="T24" fmla="*/ 35 w 65"/>
                <a:gd name="T25" fmla="*/ 17 h 64"/>
                <a:gd name="T26" fmla="*/ 27 w 65"/>
                <a:gd name="T27" fmla="*/ 6 h 64"/>
                <a:gd name="T28" fmla="*/ 30 w 65"/>
                <a:gd name="T29" fmla="*/ 17 h 64"/>
                <a:gd name="T30" fmla="*/ 23 w 65"/>
                <a:gd name="T31" fmla="*/ 11 h 64"/>
                <a:gd name="T32" fmla="*/ 30 w 65"/>
                <a:gd name="T33" fmla="*/ 30 h 64"/>
                <a:gd name="T34" fmla="*/ 19 w 65"/>
                <a:gd name="T35" fmla="*/ 21 h 64"/>
                <a:gd name="T36" fmla="*/ 7 w 65"/>
                <a:gd name="T37" fmla="*/ 42 h 64"/>
                <a:gd name="T38" fmla="*/ 13 w 65"/>
                <a:gd name="T39" fmla="*/ 34 h 64"/>
                <a:gd name="T40" fmla="*/ 7 w 65"/>
                <a:gd name="T41" fmla="*/ 42 h 64"/>
                <a:gd name="T42" fmla="*/ 30 w 65"/>
                <a:gd name="T43" fmla="*/ 34 h 64"/>
                <a:gd name="T44" fmla="*/ 19 w 65"/>
                <a:gd name="T45" fmla="*/ 42 h 64"/>
                <a:gd name="T46" fmla="*/ 30 w 65"/>
                <a:gd name="T47" fmla="*/ 47 h 64"/>
                <a:gd name="T48" fmla="*/ 27 w 65"/>
                <a:gd name="T49" fmla="*/ 58 h 64"/>
                <a:gd name="T50" fmla="*/ 20 w 65"/>
                <a:gd name="T51" fmla="*/ 47 h 64"/>
                <a:gd name="T52" fmla="*/ 42 w 65"/>
                <a:gd name="T53" fmla="*/ 52 h 64"/>
                <a:gd name="T54" fmla="*/ 35 w 65"/>
                <a:gd name="T55" fmla="*/ 59 h 64"/>
                <a:gd name="T56" fmla="*/ 45 w 65"/>
                <a:gd name="T57" fmla="*/ 47 h 64"/>
                <a:gd name="T58" fmla="*/ 35 w 65"/>
                <a:gd name="T59" fmla="*/ 42 h 64"/>
                <a:gd name="T60" fmla="*/ 47 w 65"/>
                <a:gd name="T61" fmla="*/ 34 h 64"/>
                <a:gd name="T62" fmla="*/ 35 w 65"/>
                <a:gd name="T63" fmla="*/ 42 h 64"/>
                <a:gd name="T64" fmla="*/ 51 w 65"/>
                <a:gd name="T65" fmla="*/ 21 h 64"/>
                <a:gd name="T66" fmla="*/ 60 w 65"/>
                <a:gd name="T67" fmla="*/ 30 h 64"/>
                <a:gd name="T68" fmla="*/ 56 w 65"/>
                <a:gd name="T69" fmla="*/ 17 h 64"/>
                <a:gd name="T70" fmla="*/ 44 w 65"/>
                <a:gd name="T71" fmla="*/ 7 h 64"/>
                <a:gd name="T72" fmla="*/ 56 w 65"/>
                <a:gd name="T73" fmla="*/ 17 h 64"/>
                <a:gd name="T74" fmla="*/ 20 w 65"/>
                <a:gd name="T75" fmla="*/ 7 h 64"/>
                <a:gd name="T76" fmla="*/ 9 w 65"/>
                <a:gd name="T77" fmla="*/ 17 h 64"/>
                <a:gd name="T78" fmla="*/ 9 w 65"/>
                <a:gd name="T79" fmla="*/ 47 h 64"/>
                <a:gd name="T80" fmla="*/ 20 w 65"/>
                <a:gd name="T81" fmla="*/ 57 h 64"/>
                <a:gd name="T82" fmla="*/ 9 w 65"/>
                <a:gd name="T83" fmla="*/ 47 h 64"/>
                <a:gd name="T84" fmla="*/ 44 w 65"/>
                <a:gd name="T85" fmla="*/ 57 h 64"/>
                <a:gd name="T86" fmla="*/ 56 w 65"/>
                <a:gd name="T87" fmla="*/ 47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5" h="64">
                  <a:moveTo>
                    <a:pt x="32" y="0"/>
                  </a:moveTo>
                  <a:cubicBezTo>
                    <a:pt x="15" y="0"/>
                    <a:pt x="0" y="14"/>
                    <a:pt x="0" y="32"/>
                  </a:cubicBezTo>
                  <a:cubicBezTo>
                    <a:pt x="0" y="49"/>
                    <a:pt x="15" y="64"/>
                    <a:pt x="32" y="64"/>
                  </a:cubicBezTo>
                  <a:cubicBezTo>
                    <a:pt x="50" y="64"/>
                    <a:pt x="65" y="49"/>
                    <a:pt x="65" y="32"/>
                  </a:cubicBezTo>
                  <a:cubicBezTo>
                    <a:pt x="65" y="14"/>
                    <a:pt x="50" y="0"/>
                    <a:pt x="32" y="0"/>
                  </a:cubicBezTo>
                  <a:close/>
                  <a:moveTo>
                    <a:pt x="51" y="42"/>
                  </a:moveTo>
                  <a:cubicBezTo>
                    <a:pt x="51" y="40"/>
                    <a:pt x="52" y="37"/>
                    <a:pt x="52" y="34"/>
                  </a:cubicBezTo>
                  <a:cubicBezTo>
                    <a:pt x="60" y="34"/>
                    <a:pt x="60" y="34"/>
                    <a:pt x="60" y="34"/>
                  </a:cubicBezTo>
                  <a:cubicBezTo>
                    <a:pt x="60" y="37"/>
                    <a:pt x="59" y="40"/>
                    <a:pt x="58" y="42"/>
                  </a:cubicBezTo>
                  <a:lnTo>
                    <a:pt x="51" y="42"/>
                  </a:lnTo>
                  <a:close/>
                  <a:moveTo>
                    <a:pt x="14" y="21"/>
                  </a:moveTo>
                  <a:cubicBezTo>
                    <a:pt x="14" y="24"/>
                    <a:pt x="13" y="27"/>
                    <a:pt x="13" y="30"/>
                  </a:cubicBezTo>
                  <a:cubicBezTo>
                    <a:pt x="5" y="30"/>
                    <a:pt x="5" y="30"/>
                    <a:pt x="5" y="30"/>
                  </a:cubicBezTo>
                  <a:cubicBezTo>
                    <a:pt x="5" y="27"/>
                    <a:pt x="6" y="24"/>
                    <a:pt x="7" y="21"/>
                  </a:cubicBezTo>
                  <a:lnTo>
                    <a:pt x="14" y="21"/>
                  </a:lnTo>
                  <a:close/>
                  <a:moveTo>
                    <a:pt x="46" y="21"/>
                  </a:moveTo>
                  <a:cubicBezTo>
                    <a:pt x="47" y="24"/>
                    <a:pt x="47" y="27"/>
                    <a:pt x="47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21"/>
                    <a:pt x="35" y="21"/>
                    <a:pt x="35" y="21"/>
                  </a:cubicBezTo>
                  <a:lnTo>
                    <a:pt x="46" y="21"/>
                  </a:lnTo>
                  <a:close/>
                  <a:moveTo>
                    <a:pt x="35" y="17"/>
                  </a:moveTo>
                  <a:cubicBezTo>
                    <a:pt x="35" y="4"/>
                    <a:pt x="35" y="4"/>
                    <a:pt x="35" y="4"/>
                  </a:cubicBezTo>
                  <a:cubicBezTo>
                    <a:pt x="36" y="5"/>
                    <a:pt x="37" y="5"/>
                    <a:pt x="38" y="6"/>
                  </a:cubicBezTo>
                  <a:cubicBezTo>
                    <a:pt x="39" y="7"/>
                    <a:pt x="41" y="9"/>
                    <a:pt x="42" y="11"/>
                  </a:cubicBezTo>
                  <a:cubicBezTo>
                    <a:pt x="43" y="13"/>
                    <a:pt x="44" y="15"/>
                    <a:pt x="45" y="17"/>
                  </a:cubicBezTo>
                  <a:cubicBezTo>
                    <a:pt x="35" y="17"/>
                    <a:pt x="35" y="17"/>
                    <a:pt x="35" y="17"/>
                  </a:cubicBezTo>
                  <a:close/>
                  <a:moveTo>
                    <a:pt x="23" y="11"/>
                  </a:moveTo>
                  <a:cubicBezTo>
                    <a:pt x="24" y="9"/>
                    <a:pt x="26" y="7"/>
                    <a:pt x="27" y="6"/>
                  </a:cubicBezTo>
                  <a:cubicBezTo>
                    <a:pt x="28" y="5"/>
                    <a:pt x="29" y="5"/>
                    <a:pt x="30" y="4"/>
                  </a:cubicBezTo>
                  <a:cubicBezTo>
                    <a:pt x="30" y="17"/>
                    <a:pt x="30" y="17"/>
                    <a:pt x="30" y="17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1" y="15"/>
                    <a:pt x="22" y="13"/>
                    <a:pt x="23" y="11"/>
                  </a:cubicBezTo>
                  <a:close/>
                  <a:moveTo>
                    <a:pt x="30" y="21"/>
                  </a:moveTo>
                  <a:cubicBezTo>
                    <a:pt x="30" y="30"/>
                    <a:pt x="30" y="30"/>
                    <a:pt x="30" y="30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27"/>
                    <a:pt x="18" y="24"/>
                    <a:pt x="19" y="21"/>
                  </a:cubicBezTo>
                  <a:lnTo>
                    <a:pt x="30" y="21"/>
                  </a:lnTo>
                  <a:close/>
                  <a:moveTo>
                    <a:pt x="7" y="42"/>
                  </a:moveTo>
                  <a:cubicBezTo>
                    <a:pt x="6" y="40"/>
                    <a:pt x="5" y="37"/>
                    <a:pt x="5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37"/>
                    <a:pt x="14" y="40"/>
                    <a:pt x="14" y="42"/>
                  </a:cubicBezTo>
                  <a:lnTo>
                    <a:pt x="7" y="42"/>
                  </a:lnTo>
                  <a:close/>
                  <a:moveTo>
                    <a:pt x="18" y="34"/>
                  </a:moveTo>
                  <a:cubicBezTo>
                    <a:pt x="30" y="34"/>
                    <a:pt x="30" y="34"/>
                    <a:pt x="30" y="34"/>
                  </a:cubicBezTo>
                  <a:cubicBezTo>
                    <a:pt x="30" y="42"/>
                    <a:pt x="30" y="42"/>
                    <a:pt x="30" y="42"/>
                  </a:cubicBezTo>
                  <a:cubicBezTo>
                    <a:pt x="19" y="42"/>
                    <a:pt x="19" y="42"/>
                    <a:pt x="19" y="42"/>
                  </a:cubicBezTo>
                  <a:cubicBezTo>
                    <a:pt x="18" y="40"/>
                    <a:pt x="18" y="37"/>
                    <a:pt x="18" y="34"/>
                  </a:cubicBezTo>
                  <a:close/>
                  <a:moveTo>
                    <a:pt x="30" y="47"/>
                  </a:moveTo>
                  <a:cubicBezTo>
                    <a:pt x="30" y="59"/>
                    <a:pt x="30" y="59"/>
                    <a:pt x="30" y="59"/>
                  </a:cubicBezTo>
                  <a:cubicBezTo>
                    <a:pt x="29" y="59"/>
                    <a:pt x="28" y="58"/>
                    <a:pt x="27" y="58"/>
                  </a:cubicBezTo>
                  <a:cubicBezTo>
                    <a:pt x="26" y="57"/>
                    <a:pt x="24" y="55"/>
                    <a:pt x="23" y="52"/>
                  </a:cubicBezTo>
                  <a:cubicBezTo>
                    <a:pt x="22" y="51"/>
                    <a:pt x="21" y="49"/>
                    <a:pt x="20" y="47"/>
                  </a:cubicBezTo>
                  <a:cubicBezTo>
                    <a:pt x="30" y="47"/>
                    <a:pt x="30" y="47"/>
                    <a:pt x="30" y="47"/>
                  </a:cubicBezTo>
                  <a:close/>
                  <a:moveTo>
                    <a:pt x="42" y="52"/>
                  </a:moveTo>
                  <a:cubicBezTo>
                    <a:pt x="41" y="55"/>
                    <a:pt x="39" y="57"/>
                    <a:pt x="38" y="58"/>
                  </a:cubicBezTo>
                  <a:cubicBezTo>
                    <a:pt x="37" y="58"/>
                    <a:pt x="36" y="59"/>
                    <a:pt x="35" y="59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5" y="47"/>
                    <a:pt x="45" y="47"/>
                    <a:pt x="45" y="47"/>
                  </a:cubicBezTo>
                  <a:cubicBezTo>
                    <a:pt x="44" y="49"/>
                    <a:pt x="43" y="51"/>
                    <a:pt x="42" y="52"/>
                  </a:cubicBezTo>
                  <a:close/>
                  <a:moveTo>
                    <a:pt x="35" y="42"/>
                  </a:moveTo>
                  <a:cubicBezTo>
                    <a:pt x="35" y="34"/>
                    <a:pt x="35" y="34"/>
                    <a:pt x="35" y="34"/>
                  </a:cubicBezTo>
                  <a:cubicBezTo>
                    <a:pt x="47" y="34"/>
                    <a:pt x="47" y="34"/>
                    <a:pt x="47" y="34"/>
                  </a:cubicBezTo>
                  <a:cubicBezTo>
                    <a:pt x="47" y="37"/>
                    <a:pt x="47" y="40"/>
                    <a:pt x="46" y="42"/>
                  </a:cubicBezTo>
                  <a:lnTo>
                    <a:pt x="35" y="42"/>
                  </a:lnTo>
                  <a:close/>
                  <a:moveTo>
                    <a:pt x="52" y="30"/>
                  </a:moveTo>
                  <a:cubicBezTo>
                    <a:pt x="52" y="27"/>
                    <a:pt x="51" y="24"/>
                    <a:pt x="51" y="21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9" y="24"/>
                    <a:pt x="60" y="27"/>
                    <a:pt x="60" y="30"/>
                  </a:cubicBezTo>
                  <a:lnTo>
                    <a:pt x="52" y="30"/>
                  </a:lnTo>
                  <a:close/>
                  <a:moveTo>
                    <a:pt x="56" y="17"/>
                  </a:moveTo>
                  <a:cubicBezTo>
                    <a:pt x="50" y="17"/>
                    <a:pt x="50" y="17"/>
                    <a:pt x="50" y="17"/>
                  </a:cubicBezTo>
                  <a:cubicBezTo>
                    <a:pt x="48" y="13"/>
                    <a:pt x="47" y="9"/>
                    <a:pt x="44" y="7"/>
                  </a:cubicBezTo>
                  <a:cubicBezTo>
                    <a:pt x="47" y="8"/>
                    <a:pt x="50" y="10"/>
                    <a:pt x="52" y="12"/>
                  </a:cubicBezTo>
                  <a:cubicBezTo>
                    <a:pt x="54" y="14"/>
                    <a:pt x="55" y="15"/>
                    <a:pt x="56" y="17"/>
                  </a:cubicBezTo>
                  <a:close/>
                  <a:moveTo>
                    <a:pt x="13" y="12"/>
                  </a:moveTo>
                  <a:cubicBezTo>
                    <a:pt x="15" y="10"/>
                    <a:pt x="18" y="8"/>
                    <a:pt x="20" y="7"/>
                  </a:cubicBezTo>
                  <a:cubicBezTo>
                    <a:pt x="18" y="9"/>
                    <a:pt x="17" y="13"/>
                    <a:pt x="15" y="17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0" y="15"/>
                    <a:pt x="11" y="14"/>
                    <a:pt x="13" y="12"/>
                  </a:cubicBezTo>
                  <a:close/>
                  <a:moveTo>
                    <a:pt x="9" y="47"/>
                  </a:moveTo>
                  <a:cubicBezTo>
                    <a:pt x="15" y="47"/>
                    <a:pt x="15" y="47"/>
                    <a:pt x="15" y="47"/>
                  </a:cubicBezTo>
                  <a:cubicBezTo>
                    <a:pt x="17" y="51"/>
                    <a:pt x="18" y="54"/>
                    <a:pt x="20" y="57"/>
                  </a:cubicBezTo>
                  <a:cubicBezTo>
                    <a:pt x="18" y="55"/>
                    <a:pt x="15" y="54"/>
                    <a:pt x="13" y="51"/>
                  </a:cubicBezTo>
                  <a:cubicBezTo>
                    <a:pt x="11" y="50"/>
                    <a:pt x="10" y="48"/>
                    <a:pt x="9" y="47"/>
                  </a:cubicBezTo>
                  <a:close/>
                  <a:moveTo>
                    <a:pt x="52" y="51"/>
                  </a:moveTo>
                  <a:cubicBezTo>
                    <a:pt x="50" y="54"/>
                    <a:pt x="47" y="55"/>
                    <a:pt x="44" y="57"/>
                  </a:cubicBezTo>
                  <a:cubicBezTo>
                    <a:pt x="47" y="54"/>
                    <a:pt x="48" y="51"/>
                    <a:pt x="50" y="47"/>
                  </a:cubicBezTo>
                  <a:cubicBezTo>
                    <a:pt x="56" y="47"/>
                    <a:pt x="56" y="47"/>
                    <a:pt x="56" y="47"/>
                  </a:cubicBezTo>
                  <a:cubicBezTo>
                    <a:pt x="55" y="48"/>
                    <a:pt x="54" y="50"/>
                    <a:pt x="52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6" name="任意多边形: 形状 155">
              <a:extLst>
                <a:ext uri="{FF2B5EF4-FFF2-40B4-BE49-F238E27FC236}">
                  <a16:creationId xmlns:a16="http://schemas.microsoft.com/office/drawing/2014/main" id="{BC485200-D316-49E4-948A-71FD3FE5B1B4}"/>
                </a:ext>
              </a:extLst>
            </p:cNvPr>
            <p:cNvSpPr/>
            <p:nvPr/>
          </p:nvSpPr>
          <p:spPr bwMode="auto">
            <a:xfrm>
              <a:off x="8217209" y="5047588"/>
              <a:ext cx="191818" cy="195734"/>
            </a:xfrm>
            <a:custGeom>
              <a:avLst/>
              <a:gdLst>
                <a:gd name="T0" fmla="*/ 30 w 60"/>
                <a:gd name="T1" fmla="*/ 0 h 61"/>
                <a:gd name="T2" fmla="*/ 0 w 60"/>
                <a:gd name="T3" fmla="*/ 31 h 61"/>
                <a:gd name="T4" fmla="*/ 30 w 60"/>
                <a:gd name="T5" fmla="*/ 61 h 61"/>
                <a:gd name="T6" fmla="*/ 60 w 60"/>
                <a:gd name="T7" fmla="*/ 31 h 61"/>
                <a:gd name="T8" fmla="*/ 30 w 60"/>
                <a:gd name="T9" fmla="*/ 0 h 61"/>
                <a:gd name="T10" fmla="*/ 30 w 60"/>
                <a:gd name="T11" fmla="*/ 55 h 61"/>
                <a:gd name="T12" fmla="*/ 5 w 60"/>
                <a:gd name="T13" fmla="*/ 31 h 61"/>
                <a:gd name="T14" fmla="*/ 30 w 60"/>
                <a:gd name="T15" fmla="*/ 6 h 61"/>
                <a:gd name="T16" fmla="*/ 55 w 60"/>
                <a:gd name="T17" fmla="*/ 31 h 61"/>
                <a:gd name="T18" fmla="*/ 30 w 60"/>
                <a:gd name="T19" fmla="*/ 55 h 61"/>
                <a:gd name="T20" fmla="*/ 26 w 60"/>
                <a:gd name="T21" fmla="*/ 15 h 61"/>
                <a:gd name="T22" fmla="*/ 34 w 60"/>
                <a:gd name="T23" fmla="*/ 15 h 61"/>
                <a:gd name="T24" fmla="*/ 34 w 60"/>
                <a:gd name="T25" fmla="*/ 23 h 61"/>
                <a:gd name="T26" fmla="*/ 26 w 60"/>
                <a:gd name="T27" fmla="*/ 23 h 61"/>
                <a:gd name="T28" fmla="*/ 26 w 60"/>
                <a:gd name="T29" fmla="*/ 15 h 61"/>
                <a:gd name="T30" fmla="*/ 38 w 60"/>
                <a:gd name="T31" fmla="*/ 46 h 61"/>
                <a:gd name="T32" fmla="*/ 22 w 60"/>
                <a:gd name="T33" fmla="*/ 46 h 61"/>
                <a:gd name="T34" fmla="*/ 22 w 60"/>
                <a:gd name="T35" fmla="*/ 42 h 61"/>
                <a:gd name="T36" fmla="*/ 26 w 60"/>
                <a:gd name="T37" fmla="*/ 42 h 61"/>
                <a:gd name="T38" fmla="*/ 26 w 60"/>
                <a:gd name="T39" fmla="*/ 31 h 61"/>
                <a:gd name="T40" fmla="*/ 22 w 60"/>
                <a:gd name="T41" fmla="*/ 31 h 61"/>
                <a:gd name="T42" fmla="*/ 22 w 60"/>
                <a:gd name="T43" fmla="*/ 27 h 61"/>
                <a:gd name="T44" fmla="*/ 34 w 60"/>
                <a:gd name="T45" fmla="*/ 27 h 61"/>
                <a:gd name="T46" fmla="*/ 34 w 60"/>
                <a:gd name="T47" fmla="*/ 42 h 61"/>
                <a:gd name="T48" fmla="*/ 38 w 60"/>
                <a:gd name="T49" fmla="*/ 42 h 61"/>
                <a:gd name="T50" fmla="*/ 38 w 60"/>
                <a:gd name="T51" fmla="*/ 4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61">
                  <a:moveTo>
                    <a:pt x="30" y="0"/>
                  </a:moveTo>
                  <a:cubicBezTo>
                    <a:pt x="13" y="0"/>
                    <a:pt x="0" y="14"/>
                    <a:pt x="0" y="31"/>
                  </a:cubicBezTo>
                  <a:cubicBezTo>
                    <a:pt x="0" y="47"/>
                    <a:pt x="13" y="61"/>
                    <a:pt x="30" y="61"/>
                  </a:cubicBezTo>
                  <a:cubicBezTo>
                    <a:pt x="47" y="61"/>
                    <a:pt x="60" y="47"/>
                    <a:pt x="60" y="31"/>
                  </a:cubicBezTo>
                  <a:cubicBezTo>
                    <a:pt x="60" y="14"/>
                    <a:pt x="47" y="0"/>
                    <a:pt x="30" y="0"/>
                  </a:cubicBezTo>
                  <a:close/>
                  <a:moveTo>
                    <a:pt x="30" y="55"/>
                  </a:moveTo>
                  <a:cubicBezTo>
                    <a:pt x="16" y="55"/>
                    <a:pt x="5" y="44"/>
                    <a:pt x="5" y="31"/>
                  </a:cubicBezTo>
                  <a:cubicBezTo>
                    <a:pt x="5" y="17"/>
                    <a:pt x="16" y="6"/>
                    <a:pt x="30" y="6"/>
                  </a:cubicBezTo>
                  <a:cubicBezTo>
                    <a:pt x="44" y="6"/>
                    <a:pt x="55" y="17"/>
                    <a:pt x="55" y="31"/>
                  </a:cubicBezTo>
                  <a:cubicBezTo>
                    <a:pt x="55" y="44"/>
                    <a:pt x="44" y="55"/>
                    <a:pt x="30" y="55"/>
                  </a:cubicBezTo>
                  <a:close/>
                  <a:moveTo>
                    <a:pt x="26" y="15"/>
                  </a:moveTo>
                  <a:cubicBezTo>
                    <a:pt x="34" y="15"/>
                    <a:pt x="34" y="15"/>
                    <a:pt x="34" y="15"/>
                  </a:cubicBezTo>
                  <a:cubicBezTo>
                    <a:pt x="34" y="23"/>
                    <a:pt x="34" y="23"/>
                    <a:pt x="34" y="23"/>
                  </a:cubicBezTo>
                  <a:cubicBezTo>
                    <a:pt x="26" y="23"/>
                    <a:pt x="26" y="23"/>
                    <a:pt x="26" y="23"/>
                  </a:cubicBezTo>
                  <a:lnTo>
                    <a:pt x="26" y="15"/>
                  </a:lnTo>
                  <a:close/>
                  <a:moveTo>
                    <a:pt x="38" y="46"/>
                  </a:moveTo>
                  <a:cubicBezTo>
                    <a:pt x="22" y="46"/>
                    <a:pt x="22" y="46"/>
                    <a:pt x="22" y="46"/>
                  </a:cubicBezTo>
                  <a:cubicBezTo>
                    <a:pt x="22" y="42"/>
                    <a:pt x="22" y="42"/>
                    <a:pt x="22" y="42"/>
                  </a:cubicBezTo>
                  <a:cubicBezTo>
                    <a:pt x="26" y="42"/>
                    <a:pt x="26" y="42"/>
                    <a:pt x="26" y="42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22" y="31"/>
                    <a:pt x="22" y="31"/>
                    <a:pt x="22" y="31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34" y="27"/>
                    <a:pt x="34" y="27"/>
                    <a:pt x="34" y="27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38" y="42"/>
                    <a:pt x="38" y="42"/>
                    <a:pt x="38" y="42"/>
                  </a:cubicBezTo>
                  <a:lnTo>
                    <a:pt x="38" y="4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7" name="任意多边形: 形状 156">
              <a:extLst>
                <a:ext uri="{FF2B5EF4-FFF2-40B4-BE49-F238E27FC236}">
                  <a16:creationId xmlns:a16="http://schemas.microsoft.com/office/drawing/2014/main" id="{6B32707C-821B-43D6-A4CA-FF7520B225B6}"/>
                </a:ext>
              </a:extLst>
            </p:cNvPr>
            <p:cNvSpPr/>
            <p:nvPr/>
          </p:nvSpPr>
          <p:spPr bwMode="auto">
            <a:xfrm>
              <a:off x="7085874" y="5474287"/>
              <a:ext cx="221179" cy="219221"/>
            </a:xfrm>
            <a:custGeom>
              <a:avLst/>
              <a:gdLst>
                <a:gd name="T0" fmla="*/ 35 w 69"/>
                <a:gd name="T1" fmla="*/ 0 h 69"/>
                <a:gd name="T2" fmla="*/ 0 w 69"/>
                <a:gd name="T3" fmla="*/ 35 h 69"/>
                <a:gd name="T4" fmla="*/ 35 w 69"/>
                <a:gd name="T5" fmla="*/ 69 h 69"/>
                <a:gd name="T6" fmla="*/ 69 w 69"/>
                <a:gd name="T7" fmla="*/ 35 h 69"/>
                <a:gd name="T8" fmla="*/ 35 w 69"/>
                <a:gd name="T9" fmla="*/ 0 h 69"/>
                <a:gd name="T10" fmla="*/ 55 w 69"/>
                <a:gd name="T11" fmla="*/ 30 h 69"/>
                <a:gd name="T12" fmla="*/ 36 w 69"/>
                <a:gd name="T13" fmla="*/ 56 h 69"/>
                <a:gd name="T14" fmla="*/ 28 w 69"/>
                <a:gd name="T15" fmla="*/ 52 h 69"/>
                <a:gd name="T16" fmla="*/ 21 w 69"/>
                <a:gd name="T17" fmla="*/ 32 h 69"/>
                <a:gd name="T18" fmla="*/ 16 w 69"/>
                <a:gd name="T19" fmla="*/ 33 h 69"/>
                <a:gd name="T20" fmla="*/ 14 w 69"/>
                <a:gd name="T21" fmla="*/ 31 h 69"/>
                <a:gd name="T22" fmla="*/ 27 w 69"/>
                <a:gd name="T23" fmla="*/ 22 h 69"/>
                <a:gd name="T24" fmla="*/ 34 w 69"/>
                <a:gd name="T25" fmla="*/ 36 h 69"/>
                <a:gd name="T26" fmla="*/ 37 w 69"/>
                <a:gd name="T27" fmla="*/ 44 h 69"/>
                <a:gd name="T28" fmla="*/ 43 w 69"/>
                <a:gd name="T29" fmla="*/ 36 h 69"/>
                <a:gd name="T30" fmla="*/ 38 w 69"/>
                <a:gd name="T31" fmla="*/ 31 h 69"/>
                <a:gd name="T32" fmla="*/ 55 w 69"/>
                <a:gd name="T33" fmla="*/ 3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9" h="69">
                  <a:moveTo>
                    <a:pt x="35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69"/>
                    <a:pt x="35" y="69"/>
                  </a:cubicBezTo>
                  <a:cubicBezTo>
                    <a:pt x="54" y="69"/>
                    <a:pt x="69" y="54"/>
                    <a:pt x="69" y="35"/>
                  </a:cubicBezTo>
                  <a:cubicBezTo>
                    <a:pt x="69" y="16"/>
                    <a:pt x="54" y="0"/>
                    <a:pt x="35" y="0"/>
                  </a:cubicBezTo>
                  <a:close/>
                  <a:moveTo>
                    <a:pt x="55" y="30"/>
                  </a:moveTo>
                  <a:cubicBezTo>
                    <a:pt x="53" y="43"/>
                    <a:pt x="40" y="54"/>
                    <a:pt x="36" y="56"/>
                  </a:cubicBezTo>
                  <a:cubicBezTo>
                    <a:pt x="32" y="58"/>
                    <a:pt x="29" y="55"/>
                    <a:pt x="28" y="52"/>
                  </a:cubicBezTo>
                  <a:cubicBezTo>
                    <a:pt x="26" y="49"/>
                    <a:pt x="22" y="33"/>
                    <a:pt x="21" y="32"/>
                  </a:cubicBezTo>
                  <a:cubicBezTo>
                    <a:pt x="19" y="30"/>
                    <a:pt x="16" y="33"/>
                    <a:pt x="16" y="33"/>
                  </a:cubicBezTo>
                  <a:cubicBezTo>
                    <a:pt x="14" y="31"/>
                    <a:pt x="14" y="31"/>
                    <a:pt x="14" y="31"/>
                  </a:cubicBezTo>
                  <a:cubicBezTo>
                    <a:pt x="14" y="31"/>
                    <a:pt x="21" y="23"/>
                    <a:pt x="27" y="22"/>
                  </a:cubicBezTo>
                  <a:cubicBezTo>
                    <a:pt x="32" y="21"/>
                    <a:pt x="32" y="30"/>
                    <a:pt x="34" y="36"/>
                  </a:cubicBezTo>
                  <a:cubicBezTo>
                    <a:pt x="35" y="41"/>
                    <a:pt x="36" y="44"/>
                    <a:pt x="37" y="44"/>
                  </a:cubicBezTo>
                  <a:cubicBezTo>
                    <a:pt x="38" y="44"/>
                    <a:pt x="40" y="41"/>
                    <a:pt x="43" y="36"/>
                  </a:cubicBezTo>
                  <a:cubicBezTo>
                    <a:pt x="45" y="32"/>
                    <a:pt x="42" y="28"/>
                    <a:pt x="38" y="31"/>
                  </a:cubicBezTo>
                  <a:cubicBezTo>
                    <a:pt x="40" y="20"/>
                    <a:pt x="57" y="17"/>
                    <a:pt x="55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8" name="任意多边形: 形状 157">
              <a:extLst>
                <a:ext uri="{FF2B5EF4-FFF2-40B4-BE49-F238E27FC236}">
                  <a16:creationId xmlns:a16="http://schemas.microsoft.com/office/drawing/2014/main" id="{5F9EB5ED-AEB9-4D30-B5B0-224E69DEE83B}"/>
                </a:ext>
              </a:extLst>
            </p:cNvPr>
            <p:cNvSpPr/>
            <p:nvPr/>
          </p:nvSpPr>
          <p:spPr bwMode="auto">
            <a:xfrm>
              <a:off x="10199979" y="5985152"/>
              <a:ext cx="381679" cy="338618"/>
            </a:xfrm>
            <a:custGeom>
              <a:avLst/>
              <a:gdLst>
                <a:gd name="T0" fmla="*/ 50 w 119"/>
                <a:gd name="T1" fmla="*/ 0 h 106"/>
                <a:gd name="T2" fmla="*/ 50 w 119"/>
                <a:gd name="T3" fmla="*/ 0 h 106"/>
                <a:gd name="T4" fmla="*/ 99 w 119"/>
                <a:gd name="T5" fmla="*/ 40 h 106"/>
                <a:gd name="T6" fmla="*/ 50 w 119"/>
                <a:gd name="T7" fmla="*/ 81 h 106"/>
                <a:gd name="T8" fmla="*/ 42 w 119"/>
                <a:gd name="T9" fmla="*/ 80 h 106"/>
                <a:gd name="T10" fmla="*/ 7 w 119"/>
                <a:gd name="T11" fmla="*/ 93 h 106"/>
                <a:gd name="T12" fmla="*/ 7 w 119"/>
                <a:gd name="T13" fmla="*/ 90 h 106"/>
                <a:gd name="T14" fmla="*/ 19 w 119"/>
                <a:gd name="T15" fmla="*/ 74 h 106"/>
                <a:gd name="T16" fmla="*/ 18 w 119"/>
                <a:gd name="T17" fmla="*/ 72 h 106"/>
                <a:gd name="T18" fmla="*/ 0 w 119"/>
                <a:gd name="T19" fmla="*/ 40 h 106"/>
                <a:gd name="T20" fmla="*/ 50 w 119"/>
                <a:gd name="T21" fmla="*/ 0 h 106"/>
                <a:gd name="T22" fmla="*/ 103 w 119"/>
                <a:gd name="T23" fmla="*/ 90 h 106"/>
                <a:gd name="T24" fmla="*/ 113 w 119"/>
                <a:gd name="T25" fmla="*/ 104 h 106"/>
                <a:gd name="T26" fmla="*/ 113 w 119"/>
                <a:gd name="T27" fmla="*/ 106 h 106"/>
                <a:gd name="T28" fmla="*/ 83 w 119"/>
                <a:gd name="T29" fmla="*/ 95 h 106"/>
                <a:gd name="T30" fmla="*/ 76 w 119"/>
                <a:gd name="T31" fmla="*/ 96 h 106"/>
                <a:gd name="T32" fmla="*/ 50 w 119"/>
                <a:gd name="T33" fmla="*/ 88 h 106"/>
                <a:gd name="T34" fmla="*/ 90 w 119"/>
                <a:gd name="T35" fmla="*/ 75 h 106"/>
                <a:gd name="T36" fmla="*/ 103 w 119"/>
                <a:gd name="T37" fmla="*/ 60 h 106"/>
                <a:gd name="T38" fmla="*/ 107 w 119"/>
                <a:gd name="T39" fmla="*/ 40 h 106"/>
                <a:gd name="T40" fmla="*/ 107 w 119"/>
                <a:gd name="T41" fmla="*/ 37 h 106"/>
                <a:gd name="T42" fmla="*/ 119 w 119"/>
                <a:gd name="T43" fmla="*/ 61 h 106"/>
                <a:gd name="T44" fmla="*/ 103 w 119"/>
                <a:gd name="T45" fmla="*/ 88 h 106"/>
                <a:gd name="T46" fmla="*/ 103 w 119"/>
                <a:gd name="T47" fmla="*/ 9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9" h="106">
                  <a:moveTo>
                    <a:pt x="50" y="0"/>
                  </a:moveTo>
                  <a:cubicBezTo>
                    <a:pt x="50" y="0"/>
                    <a:pt x="50" y="0"/>
                    <a:pt x="50" y="0"/>
                  </a:cubicBezTo>
                  <a:cubicBezTo>
                    <a:pt x="77" y="0"/>
                    <a:pt x="99" y="18"/>
                    <a:pt x="99" y="40"/>
                  </a:cubicBezTo>
                  <a:cubicBezTo>
                    <a:pt x="99" y="63"/>
                    <a:pt x="77" y="81"/>
                    <a:pt x="50" y="81"/>
                  </a:cubicBezTo>
                  <a:cubicBezTo>
                    <a:pt x="47" y="81"/>
                    <a:pt x="44" y="80"/>
                    <a:pt x="42" y="80"/>
                  </a:cubicBezTo>
                  <a:cubicBezTo>
                    <a:pt x="31" y="91"/>
                    <a:pt x="19" y="93"/>
                    <a:pt x="7" y="93"/>
                  </a:cubicBezTo>
                  <a:cubicBezTo>
                    <a:pt x="7" y="90"/>
                    <a:pt x="7" y="90"/>
                    <a:pt x="7" y="90"/>
                  </a:cubicBezTo>
                  <a:cubicBezTo>
                    <a:pt x="13" y="87"/>
                    <a:pt x="19" y="81"/>
                    <a:pt x="19" y="74"/>
                  </a:cubicBezTo>
                  <a:cubicBezTo>
                    <a:pt x="19" y="73"/>
                    <a:pt x="19" y="72"/>
                    <a:pt x="18" y="72"/>
                  </a:cubicBezTo>
                  <a:cubicBezTo>
                    <a:pt x="7" y="64"/>
                    <a:pt x="0" y="53"/>
                    <a:pt x="0" y="40"/>
                  </a:cubicBezTo>
                  <a:cubicBezTo>
                    <a:pt x="0" y="18"/>
                    <a:pt x="22" y="0"/>
                    <a:pt x="50" y="0"/>
                  </a:cubicBezTo>
                  <a:close/>
                  <a:moveTo>
                    <a:pt x="103" y="90"/>
                  </a:moveTo>
                  <a:cubicBezTo>
                    <a:pt x="103" y="96"/>
                    <a:pt x="107" y="101"/>
                    <a:pt x="113" y="104"/>
                  </a:cubicBezTo>
                  <a:cubicBezTo>
                    <a:pt x="113" y="106"/>
                    <a:pt x="113" y="106"/>
                    <a:pt x="113" y="106"/>
                  </a:cubicBezTo>
                  <a:cubicBezTo>
                    <a:pt x="102" y="106"/>
                    <a:pt x="92" y="104"/>
                    <a:pt x="83" y="95"/>
                  </a:cubicBezTo>
                  <a:cubicBezTo>
                    <a:pt x="81" y="95"/>
                    <a:pt x="79" y="96"/>
                    <a:pt x="76" y="96"/>
                  </a:cubicBezTo>
                  <a:cubicBezTo>
                    <a:pt x="66" y="96"/>
                    <a:pt x="57" y="93"/>
                    <a:pt x="50" y="88"/>
                  </a:cubicBezTo>
                  <a:cubicBezTo>
                    <a:pt x="65" y="88"/>
                    <a:pt x="79" y="84"/>
                    <a:pt x="90" y="75"/>
                  </a:cubicBezTo>
                  <a:cubicBezTo>
                    <a:pt x="95" y="71"/>
                    <a:pt x="100" y="65"/>
                    <a:pt x="103" y="60"/>
                  </a:cubicBezTo>
                  <a:cubicBezTo>
                    <a:pt x="106" y="54"/>
                    <a:pt x="107" y="47"/>
                    <a:pt x="107" y="40"/>
                  </a:cubicBezTo>
                  <a:cubicBezTo>
                    <a:pt x="107" y="39"/>
                    <a:pt x="107" y="38"/>
                    <a:pt x="107" y="37"/>
                  </a:cubicBezTo>
                  <a:cubicBezTo>
                    <a:pt x="115" y="43"/>
                    <a:pt x="119" y="52"/>
                    <a:pt x="119" y="61"/>
                  </a:cubicBezTo>
                  <a:cubicBezTo>
                    <a:pt x="119" y="72"/>
                    <a:pt x="113" y="82"/>
                    <a:pt x="103" y="88"/>
                  </a:cubicBezTo>
                  <a:cubicBezTo>
                    <a:pt x="103" y="89"/>
                    <a:pt x="103" y="89"/>
                    <a:pt x="10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9" name="任意多边形: 形状 158">
              <a:extLst>
                <a:ext uri="{FF2B5EF4-FFF2-40B4-BE49-F238E27FC236}">
                  <a16:creationId xmlns:a16="http://schemas.microsoft.com/office/drawing/2014/main" id="{021319B4-9390-461C-B10A-CB0BC441CBFF}"/>
                </a:ext>
              </a:extLst>
            </p:cNvPr>
            <p:cNvSpPr/>
            <p:nvPr/>
          </p:nvSpPr>
          <p:spPr bwMode="auto">
            <a:xfrm>
              <a:off x="9976844" y="5491903"/>
              <a:ext cx="223135" cy="225093"/>
            </a:xfrm>
            <a:custGeom>
              <a:avLst/>
              <a:gdLst>
                <a:gd name="T0" fmla="*/ 35 w 70"/>
                <a:gd name="T1" fmla="*/ 0 h 70"/>
                <a:gd name="T2" fmla="*/ 0 w 70"/>
                <a:gd name="T3" fmla="*/ 35 h 70"/>
                <a:gd name="T4" fmla="*/ 35 w 70"/>
                <a:gd name="T5" fmla="*/ 70 h 70"/>
                <a:gd name="T6" fmla="*/ 70 w 70"/>
                <a:gd name="T7" fmla="*/ 35 h 70"/>
                <a:gd name="T8" fmla="*/ 35 w 70"/>
                <a:gd name="T9" fmla="*/ 0 h 70"/>
                <a:gd name="T10" fmla="*/ 29 w 70"/>
                <a:gd name="T11" fmla="*/ 57 h 70"/>
                <a:gd name="T12" fmla="*/ 14 w 70"/>
                <a:gd name="T13" fmla="*/ 38 h 70"/>
                <a:gd name="T14" fmla="*/ 21 w 70"/>
                <a:gd name="T15" fmla="*/ 31 h 70"/>
                <a:gd name="T16" fmla="*/ 29 w 70"/>
                <a:gd name="T17" fmla="*/ 41 h 70"/>
                <a:gd name="T18" fmla="*/ 54 w 70"/>
                <a:gd name="T19" fmla="*/ 21 h 70"/>
                <a:gd name="T20" fmla="*/ 57 w 70"/>
                <a:gd name="T21" fmla="*/ 24 h 70"/>
                <a:gd name="T22" fmla="*/ 29 w 70"/>
                <a:gd name="T23" fmla="*/ 57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" h="70">
                  <a:moveTo>
                    <a:pt x="35" y="0"/>
                  </a:moveTo>
                  <a:cubicBezTo>
                    <a:pt x="16" y="0"/>
                    <a:pt x="0" y="16"/>
                    <a:pt x="0" y="35"/>
                  </a:cubicBezTo>
                  <a:cubicBezTo>
                    <a:pt x="0" y="54"/>
                    <a:pt x="16" y="70"/>
                    <a:pt x="35" y="70"/>
                  </a:cubicBezTo>
                  <a:cubicBezTo>
                    <a:pt x="54" y="70"/>
                    <a:pt x="70" y="54"/>
                    <a:pt x="70" y="35"/>
                  </a:cubicBezTo>
                  <a:cubicBezTo>
                    <a:pt x="70" y="16"/>
                    <a:pt x="54" y="0"/>
                    <a:pt x="35" y="0"/>
                  </a:cubicBezTo>
                  <a:close/>
                  <a:moveTo>
                    <a:pt x="29" y="57"/>
                  </a:moveTo>
                  <a:cubicBezTo>
                    <a:pt x="14" y="38"/>
                    <a:pt x="14" y="38"/>
                    <a:pt x="14" y="38"/>
                  </a:cubicBezTo>
                  <a:cubicBezTo>
                    <a:pt x="21" y="31"/>
                    <a:pt x="21" y="31"/>
                    <a:pt x="21" y="31"/>
                  </a:cubicBezTo>
                  <a:cubicBezTo>
                    <a:pt x="29" y="41"/>
                    <a:pt x="29" y="41"/>
                    <a:pt x="29" y="41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57" y="24"/>
                    <a:pt x="57" y="24"/>
                    <a:pt x="57" y="24"/>
                  </a:cubicBezTo>
                  <a:lnTo>
                    <a:pt x="29" y="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0" name="任意多边形: 形状 159">
              <a:extLst>
                <a:ext uri="{FF2B5EF4-FFF2-40B4-BE49-F238E27FC236}">
                  <a16:creationId xmlns:a16="http://schemas.microsoft.com/office/drawing/2014/main" id="{C2AAD0E5-90F6-4414-A7B1-7B9FC9C8DF72}"/>
                </a:ext>
              </a:extLst>
            </p:cNvPr>
            <p:cNvSpPr/>
            <p:nvPr/>
          </p:nvSpPr>
          <p:spPr bwMode="auto">
            <a:xfrm>
              <a:off x="8892484" y="5863796"/>
              <a:ext cx="275983" cy="313174"/>
            </a:xfrm>
            <a:custGeom>
              <a:avLst/>
              <a:gdLst>
                <a:gd name="T0" fmla="*/ 55 w 86"/>
                <a:gd name="T1" fmla="*/ 14 h 98"/>
                <a:gd name="T2" fmla="*/ 55 w 86"/>
                <a:gd name="T3" fmla="*/ 27 h 98"/>
                <a:gd name="T4" fmla="*/ 65 w 86"/>
                <a:gd name="T5" fmla="*/ 33 h 98"/>
                <a:gd name="T6" fmla="*/ 74 w 86"/>
                <a:gd name="T7" fmla="*/ 55 h 98"/>
                <a:gd name="T8" fmla="*/ 65 w 86"/>
                <a:gd name="T9" fmla="*/ 77 h 98"/>
                <a:gd name="T10" fmla="*/ 43 w 86"/>
                <a:gd name="T11" fmla="*/ 85 h 98"/>
                <a:gd name="T12" fmla="*/ 22 w 86"/>
                <a:gd name="T13" fmla="*/ 77 h 98"/>
                <a:gd name="T14" fmla="*/ 13 w 86"/>
                <a:gd name="T15" fmla="*/ 55 h 98"/>
                <a:gd name="T16" fmla="*/ 22 w 86"/>
                <a:gd name="T17" fmla="*/ 33 h 98"/>
                <a:gd name="T18" fmla="*/ 31 w 86"/>
                <a:gd name="T19" fmla="*/ 27 h 98"/>
                <a:gd name="T20" fmla="*/ 31 w 86"/>
                <a:gd name="T21" fmla="*/ 14 h 98"/>
                <a:gd name="T22" fmla="*/ 0 w 86"/>
                <a:gd name="T23" fmla="*/ 55 h 98"/>
                <a:gd name="T24" fmla="*/ 43 w 86"/>
                <a:gd name="T25" fmla="*/ 98 h 98"/>
                <a:gd name="T26" fmla="*/ 86 w 86"/>
                <a:gd name="T27" fmla="*/ 55 h 98"/>
                <a:gd name="T28" fmla="*/ 55 w 86"/>
                <a:gd name="T29" fmla="*/ 14 h 98"/>
                <a:gd name="T30" fmla="*/ 37 w 86"/>
                <a:gd name="T31" fmla="*/ 0 h 98"/>
                <a:gd name="T32" fmla="*/ 49 w 86"/>
                <a:gd name="T33" fmla="*/ 0 h 98"/>
                <a:gd name="T34" fmla="*/ 49 w 86"/>
                <a:gd name="T35" fmla="*/ 49 h 98"/>
                <a:gd name="T36" fmla="*/ 37 w 86"/>
                <a:gd name="T37" fmla="*/ 49 h 98"/>
                <a:gd name="T38" fmla="*/ 37 w 86"/>
                <a:gd name="T39" fmla="*/ 0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6" h="98">
                  <a:moveTo>
                    <a:pt x="55" y="14"/>
                  </a:moveTo>
                  <a:cubicBezTo>
                    <a:pt x="55" y="27"/>
                    <a:pt x="55" y="27"/>
                    <a:pt x="55" y="27"/>
                  </a:cubicBezTo>
                  <a:cubicBezTo>
                    <a:pt x="59" y="28"/>
                    <a:pt x="62" y="31"/>
                    <a:pt x="65" y="33"/>
                  </a:cubicBezTo>
                  <a:cubicBezTo>
                    <a:pt x="71" y="39"/>
                    <a:pt x="74" y="47"/>
                    <a:pt x="74" y="55"/>
                  </a:cubicBezTo>
                  <a:cubicBezTo>
                    <a:pt x="74" y="63"/>
                    <a:pt x="71" y="71"/>
                    <a:pt x="65" y="77"/>
                  </a:cubicBezTo>
                  <a:cubicBezTo>
                    <a:pt x="59" y="82"/>
                    <a:pt x="51" y="85"/>
                    <a:pt x="43" y="85"/>
                  </a:cubicBezTo>
                  <a:cubicBezTo>
                    <a:pt x="35" y="85"/>
                    <a:pt x="27" y="82"/>
                    <a:pt x="22" y="77"/>
                  </a:cubicBezTo>
                  <a:cubicBezTo>
                    <a:pt x="16" y="71"/>
                    <a:pt x="13" y="63"/>
                    <a:pt x="13" y="55"/>
                  </a:cubicBezTo>
                  <a:cubicBezTo>
                    <a:pt x="13" y="47"/>
                    <a:pt x="16" y="39"/>
                    <a:pt x="22" y="33"/>
                  </a:cubicBezTo>
                  <a:cubicBezTo>
                    <a:pt x="24" y="31"/>
                    <a:pt x="27" y="28"/>
                    <a:pt x="31" y="27"/>
                  </a:cubicBezTo>
                  <a:cubicBezTo>
                    <a:pt x="31" y="14"/>
                    <a:pt x="31" y="14"/>
                    <a:pt x="31" y="14"/>
                  </a:cubicBezTo>
                  <a:cubicBezTo>
                    <a:pt x="13" y="19"/>
                    <a:pt x="0" y="36"/>
                    <a:pt x="0" y="55"/>
                  </a:cubicBezTo>
                  <a:cubicBezTo>
                    <a:pt x="0" y="79"/>
                    <a:pt x="20" y="98"/>
                    <a:pt x="43" y="98"/>
                  </a:cubicBezTo>
                  <a:cubicBezTo>
                    <a:pt x="67" y="98"/>
                    <a:pt x="86" y="79"/>
                    <a:pt x="86" y="55"/>
                  </a:cubicBezTo>
                  <a:cubicBezTo>
                    <a:pt x="86" y="36"/>
                    <a:pt x="73" y="19"/>
                    <a:pt x="55" y="14"/>
                  </a:cubicBezTo>
                  <a:close/>
                  <a:moveTo>
                    <a:pt x="37" y="0"/>
                  </a:moveTo>
                  <a:cubicBezTo>
                    <a:pt x="49" y="0"/>
                    <a:pt x="49" y="0"/>
                    <a:pt x="49" y="0"/>
                  </a:cubicBezTo>
                  <a:cubicBezTo>
                    <a:pt x="49" y="49"/>
                    <a:pt x="49" y="49"/>
                    <a:pt x="49" y="49"/>
                  </a:cubicBezTo>
                  <a:cubicBezTo>
                    <a:pt x="37" y="49"/>
                    <a:pt x="37" y="49"/>
                    <a:pt x="37" y="49"/>
                  </a:cubicBez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1" name="任意多边形: 形状 160">
              <a:extLst>
                <a:ext uri="{FF2B5EF4-FFF2-40B4-BE49-F238E27FC236}">
                  <a16:creationId xmlns:a16="http://schemas.microsoft.com/office/drawing/2014/main" id="{BAC09CB3-07D9-4A26-B08A-3B5A38E23557}"/>
                </a:ext>
              </a:extLst>
            </p:cNvPr>
            <p:cNvSpPr/>
            <p:nvPr/>
          </p:nvSpPr>
          <p:spPr bwMode="auto">
            <a:xfrm>
              <a:off x="8549953" y="6186756"/>
              <a:ext cx="371892" cy="311215"/>
            </a:xfrm>
            <a:custGeom>
              <a:avLst/>
              <a:gdLst>
                <a:gd name="T0" fmla="*/ 57 w 116"/>
                <a:gd name="T1" fmla="*/ 1 h 97"/>
                <a:gd name="T2" fmla="*/ 48 w 116"/>
                <a:gd name="T3" fmla="*/ 8 h 97"/>
                <a:gd name="T4" fmla="*/ 55 w 116"/>
                <a:gd name="T5" fmla="*/ 18 h 97"/>
                <a:gd name="T6" fmla="*/ 85 w 116"/>
                <a:gd name="T7" fmla="*/ 22 h 97"/>
                <a:gd name="T8" fmla="*/ 5 w 116"/>
                <a:gd name="T9" fmla="*/ 81 h 97"/>
                <a:gd name="T10" fmla="*/ 3 w 116"/>
                <a:gd name="T11" fmla="*/ 93 h 97"/>
                <a:gd name="T12" fmla="*/ 8 w 116"/>
                <a:gd name="T13" fmla="*/ 96 h 97"/>
                <a:gd name="T14" fmla="*/ 15 w 116"/>
                <a:gd name="T15" fmla="*/ 95 h 97"/>
                <a:gd name="T16" fmla="*/ 95 w 116"/>
                <a:gd name="T17" fmla="*/ 36 h 97"/>
                <a:gd name="T18" fmla="*/ 90 w 116"/>
                <a:gd name="T19" fmla="*/ 66 h 97"/>
                <a:gd name="T20" fmla="*/ 97 w 116"/>
                <a:gd name="T21" fmla="*/ 76 h 97"/>
                <a:gd name="T22" fmla="*/ 107 w 116"/>
                <a:gd name="T23" fmla="*/ 69 h 97"/>
                <a:gd name="T24" fmla="*/ 116 w 116"/>
                <a:gd name="T25" fmla="*/ 10 h 97"/>
                <a:gd name="T26" fmla="*/ 57 w 116"/>
                <a:gd name="T27" fmla="*/ 1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16" h="97">
                  <a:moveTo>
                    <a:pt x="57" y="1"/>
                  </a:moveTo>
                  <a:cubicBezTo>
                    <a:pt x="53" y="0"/>
                    <a:pt x="48" y="3"/>
                    <a:pt x="48" y="8"/>
                  </a:cubicBezTo>
                  <a:cubicBezTo>
                    <a:pt x="47" y="13"/>
                    <a:pt x="50" y="17"/>
                    <a:pt x="55" y="18"/>
                  </a:cubicBezTo>
                  <a:cubicBezTo>
                    <a:pt x="85" y="22"/>
                    <a:pt x="85" y="22"/>
                    <a:pt x="85" y="22"/>
                  </a:cubicBezTo>
                  <a:cubicBezTo>
                    <a:pt x="5" y="81"/>
                    <a:pt x="5" y="81"/>
                    <a:pt x="5" y="81"/>
                  </a:cubicBezTo>
                  <a:cubicBezTo>
                    <a:pt x="1" y="84"/>
                    <a:pt x="0" y="89"/>
                    <a:pt x="3" y="93"/>
                  </a:cubicBezTo>
                  <a:cubicBezTo>
                    <a:pt x="4" y="95"/>
                    <a:pt x="6" y="96"/>
                    <a:pt x="8" y="96"/>
                  </a:cubicBezTo>
                  <a:cubicBezTo>
                    <a:pt x="10" y="97"/>
                    <a:pt x="13" y="96"/>
                    <a:pt x="15" y="95"/>
                  </a:cubicBezTo>
                  <a:cubicBezTo>
                    <a:pt x="95" y="36"/>
                    <a:pt x="95" y="36"/>
                    <a:pt x="95" y="36"/>
                  </a:cubicBezTo>
                  <a:cubicBezTo>
                    <a:pt x="90" y="66"/>
                    <a:pt x="90" y="66"/>
                    <a:pt x="90" y="66"/>
                  </a:cubicBezTo>
                  <a:cubicBezTo>
                    <a:pt x="90" y="71"/>
                    <a:pt x="93" y="75"/>
                    <a:pt x="97" y="76"/>
                  </a:cubicBezTo>
                  <a:cubicBezTo>
                    <a:pt x="102" y="76"/>
                    <a:pt x="106" y="73"/>
                    <a:pt x="107" y="69"/>
                  </a:cubicBezTo>
                  <a:cubicBezTo>
                    <a:pt x="116" y="10"/>
                    <a:pt x="116" y="10"/>
                    <a:pt x="116" y="10"/>
                  </a:cubicBezTo>
                  <a:lnTo>
                    <a:pt x="57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2" name="任意多边形: 形状 161">
              <a:extLst>
                <a:ext uri="{FF2B5EF4-FFF2-40B4-BE49-F238E27FC236}">
                  <a16:creationId xmlns:a16="http://schemas.microsoft.com/office/drawing/2014/main" id="{0FC514CC-815B-48FA-9313-3B641212DA47}"/>
                </a:ext>
              </a:extLst>
            </p:cNvPr>
            <p:cNvSpPr/>
            <p:nvPr/>
          </p:nvSpPr>
          <p:spPr bwMode="auto">
            <a:xfrm>
              <a:off x="9379860" y="5728740"/>
              <a:ext cx="319044" cy="342533"/>
            </a:xfrm>
            <a:custGeom>
              <a:avLst/>
              <a:gdLst>
                <a:gd name="T0" fmla="*/ 90 w 100"/>
                <a:gd name="T1" fmla="*/ 0 h 107"/>
                <a:gd name="T2" fmla="*/ 10 w 100"/>
                <a:gd name="T3" fmla="*/ 0 h 107"/>
                <a:gd name="T4" fmla="*/ 0 w 100"/>
                <a:gd name="T5" fmla="*/ 10 h 107"/>
                <a:gd name="T6" fmla="*/ 0 w 100"/>
                <a:gd name="T7" fmla="*/ 97 h 107"/>
                <a:gd name="T8" fmla="*/ 10 w 100"/>
                <a:gd name="T9" fmla="*/ 107 h 107"/>
                <a:gd name="T10" fmla="*/ 90 w 100"/>
                <a:gd name="T11" fmla="*/ 107 h 107"/>
                <a:gd name="T12" fmla="*/ 100 w 100"/>
                <a:gd name="T13" fmla="*/ 97 h 107"/>
                <a:gd name="T14" fmla="*/ 100 w 100"/>
                <a:gd name="T15" fmla="*/ 10 h 107"/>
                <a:gd name="T16" fmla="*/ 90 w 100"/>
                <a:gd name="T17" fmla="*/ 0 h 107"/>
                <a:gd name="T18" fmla="*/ 86 w 100"/>
                <a:gd name="T19" fmla="*/ 93 h 107"/>
                <a:gd name="T20" fmla="*/ 13 w 100"/>
                <a:gd name="T21" fmla="*/ 93 h 107"/>
                <a:gd name="T22" fmla="*/ 13 w 100"/>
                <a:gd name="T23" fmla="*/ 13 h 107"/>
                <a:gd name="T24" fmla="*/ 86 w 100"/>
                <a:gd name="T25" fmla="*/ 13 h 107"/>
                <a:gd name="T26" fmla="*/ 86 w 100"/>
                <a:gd name="T27" fmla="*/ 93 h 107"/>
                <a:gd name="T28" fmla="*/ 26 w 100"/>
                <a:gd name="T29" fmla="*/ 47 h 107"/>
                <a:gd name="T30" fmla="*/ 73 w 100"/>
                <a:gd name="T31" fmla="*/ 47 h 107"/>
                <a:gd name="T32" fmla="*/ 73 w 100"/>
                <a:gd name="T33" fmla="*/ 53 h 107"/>
                <a:gd name="T34" fmla="*/ 26 w 100"/>
                <a:gd name="T35" fmla="*/ 53 h 107"/>
                <a:gd name="T36" fmla="*/ 26 w 100"/>
                <a:gd name="T37" fmla="*/ 47 h 107"/>
                <a:gd name="T38" fmla="*/ 26 w 100"/>
                <a:gd name="T39" fmla="*/ 60 h 107"/>
                <a:gd name="T40" fmla="*/ 73 w 100"/>
                <a:gd name="T41" fmla="*/ 60 h 107"/>
                <a:gd name="T42" fmla="*/ 73 w 100"/>
                <a:gd name="T43" fmla="*/ 67 h 107"/>
                <a:gd name="T44" fmla="*/ 26 w 100"/>
                <a:gd name="T45" fmla="*/ 67 h 107"/>
                <a:gd name="T46" fmla="*/ 26 w 100"/>
                <a:gd name="T47" fmla="*/ 60 h 107"/>
                <a:gd name="T48" fmla="*/ 26 w 100"/>
                <a:gd name="T49" fmla="*/ 73 h 107"/>
                <a:gd name="T50" fmla="*/ 73 w 100"/>
                <a:gd name="T51" fmla="*/ 73 h 107"/>
                <a:gd name="T52" fmla="*/ 73 w 100"/>
                <a:gd name="T53" fmla="*/ 80 h 107"/>
                <a:gd name="T54" fmla="*/ 26 w 100"/>
                <a:gd name="T55" fmla="*/ 80 h 107"/>
                <a:gd name="T56" fmla="*/ 26 w 100"/>
                <a:gd name="T57" fmla="*/ 73 h 107"/>
                <a:gd name="T58" fmla="*/ 26 w 100"/>
                <a:gd name="T59" fmla="*/ 33 h 107"/>
                <a:gd name="T60" fmla="*/ 73 w 100"/>
                <a:gd name="T61" fmla="*/ 33 h 107"/>
                <a:gd name="T62" fmla="*/ 73 w 100"/>
                <a:gd name="T63" fmla="*/ 40 h 107"/>
                <a:gd name="T64" fmla="*/ 26 w 100"/>
                <a:gd name="T65" fmla="*/ 40 h 107"/>
                <a:gd name="T66" fmla="*/ 26 w 100"/>
                <a:gd name="T67" fmla="*/ 33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0" h="107">
                  <a:moveTo>
                    <a:pt x="90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0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102"/>
                    <a:pt x="4" y="107"/>
                    <a:pt x="10" y="107"/>
                  </a:cubicBezTo>
                  <a:cubicBezTo>
                    <a:pt x="90" y="107"/>
                    <a:pt x="90" y="107"/>
                    <a:pt x="90" y="107"/>
                  </a:cubicBezTo>
                  <a:cubicBezTo>
                    <a:pt x="95" y="107"/>
                    <a:pt x="100" y="102"/>
                    <a:pt x="100" y="97"/>
                  </a:cubicBezTo>
                  <a:cubicBezTo>
                    <a:pt x="100" y="10"/>
                    <a:pt x="100" y="10"/>
                    <a:pt x="100" y="10"/>
                  </a:cubicBezTo>
                  <a:cubicBezTo>
                    <a:pt x="100" y="5"/>
                    <a:pt x="95" y="0"/>
                    <a:pt x="90" y="0"/>
                  </a:cubicBezTo>
                  <a:close/>
                  <a:moveTo>
                    <a:pt x="86" y="93"/>
                  </a:moveTo>
                  <a:cubicBezTo>
                    <a:pt x="13" y="93"/>
                    <a:pt x="13" y="93"/>
                    <a:pt x="13" y="93"/>
                  </a:cubicBezTo>
                  <a:cubicBezTo>
                    <a:pt x="13" y="13"/>
                    <a:pt x="13" y="13"/>
                    <a:pt x="13" y="13"/>
                  </a:cubicBezTo>
                  <a:cubicBezTo>
                    <a:pt x="86" y="13"/>
                    <a:pt x="86" y="13"/>
                    <a:pt x="86" y="13"/>
                  </a:cubicBezTo>
                  <a:lnTo>
                    <a:pt x="86" y="93"/>
                  </a:lnTo>
                  <a:close/>
                  <a:moveTo>
                    <a:pt x="26" y="47"/>
                  </a:moveTo>
                  <a:cubicBezTo>
                    <a:pt x="73" y="47"/>
                    <a:pt x="73" y="47"/>
                    <a:pt x="73" y="47"/>
                  </a:cubicBezTo>
                  <a:cubicBezTo>
                    <a:pt x="73" y="53"/>
                    <a:pt x="73" y="53"/>
                    <a:pt x="73" y="53"/>
                  </a:cubicBezTo>
                  <a:cubicBezTo>
                    <a:pt x="26" y="53"/>
                    <a:pt x="26" y="53"/>
                    <a:pt x="26" y="53"/>
                  </a:cubicBezTo>
                  <a:lnTo>
                    <a:pt x="26" y="47"/>
                  </a:lnTo>
                  <a:close/>
                  <a:moveTo>
                    <a:pt x="26" y="60"/>
                  </a:moveTo>
                  <a:cubicBezTo>
                    <a:pt x="73" y="60"/>
                    <a:pt x="73" y="60"/>
                    <a:pt x="73" y="60"/>
                  </a:cubicBezTo>
                  <a:cubicBezTo>
                    <a:pt x="73" y="67"/>
                    <a:pt x="73" y="67"/>
                    <a:pt x="73" y="67"/>
                  </a:cubicBezTo>
                  <a:cubicBezTo>
                    <a:pt x="26" y="67"/>
                    <a:pt x="26" y="67"/>
                    <a:pt x="26" y="67"/>
                  </a:cubicBezTo>
                  <a:lnTo>
                    <a:pt x="26" y="60"/>
                  </a:lnTo>
                  <a:close/>
                  <a:moveTo>
                    <a:pt x="26" y="73"/>
                  </a:moveTo>
                  <a:cubicBezTo>
                    <a:pt x="73" y="73"/>
                    <a:pt x="73" y="73"/>
                    <a:pt x="73" y="73"/>
                  </a:cubicBezTo>
                  <a:cubicBezTo>
                    <a:pt x="73" y="80"/>
                    <a:pt x="73" y="80"/>
                    <a:pt x="73" y="80"/>
                  </a:cubicBezTo>
                  <a:cubicBezTo>
                    <a:pt x="26" y="80"/>
                    <a:pt x="26" y="80"/>
                    <a:pt x="26" y="80"/>
                  </a:cubicBezTo>
                  <a:lnTo>
                    <a:pt x="26" y="73"/>
                  </a:lnTo>
                  <a:close/>
                  <a:moveTo>
                    <a:pt x="26" y="33"/>
                  </a:moveTo>
                  <a:cubicBezTo>
                    <a:pt x="73" y="33"/>
                    <a:pt x="73" y="33"/>
                    <a:pt x="73" y="33"/>
                  </a:cubicBezTo>
                  <a:cubicBezTo>
                    <a:pt x="73" y="40"/>
                    <a:pt x="73" y="40"/>
                    <a:pt x="73" y="40"/>
                  </a:cubicBezTo>
                  <a:cubicBezTo>
                    <a:pt x="26" y="40"/>
                    <a:pt x="26" y="40"/>
                    <a:pt x="26" y="40"/>
                  </a:cubicBezTo>
                  <a:lnTo>
                    <a:pt x="26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3" name="任意多边形: 形状 162">
              <a:extLst>
                <a:ext uri="{FF2B5EF4-FFF2-40B4-BE49-F238E27FC236}">
                  <a16:creationId xmlns:a16="http://schemas.microsoft.com/office/drawing/2014/main" id="{9C08853C-745A-4F88-9E5A-BF1925DB3992}"/>
                </a:ext>
              </a:extLst>
            </p:cNvPr>
            <p:cNvSpPr/>
            <p:nvPr/>
          </p:nvSpPr>
          <p:spPr bwMode="auto">
            <a:xfrm>
              <a:off x="9781111" y="5771801"/>
              <a:ext cx="366021" cy="364064"/>
            </a:xfrm>
            <a:custGeom>
              <a:avLst/>
              <a:gdLst>
                <a:gd name="T0" fmla="*/ 86 w 114"/>
                <a:gd name="T1" fmla="*/ 72 h 114"/>
                <a:gd name="T2" fmla="*/ 66 w 114"/>
                <a:gd name="T3" fmla="*/ 52 h 114"/>
                <a:gd name="T4" fmla="*/ 114 w 114"/>
                <a:gd name="T5" fmla="*/ 16 h 114"/>
                <a:gd name="T6" fmla="*/ 100 w 114"/>
                <a:gd name="T7" fmla="*/ 2 h 114"/>
                <a:gd name="T8" fmla="*/ 40 w 114"/>
                <a:gd name="T9" fmla="*/ 26 h 114"/>
                <a:gd name="T10" fmla="*/ 21 w 114"/>
                <a:gd name="T11" fmla="*/ 7 h 114"/>
                <a:gd name="T12" fmla="*/ 4 w 114"/>
                <a:gd name="T13" fmla="*/ 4 h 114"/>
                <a:gd name="T14" fmla="*/ 7 w 114"/>
                <a:gd name="T15" fmla="*/ 21 h 114"/>
                <a:gd name="T16" fmla="*/ 26 w 114"/>
                <a:gd name="T17" fmla="*/ 40 h 114"/>
                <a:gd name="T18" fmla="*/ 2 w 114"/>
                <a:gd name="T19" fmla="*/ 100 h 114"/>
                <a:gd name="T20" fmla="*/ 16 w 114"/>
                <a:gd name="T21" fmla="*/ 114 h 114"/>
                <a:gd name="T22" fmla="*/ 52 w 114"/>
                <a:gd name="T23" fmla="*/ 66 h 114"/>
                <a:gd name="T24" fmla="*/ 72 w 114"/>
                <a:gd name="T25" fmla="*/ 86 h 114"/>
                <a:gd name="T26" fmla="*/ 72 w 114"/>
                <a:gd name="T27" fmla="*/ 114 h 114"/>
                <a:gd name="T28" fmla="*/ 86 w 114"/>
                <a:gd name="T29" fmla="*/ 114 h 114"/>
                <a:gd name="T30" fmla="*/ 93 w 114"/>
                <a:gd name="T31" fmla="*/ 93 h 114"/>
                <a:gd name="T32" fmla="*/ 114 w 114"/>
                <a:gd name="T33" fmla="*/ 86 h 114"/>
                <a:gd name="T34" fmla="*/ 114 w 114"/>
                <a:gd name="T35" fmla="*/ 72 h 114"/>
                <a:gd name="T36" fmla="*/ 86 w 114"/>
                <a:gd name="T37" fmla="*/ 7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4" h="114">
                  <a:moveTo>
                    <a:pt x="86" y="72"/>
                  </a:moveTo>
                  <a:cubicBezTo>
                    <a:pt x="66" y="52"/>
                    <a:pt x="66" y="52"/>
                    <a:pt x="66" y="52"/>
                  </a:cubicBezTo>
                  <a:cubicBezTo>
                    <a:pt x="114" y="16"/>
                    <a:pt x="114" y="16"/>
                    <a:pt x="114" y="16"/>
                  </a:cubicBezTo>
                  <a:cubicBezTo>
                    <a:pt x="100" y="2"/>
                    <a:pt x="100" y="2"/>
                    <a:pt x="100" y="2"/>
                  </a:cubicBezTo>
                  <a:cubicBezTo>
                    <a:pt x="40" y="26"/>
                    <a:pt x="40" y="26"/>
                    <a:pt x="40" y="26"/>
                  </a:cubicBezTo>
                  <a:cubicBezTo>
                    <a:pt x="21" y="7"/>
                    <a:pt x="21" y="7"/>
                    <a:pt x="21" y="7"/>
                  </a:cubicBezTo>
                  <a:cubicBezTo>
                    <a:pt x="16" y="2"/>
                    <a:pt x="8" y="0"/>
                    <a:pt x="4" y="4"/>
                  </a:cubicBezTo>
                  <a:cubicBezTo>
                    <a:pt x="0" y="8"/>
                    <a:pt x="2" y="16"/>
                    <a:pt x="7" y="21"/>
                  </a:cubicBezTo>
                  <a:cubicBezTo>
                    <a:pt x="26" y="40"/>
                    <a:pt x="26" y="40"/>
                    <a:pt x="26" y="40"/>
                  </a:cubicBezTo>
                  <a:cubicBezTo>
                    <a:pt x="2" y="100"/>
                    <a:pt x="2" y="100"/>
                    <a:pt x="2" y="100"/>
                  </a:cubicBezTo>
                  <a:cubicBezTo>
                    <a:pt x="16" y="114"/>
                    <a:pt x="16" y="114"/>
                    <a:pt x="16" y="114"/>
                  </a:cubicBezTo>
                  <a:cubicBezTo>
                    <a:pt x="52" y="66"/>
                    <a:pt x="52" y="66"/>
                    <a:pt x="52" y="66"/>
                  </a:cubicBezTo>
                  <a:cubicBezTo>
                    <a:pt x="72" y="86"/>
                    <a:pt x="72" y="86"/>
                    <a:pt x="72" y="86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86" y="114"/>
                    <a:pt x="86" y="114"/>
                    <a:pt x="86" y="114"/>
                  </a:cubicBezTo>
                  <a:cubicBezTo>
                    <a:pt x="93" y="93"/>
                    <a:pt x="93" y="93"/>
                    <a:pt x="93" y="93"/>
                  </a:cubicBezTo>
                  <a:cubicBezTo>
                    <a:pt x="114" y="86"/>
                    <a:pt x="114" y="86"/>
                    <a:pt x="114" y="86"/>
                  </a:cubicBezTo>
                  <a:cubicBezTo>
                    <a:pt x="114" y="72"/>
                    <a:pt x="114" y="72"/>
                    <a:pt x="114" y="72"/>
                  </a:cubicBezTo>
                  <a:cubicBezTo>
                    <a:pt x="86" y="72"/>
                    <a:pt x="86" y="72"/>
                    <a:pt x="8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4" name="任意多边形: 形状 163">
              <a:extLst>
                <a:ext uri="{FF2B5EF4-FFF2-40B4-BE49-F238E27FC236}">
                  <a16:creationId xmlns:a16="http://schemas.microsoft.com/office/drawing/2014/main" id="{1F51B54C-1785-4B28-AC06-3DE4204A410D}"/>
                </a:ext>
              </a:extLst>
            </p:cNvPr>
            <p:cNvSpPr/>
            <p:nvPr/>
          </p:nvSpPr>
          <p:spPr bwMode="auto">
            <a:xfrm>
              <a:off x="9804599" y="6221988"/>
              <a:ext cx="344490" cy="281856"/>
            </a:xfrm>
            <a:custGeom>
              <a:avLst/>
              <a:gdLst>
                <a:gd name="T0" fmla="*/ 108 w 108"/>
                <a:gd name="T1" fmla="*/ 11 h 88"/>
                <a:gd name="T2" fmla="*/ 96 w 108"/>
                <a:gd name="T3" fmla="*/ 14 h 88"/>
                <a:gd name="T4" fmla="*/ 105 w 108"/>
                <a:gd name="T5" fmla="*/ 2 h 88"/>
                <a:gd name="T6" fmla="*/ 91 w 108"/>
                <a:gd name="T7" fmla="*/ 7 h 88"/>
                <a:gd name="T8" fmla="*/ 75 w 108"/>
                <a:gd name="T9" fmla="*/ 0 h 88"/>
                <a:gd name="T10" fmla="*/ 53 w 108"/>
                <a:gd name="T11" fmla="*/ 22 h 88"/>
                <a:gd name="T12" fmla="*/ 54 w 108"/>
                <a:gd name="T13" fmla="*/ 27 h 88"/>
                <a:gd name="T14" fmla="*/ 8 w 108"/>
                <a:gd name="T15" fmla="*/ 4 h 88"/>
                <a:gd name="T16" fmla="*/ 5 w 108"/>
                <a:gd name="T17" fmla="*/ 15 h 88"/>
                <a:gd name="T18" fmla="*/ 15 w 108"/>
                <a:gd name="T19" fmla="*/ 34 h 88"/>
                <a:gd name="T20" fmla="*/ 5 w 108"/>
                <a:gd name="T21" fmla="*/ 31 h 88"/>
                <a:gd name="T22" fmla="*/ 5 w 108"/>
                <a:gd name="T23" fmla="*/ 31 h 88"/>
                <a:gd name="T24" fmla="*/ 23 w 108"/>
                <a:gd name="T25" fmla="*/ 53 h 88"/>
                <a:gd name="T26" fmla="*/ 17 w 108"/>
                <a:gd name="T27" fmla="*/ 54 h 88"/>
                <a:gd name="T28" fmla="*/ 13 w 108"/>
                <a:gd name="T29" fmla="*/ 53 h 88"/>
                <a:gd name="T30" fmla="*/ 33 w 108"/>
                <a:gd name="T31" fmla="*/ 69 h 88"/>
                <a:gd name="T32" fmla="*/ 6 w 108"/>
                <a:gd name="T33" fmla="*/ 78 h 88"/>
                <a:gd name="T34" fmla="*/ 0 w 108"/>
                <a:gd name="T35" fmla="*/ 78 h 88"/>
                <a:gd name="T36" fmla="*/ 34 w 108"/>
                <a:gd name="T37" fmla="*/ 88 h 88"/>
                <a:gd name="T38" fmla="*/ 97 w 108"/>
                <a:gd name="T39" fmla="*/ 25 h 88"/>
                <a:gd name="T40" fmla="*/ 97 w 108"/>
                <a:gd name="T41" fmla="*/ 22 h 88"/>
                <a:gd name="T42" fmla="*/ 108 w 108"/>
                <a:gd name="T43" fmla="*/ 11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08" h="88">
                  <a:moveTo>
                    <a:pt x="108" y="11"/>
                  </a:moveTo>
                  <a:cubicBezTo>
                    <a:pt x="104" y="12"/>
                    <a:pt x="100" y="13"/>
                    <a:pt x="96" y="14"/>
                  </a:cubicBezTo>
                  <a:cubicBezTo>
                    <a:pt x="100" y="11"/>
                    <a:pt x="104" y="7"/>
                    <a:pt x="105" y="2"/>
                  </a:cubicBezTo>
                  <a:cubicBezTo>
                    <a:pt x="101" y="4"/>
                    <a:pt x="96" y="6"/>
                    <a:pt x="91" y="7"/>
                  </a:cubicBezTo>
                  <a:cubicBezTo>
                    <a:pt x="87" y="3"/>
                    <a:pt x="81" y="0"/>
                    <a:pt x="75" y="0"/>
                  </a:cubicBezTo>
                  <a:cubicBezTo>
                    <a:pt x="63" y="0"/>
                    <a:pt x="53" y="10"/>
                    <a:pt x="53" y="22"/>
                  </a:cubicBezTo>
                  <a:cubicBezTo>
                    <a:pt x="53" y="24"/>
                    <a:pt x="53" y="26"/>
                    <a:pt x="54" y="27"/>
                  </a:cubicBezTo>
                  <a:cubicBezTo>
                    <a:pt x="35" y="26"/>
                    <a:pt x="19" y="18"/>
                    <a:pt x="8" y="4"/>
                  </a:cubicBezTo>
                  <a:cubicBezTo>
                    <a:pt x="6" y="7"/>
                    <a:pt x="5" y="11"/>
                    <a:pt x="5" y="15"/>
                  </a:cubicBezTo>
                  <a:cubicBezTo>
                    <a:pt x="5" y="23"/>
                    <a:pt x="9" y="30"/>
                    <a:pt x="15" y="34"/>
                  </a:cubicBezTo>
                  <a:cubicBezTo>
                    <a:pt x="11" y="34"/>
                    <a:pt x="8" y="33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42"/>
                    <a:pt x="12" y="51"/>
                    <a:pt x="23" y="53"/>
                  </a:cubicBezTo>
                  <a:cubicBezTo>
                    <a:pt x="21" y="53"/>
                    <a:pt x="19" y="54"/>
                    <a:pt x="17" y="54"/>
                  </a:cubicBezTo>
                  <a:cubicBezTo>
                    <a:pt x="15" y="54"/>
                    <a:pt x="14" y="54"/>
                    <a:pt x="13" y="53"/>
                  </a:cubicBezTo>
                  <a:cubicBezTo>
                    <a:pt x="15" y="62"/>
                    <a:pt x="23" y="69"/>
                    <a:pt x="33" y="69"/>
                  </a:cubicBezTo>
                  <a:cubicBezTo>
                    <a:pt x="26" y="75"/>
                    <a:pt x="16" y="78"/>
                    <a:pt x="6" y="78"/>
                  </a:cubicBezTo>
                  <a:cubicBezTo>
                    <a:pt x="4" y="78"/>
                    <a:pt x="2" y="78"/>
                    <a:pt x="0" y="78"/>
                  </a:cubicBezTo>
                  <a:cubicBezTo>
                    <a:pt x="10" y="84"/>
                    <a:pt x="22" y="88"/>
                    <a:pt x="34" y="88"/>
                  </a:cubicBezTo>
                  <a:cubicBezTo>
                    <a:pt x="75" y="88"/>
                    <a:pt x="97" y="54"/>
                    <a:pt x="97" y="25"/>
                  </a:cubicBezTo>
                  <a:cubicBezTo>
                    <a:pt x="97" y="24"/>
                    <a:pt x="97" y="23"/>
                    <a:pt x="97" y="22"/>
                  </a:cubicBezTo>
                  <a:cubicBezTo>
                    <a:pt x="102" y="19"/>
                    <a:pt x="105" y="15"/>
                    <a:pt x="108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5" name="任意多边形: 形状 164">
              <a:extLst>
                <a:ext uri="{FF2B5EF4-FFF2-40B4-BE49-F238E27FC236}">
                  <a16:creationId xmlns:a16="http://schemas.microsoft.com/office/drawing/2014/main" id="{642F8448-248A-4EB9-BBF9-1B0514E0D697}"/>
                </a:ext>
              </a:extLst>
            </p:cNvPr>
            <p:cNvSpPr/>
            <p:nvPr/>
          </p:nvSpPr>
          <p:spPr bwMode="auto">
            <a:xfrm>
              <a:off x="10315464" y="6398147"/>
              <a:ext cx="242709" cy="252496"/>
            </a:xfrm>
            <a:custGeom>
              <a:avLst/>
              <a:gdLst>
                <a:gd name="T0" fmla="*/ 66 w 124"/>
                <a:gd name="T1" fmla="*/ 0 h 129"/>
                <a:gd name="T2" fmla="*/ 66 w 124"/>
                <a:gd name="T3" fmla="*/ 59 h 129"/>
                <a:gd name="T4" fmla="*/ 124 w 124"/>
                <a:gd name="T5" fmla="*/ 0 h 129"/>
                <a:gd name="T6" fmla="*/ 124 w 124"/>
                <a:gd name="T7" fmla="*/ 129 h 129"/>
                <a:gd name="T8" fmla="*/ 66 w 124"/>
                <a:gd name="T9" fmla="*/ 70 h 129"/>
                <a:gd name="T10" fmla="*/ 66 w 124"/>
                <a:gd name="T11" fmla="*/ 129 h 129"/>
                <a:gd name="T12" fmla="*/ 0 w 124"/>
                <a:gd name="T13" fmla="*/ 64 h 129"/>
                <a:gd name="T14" fmla="*/ 66 w 124"/>
                <a:gd name="T15" fmla="*/ 0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4" h="129">
                  <a:moveTo>
                    <a:pt x="66" y="0"/>
                  </a:moveTo>
                  <a:lnTo>
                    <a:pt x="66" y="59"/>
                  </a:lnTo>
                  <a:lnTo>
                    <a:pt x="124" y="0"/>
                  </a:lnTo>
                  <a:lnTo>
                    <a:pt x="124" y="129"/>
                  </a:lnTo>
                  <a:lnTo>
                    <a:pt x="66" y="70"/>
                  </a:lnTo>
                  <a:lnTo>
                    <a:pt x="66" y="129"/>
                  </a:lnTo>
                  <a:lnTo>
                    <a:pt x="0" y="64"/>
                  </a:lnTo>
                  <a:lnTo>
                    <a:pt x="6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6" name="任意多边形: 形状 165">
              <a:extLst>
                <a:ext uri="{FF2B5EF4-FFF2-40B4-BE49-F238E27FC236}">
                  <a16:creationId xmlns:a16="http://schemas.microsoft.com/office/drawing/2014/main" id="{EA15B60C-90A9-4263-A9A2-351240BE5ABA}"/>
                </a:ext>
              </a:extLst>
            </p:cNvPr>
            <p:cNvSpPr/>
            <p:nvPr/>
          </p:nvSpPr>
          <p:spPr bwMode="auto">
            <a:xfrm>
              <a:off x="9877020" y="6449038"/>
              <a:ext cx="366021" cy="364064"/>
            </a:xfrm>
            <a:custGeom>
              <a:avLst/>
              <a:gdLst>
                <a:gd name="T0" fmla="*/ 0 w 114"/>
                <a:gd name="T1" fmla="*/ 83 h 114"/>
                <a:gd name="T2" fmla="*/ 10 w 114"/>
                <a:gd name="T3" fmla="*/ 93 h 114"/>
                <a:gd name="T4" fmla="*/ 30 w 114"/>
                <a:gd name="T5" fmla="*/ 73 h 114"/>
                <a:gd name="T6" fmla="*/ 41 w 114"/>
                <a:gd name="T7" fmla="*/ 84 h 114"/>
                <a:gd name="T8" fmla="*/ 21 w 114"/>
                <a:gd name="T9" fmla="*/ 104 h 114"/>
                <a:gd name="T10" fmla="*/ 31 w 114"/>
                <a:gd name="T11" fmla="*/ 114 h 114"/>
                <a:gd name="T12" fmla="*/ 51 w 114"/>
                <a:gd name="T13" fmla="*/ 94 h 114"/>
                <a:gd name="T14" fmla="*/ 64 w 114"/>
                <a:gd name="T15" fmla="*/ 107 h 114"/>
                <a:gd name="T16" fmla="*/ 74 w 114"/>
                <a:gd name="T17" fmla="*/ 97 h 114"/>
                <a:gd name="T18" fmla="*/ 17 w 114"/>
                <a:gd name="T19" fmla="*/ 40 h 114"/>
                <a:gd name="T20" fmla="*/ 7 w 114"/>
                <a:gd name="T21" fmla="*/ 50 h 114"/>
                <a:gd name="T22" fmla="*/ 20 w 114"/>
                <a:gd name="T23" fmla="*/ 63 h 114"/>
                <a:gd name="T24" fmla="*/ 0 w 114"/>
                <a:gd name="T25" fmla="*/ 83 h 114"/>
                <a:gd name="T26" fmla="*/ 84 w 114"/>
                <a:gd name="T27" fmla="*/ 30 h 114"/>
                <a:gd name="T28" fmla="*/ 26 w 114"/>
                <a:gd name="T29" fmla="*/ 39 h 114"/>
                <a:gd name="T30" fmla="*/ 75 w 114"/>
                <a:gd name="T31" fmla="*/ 88 h 114"/>
                <a:gd name="T32" fmla="*/ 84 w 114"/>
                <a:gd name="T33" fmla="*/ 30 h 114"/>
                <a:gd name="T34" fmla="*/ 93 w 114"/>
                <a:gd name="T35" fmla="*/ 35 h 114"/>
                <a:gd name="T36" fmla="*/ 79 w 114"/>
                <a:gd name="T37" fmla="*/ 21 h 114"/>
                <a:gd name="T38" fmla="*/ 100 w 114"/>
                <a:gd name="T39" fmla="*/ 0 h 114"/>
                <a:gd name="T40" fmla="*/ 114 w 114"/>
                <a:gd name="T41" fmla="*/ 14 h 114"/>
                <a:gd name="T42" fmla="*/ 93 w 114"/>
                <a:gd name="T43" fmla="*/ 35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4" h="114">
                  <a:moveTo>
                    <a:pt x="0" y="83"/>
                  </a:moveTo>
                  <a:cubicBezTo>
                    <a:pt x="10" y="93"/>
                    <a:pt x="10" y="93"/>
                    <a:pt x="10" y="93"/>
                  </a:cubicBezTo>
                  <a:cubicBezTo>
                    <a:pt x="30" y="73"/>
                    <a:pt x="30" y="73"/>
                    <a:pt x="30" y="73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21" y="104"/>
                    <a:pt x="21" y="104"/>
                    <a:pt x="21" y="104"/>
                  </a:cubicBezTo>
                  <a:cubicBezTo>
                    <a:pt x="31" y="114"/>
                    <a:pt x="31" y="114"/>
                    <a:pt x="31" y="114"/>
                  </a:cubicBezTo>
                  <a:cubicBezTo>
                    <a:pt x="51" y="94"/>
                    <a:pt x="51" y="94"/>
                    <a:pt x="51" y="94"/>
                  </a:cubicBezTo>
                  <a:cubicBezTo>
                    <a:pt x="64" y="107"/>
                    <a:pt x="64" y="107"/>
                    <a:pt x="64" y="107"/>
                  </a:cubicBezTo>
                  <a:cubicBezTo>
                    <a:pt x="74" y="97"/>
                    <a:pt x="74" y="97"/>
                    <a:pt x="74" y="97"/>
                  </a:cubicBezTo>
                  <a:cubicBezTo>
                    <a:pt x="17" y="40"/>
                    <a:pt x="17" y="40"/>
                    <a:pt x="17" y="40"/>
                  </a:cubicBezTo>
                  <a:cubicBezTo>
                    <a:pt x="7" y="50"/>
                    <a:pt x="7" y="50"/>
                    <a:pt x="7" y="50"/>
                  </a:cubicBezTo>
                  <a:cubicBezTo>
                    <a:pt x="20" y="63"/>
                    <a:pt x="20" y="63"/>
                    <a:pt x="20" y="63"/>
                  </a:cubicBezTo>
                  <a:lnTo>
                    <a:pt x="0" y="83"/>
                  </a:lnTo>
                  <a:close/>
                  <a:moveTo>
                    <a:pt x="84" y="30"/>
                  </a:moveTo>
                  <a:cubicBezTo>
                    <a:pt x="65" y="12"/>
                    <a:pt x="41" y="26"/>
                    <a:pt x="26" y="39"/>
                  </a:cubicBezTo>
                  <a:cubicBezTo>
                    <a:pt x="75" y="88"/>
                    <a:pt x="75" y="88"/>
                    <a:pt x="75" y="88"/>
                  </a:cubicBezTo>
                  <a:cubicBezTo>
                    <a:pt x="88" y="73"/>
                    <a:pt x="102" y="49"/>
                    <a:pt x="84" y="30"/>
                  </a:cubicBezTo>
                  <a:close/>
                  <a:moveTo>
                    <a:pt x="93" y="35"/>
                  </a:moveTo>
                  <a:cubicBezTo>
                    <a:pt x="79" y="21"/>
                    <a:pt x="79" y="21"/>
                    <a:pt x="79" y="21"/>
                  </a:cubicBezTo>
                  <a:cubicBezTo>
                    <a:pt x="100" y="0"/>
                    <a:pt x="100" y="0"/>
                    <a:pt x="100" y="0"/>
                  </a:cubicBezTo>
                  <a:cubicBezTo>
                    <a:pt x="114" y="14"/>
                    <a:pt x="114" y="14"/>
                    <a:pt x="114" y="14"/>
                  </a:cubicBezTo>
                  <a:lnTo>
                    <a:pt x="93" y="3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7" name="任意多边形: 形状 166">
              <a:extLst>
                <a:ext uri="{FF2B5EF4-FFF2-40B4-BE49-F238E27FC236}">
                  <a16:creationId xmlns:a16="http://schemas.microsoft.com/office/drawing/2014/main" id="{9C924DB4-69DE-433A-A46C-F6EB95438F57}"/>
                </a:ext>
              </a:extLst>
            </p:cNvPr>
            <p:cNvSpPr/>
            <p:nvPr/>
          </p:nvSpPr>
          <p:spPr bwMode="auto">
            <a:xfrm>
              <a:off x="8986436" y="6147608"/>
              <a:ext cx="366021" cy="358192"/>
            </a:xfrm>
            <a:custGeom>
              <a:avLst/>
              <a:gdLst>
                <a:gd name="T0" fmla="*/ 110 w 115"/>
                <a:gd name="T1" fmla="*/ 36 h 112"/>
                <a:gd name="T2" fmla="*/ 86 w 115"/>
                <a:gd name="T3" fmla="*/ 1 h 112"/>
                <a:gd name="T4" fmla="*/ 86 w 115"/>
                <a:gd name="T5" fmla="*/ 1 h 112"/>
                <a:gd name="T6" fmla="*/ 77 w 115"/>
                <a:gd name="T7" fmla="*/ 4 h 112"/>
                <a:gd name="T8" fmla="*/ 32 w 115"/>
                <a:gd name="T9" fmla="*/ 39 h 112"/>
                <a:gd name="T10" fmla="*/ 36 w 115"/>
                <a:gd name="T11" fmla="*/ 56 h 112"/>
                <a:gd name="T12" fmla="*/ 42 w 115"/>
                <a:gd name="T13" fmla="*/ 73 h 112"/>
                <a:gd name="T14" fmla="*/ 98 w 115"/>
                <a:gd name="T15" fmla="*/ 81 h 112"/>
                <a:gd name="T16" fmla="*/ 106 w 115"/>
                <a:gd name="T17" fmla="*/ 78 h 112"/>
                <a:gd name="T18" fmla="*/ 106 w 115"/>
                <a:gd name="T19" fmla="*/ 79 h 112"/>
                <a:gd name="T20" fmla="*/ 110 w 115"/>
                <a:gd name="T21" fmla="*/ 36 h 112"/>
                <a:gd name="T22" fmla="*/ 102 w 115"/>
                <a:gd name="T23" fmla="*/ 73 h 112"/>
                <a:gd name="T24" fmla="*/ 99 w 115"/>
                <a:gd name="T25" fmla="*/ 73 h 112"/>
                <a:gd name="T26" fmla="*/ 93 w 115"/>
                <a:gd name="T27" fmla="*/ 67 h 112"/>
                <a:gd name="T28" fmla="*/ 83 w 115"/>
                <a:gd name="T29" fmla="*/ 43 h 112"/>
                <a:gd name="T30" fmla="*/ 80 w 115"/>
                <a:gd name="T31" fmla="*/ 18 h 112"/>
                <a:gd name="T32" fmla="*/ 82 w 115"/>
                <a:gd name="T33" fmla="*/ 10 h 112"/>
                <a:gd name="T34" fmla="*/ 84 w 115"/>
                <a:gd name="T35" fmla="*/ 8 h 112"/>
                <a:gd name="T36" fmla="*/ 87 w 115"/>
                <a:gd name="T37" fmla="*/ 9 h 112"/>
                <a:gd name="T38" fmla="*/ 93 w 115"/>
                <a:gd name="T39" fmla="*/ 15 h 112"/>
                <a:gd name="T40" fmla="*/ 103 w 115"/>
                <a:gd name="T41" fmla="*/ 38 h 112"/>
                <a:gd name="T42" fmla="*/ 106 w 115"/>
                <a:gd name="T43" fmla="*/ 63 h 112"/>
                <a:gd name="T44" fmla="*/ 104 w 115"/>
                <a:gd name="T45" fmla="*/ 71 h 112"/>
                <a:gd name="T46" fmla="*/ 102 w 115"/>
                <a:gd name="T47" fmla="*/ 73 h 112"/>
                <a:gd name="T48" fmla="*/ 28 w 115"/>
                <a:gd name="T49" fmla="*/ 58 h 112"/>
                <a:gd name="T50" fmla="*/ 25 w 115"/>
                <a:gd name="T51" fmla="*/ 42 h 112"/>
                <a:gd name="T52" fmla="*/ 11 w 115"/>
                <a:gd name="T53" fmla="*/ 47 h 112"/>
                <a:gd name="T54" fmla="*/ 4 w 115"/>
                <a:gd name="T55" fmla="*/ 49 h 112"/>
                <a:gd name="T56" fmla="*/ 0 w 115"/>
                <a:gd name="T57" fmla="*/ 61 h 112"/>
                <a:gd name="T58" fmla="*/ 3 w 115"/>
                <a:gd name="T59" fmla="*/ 70 h 112"/>
                <a:gd name="T60" fmla="*/ 11 w 115"/>
                <a:gd name="T61" fmla="*/ 78 h 112"/>
                <a:gd name="T62" fmla="*/ 19 w 115"/>
                <a:gd name="T63" fmla="*/ 76 h 112"/>
                <a:gd name="T64" fmla="*/ 34 w 115"/>
                <a:gd name="T65" fmla="*/ 73 h 112"/>
                <a:gd name="T66" fmla="*/ 28 w 115"/>
                <a:gd name="T67" fmla="*/ 58 h 112"/>
                <a:gd name="T68" fmla="*/ 47 w 115"/>
                <a:gd name="T69" fmla="*/ 77 h 112"/>
                <a:gd name="T70" fmla="*/ 32 w 115"/>
                <a:gd name="T71" fmla="*/ 78 h 112"/>
                <a:gd name="T72" fmla="*/ 50 w 115"/>
                <a:gd name="T73" fmla="*/ 110 h 112"/>
                <a:gd name="T74" fmla="*/ 54 w 115"/>
                <a:gd name="T75" fmla="*/ 111 h 112"/>
                <a:gd name="T76" fmla="*/ 66 w 115"/>
                <a:gd name="T77" fmla="*/ 102 h 112"/>
                <a:gd name="T78" fmla="*/ 66 w 115"/>
                <a:gd name="T79" fmla="*/ 98 h 112"/>
                <a:gd name="T80" fmla="*/ 47 w 115"/>
                <a:gd name="T81" fmla="*/ 77 h 112"/>
                <a:gd name="T82" fmla="*/ 96 w 115"/>
                <a:gd name="T83" fmla="*/ 53 h 112"/>
                <a:gd name="T84" fmla="*/ 95 w 115"/>
                <a:gd name="T85" fmla="*/ 53 h 112"/>
                <a:gd name="T86" fmla="*/ 93 w 115"/>
                <a:gd name="T87" fmla="*/ 51 h 112"/>
                <a:gd name="T88" fmla="*/ 89 w 115"/>
                <a:gd name="T89" fmla="*/ 42 h 112"/>
                <a:gd name="T90" fmla="*/ 88 w 115"/>
                <a:gd name="T91" fmla="*/ 32 h 112"/>
                <a:gd name="T92" fmla="*/ 89 w 115"/>
                <a:gd name="T93" fmla="*/ 29 h 112"/>
                <a:gd name="T94" fmla="*/ 90 w 115"/>
                <a:gd name="T95" fmla="*/ 28 h 112"/>
                <a:gd name="T96" fmla="*/ 91 w 115"/>
                <a:gd name="T97" fmla="*/ 29 h 112"/>
                <a:gd name="T98" fmla="*/ 93 w 115"/>
                <a:gd name="T99" fmla="*/ 31 h 112"/>
                <a:gd name="T100" fmla="*/ 97 w 115"/>
                <a:gd name="T101" fmla="*/ 40 h 112"/>
                <a:gd name="T102" fmla="*/ 98 w 115"/>
                <a:gd name="T103" fmla="*/ 49 h 112"/>
                <a:gd name="T104" fmla="*/ 97 w 115"/>
                <a:gd name="T105" fmla="*/ 52 h 112"/>
                <a:gd name="T106" fmla="*/ 96 w 115"/>
                <a:gd name="T107" fmla="*/ 53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5" h="112">
                  <a:moveTo>
                    <a:pt x="110" y="36"/>
                  </a:moveTo>
                  <a:cubicBezTo>
                    <a:pt x="104" y="15"/>
                    <a:pt x="93" y="0"/>
                    <a:pt x="86" y="1"/>
                  </a:cubicBezTo>
                  <a:cubicBezTo>
                    <a:pt x="86" y="1"/>
                    <a:pt x="86" y="1"/>
                    <a:pt x="86" y="1"/>
                  </a:cubicBezTo>
                  <a:cubicBezTo>
                    <a:pt x="77" y="4"/>
                    <a:pt x="77" y="4"/>
                    <a:pt x="77" y="4"/>
                  </a:cubicBezTo>
                  <a:cubicBezTo>
                    <a:pt x="77" y="4"/>
                    <a:pt x="60" y="25"/>
                    <a:pt x="32" y="39"/>
                  </a:cubicBezTo>
                  <a:cubicBezTo>
                    <a:pt x="33" y="44"/>
                    <a:pt x="34" y="50"/>
                    <a:pt x="36" y="56"/>
                  </a:cubicBezTo>
                  <a:cubicBezTo>
                    <a:pt x="37" y="63"/>
                    <a:pt x="39" y="68"/>
                    <a:pt x="42" y="73"/>
                  </a:cubicBezTo>
                  <a:cubicBezTo>
                    <a:pt x="73" y="71"/>
                    <a:pt x="98" y="81"/>
                    <a:pt x="98" y="81"/>
                  </a:cubicBezTo>
                  <a:cubicBezTo>
                    <a:pt x="106" y="78"/>
                    <a:pt x="106" y="78"/>
                    <a:pt x="106" y="78"/>
                  </a:cubicBezTo>
                  <a:cubicBezTo>
                    <a:pt x="106" y="78"/>
                    <a:pt x="106" y="79"/>
                    <a:pt x="106" y="79"/>
                  </a:cubicBezTo>
                  <a:cubicBezTo>
                    <a:pt x="114" y="76"/>
                    <a:pt x="115" y="57"/>
                    <a:pt x="110" y="36"/>
                  </a:cubicBezTo>
                  <a:close/>
                  <a:moveTo>
                    <a:pt x="102" y="73"/>
                  </a:moveTo>
                  <a:cubicBezTo>
                    <a:pt x="101" y="74"/>
                    <a:pt x="99" y="73"/>
                    <a:pt x="99" y="73"/>
                  </a:cubicBezTo>
                  <a:cubicBezTo>
                    <a:pt x="97" y="71"/>
                    <a:pt x="95" y="69"/>
                    <a:pt x="93" y="67"/>
                  </a:cubicBezTo>
                  <a:cubicBezTo>
                    <a:pt x="89" y="61"/>
                    <a:pt x="85" y="53"/>
                    <a:pt x="83" y="43"/>
                  </a:cubicBezTo>
                  <a:cubicBezTo>
                    <a:pt x="80" y="34"/>
                    <a:pt x="79" y="25"/>
                    <a:pt x="80" y="18"/>
                  </a:cubicBezTo>
                  <a:cubicBezTo>
                    <a:pt x="80" y="15"/>
                    <a:pt x="81" y="12"/>
                    <a:pt x="82" y="10"/>
                  </a:cubicBezTo>
                  <a:cubicBezTo>
                    <a:pt x="82" y="10"/>
                    <a:pt x="83" y="8"/>
                    <a:pt x="84" y="8"/>
                  </a:cubicBezTo>
                  <a:cubicBezTo>
                    <a:pt x="85" y="8"/>
                    <a:pt x="87" y="9"/>
                    <a:pt x="87" y="9"/>
                  </a:cubicBezTo>
                  <a:cubicBezTo>
                    <a:pt x="89" y="10"/>
                    <a:pt x="91" y="12"/>
                    <a:pt x="93" y="15"/>
                  </a:cubicBezTo>
                  <a:cubicBezTo>
                    <a:pt x="97" y="20"/>
                    <a:pt x="101" y="29"/>
                    <a:pt x="103" y="38"/>
                  </a:cubicBezTo>
                  <a:cubicBezTo>
                    <a:pt x="106" y="47"/>
                    <a:pt x="107" y="56"/>
                    <a:pt x="106" y="63"/>
                  </a:cubicBezTo>
                  <a:cubicBezTo>
                    <a:pt x="105" y="67"/>
                    <a:pt x="105" y="69"/>
                    <a:pt x="104" y="71"/>
                  </a:cubicBezTo>
                  <a:cubicBezTo>
                    <a:pt x="103" y="72"/>
                    <a:pt x="103" y="73"/>
                    <a:pt x="102" y="73"/>
                  </a:cubicBezTo>
                  <a:close/>
                  <a:moveTo>
                    <a:pt x="28" y="58"/>
                  </a:moveTo>
                  <a:cubicBezTo>
                    <a:pt x="27" y="53"/>
                    <a:pt x="26" y="47"/>
                    <a:pt x="25" y="42"/>
                  </a:cubicBezTo>
                  <a:cubicBezTo>
                    <a:pt x="20" y="44"/>
                    <a:pt x="16" y="46"/>
                    <a:pt x="11" y="47"/>
                  </a:cubicBezTo>
                  <a:cubicBezTo>
                    <a:pt x="4" y="49"/>
                    <a:pt x="4" y="49"/>
                    <a:pt x="4" y="49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3" y="70"/>
                    <a:pt x="3" y="70"/>
                    <a:pt x="3" y="70"/>
                  </a:cubicBezTo>
                  <a:cubicBezTo>
                    <a:pt x="11" y="78"/>
                    <a:pt x="11" y="78"/>
                    <a:pt x="11" y="78"/>
                  </a:cubicBezTo>
                  <a:cubicBezTo>
                    <a:pt x="11" y="78"/>
                    <a:pt x="11" y="78"/>
                    <a:pt x="19" y="76"/>
                  </a:cubicBezTo>
                  <a:cubicBezTo>
                    <a:pt x="24" y="75"/>
                    <a:pt x="28" y="74"/>
                    <a:pt x="34" y="73"/>
                  </a:cubicBezTo>
                  <a:cubicBezTo>
                    <a:pt x="32" y="69"/>
                    <a:pt x="30" y="64"/>
                    <a:pt x="28" y="58"/>
                  </a:cubicBezTo>
                  <a:close/>
                  <a:moveTo>
                    <a:pt x="47" y="77"/>
                  </a:moveTo>
                  <a:cubicBezTo>
                    <a:pt x="32" y="78"/>
                    <a:pt x="32" y="78"/>
                    <a:pt x="32" y="78"/>
                  </a:cubicBezTo>
                  <a:cubicBezTo>
                    <a:pt x="50" y="110"/>
                    <a:pt x="50" y="110"/>
                    <a:pt x="50" y="110"/>
                  </a:cubicBezTo>
                  <a:cubicBezTo>
                    <a:pt x="51" y="112"/>
                    <a:pt x="53" y="112"/>
                    <a:pt x="54" y="111"/>
                  </a:cubicBezTo>
                  <a:cubicBezTo>
                    <a:pt x="66" y="102"/>
                    <a:pt x="66" y="102"/>
                    <a:pt x="66" y="102"/>
                  </a:cubicBezTo>
                  <a:cubicBezTo>
                    <a:pt x="67" y="101"/>
                    <a:pt x="67" y="99"/>
                    <a:pt x="66" y="98"/>
                  </a:cubicBezTo>
                  <a:lnTo>
                    <a:pt x="47" y="77"/>
                  </a:lnTo>
                  <a:close/>
                  <a:moveTo>
                    <a:pt x="96" y="53"/>
                  </a:moveTo>
                  <a:cubicBezTo>
                    <a:pt x="96" y="53"/>
                    <a:pt x="95" y="53"/>
                    <a:pt x="95" y="53"/>
                  </a:cubicBezTo>
                  <a:cubicBezTo>
                    <a:pt x="94" y="53"/>
                    <a:pt x="94" y="52"/>
                    <a:pt x="93" y="51"/>
                  </a:cubicBezTo>
                  <a:cubicBezTo>
                    <a:pt x="91" y="49"/>
                    <a:pt x="90" y="45"/>
                    <a:pt x="89" y="42"/>
                  </a:cubicBezTo>
                  <a:cubicBezTo>
                    <a:pt x="88" y="38"/>
                    <a:pt x="88" y="35"/>
                    <a:pt x="88" y="32"/>
                  </a:cubicBezTo>
                  <a:cubicBezTo>
                    <a:pt x="88" y="31"/>
                    <a:pt x="88" y="30"/>
                    <a:pt x="89" y="29"/>
                  </a:cubicBezTo>
                  <a:cubicBezTo>
                    <a:pt x="89" y="29"/>
                    <a:pt x="89" y="28"/>
                    <a:pt x="90" y="28"/>
                  </a:cubicBezTo>
                  <a:cubicBezTo>
                    <a:pt x="90" y="28"/>
                    <a:pt x="90" y="28"/>
                    <a:pt x="91" y="29"/>
                  </a:cubicBezTo>
                  <a:cubicBezTo>
                    <a:pt x="91" y="29"/>
                    <a:pt x="92" y="30"/>
                    <a:pt x="93" y="31"/>
                  </a:cubicBezTo>
                  <a:cubicBezTo>
                    <a:pt x="94" y="33"/>
                    <a:pt x="96" y="36"/>
                    <a:pt x="97" y="40"/>
                  </a:cubicBezTo>
                  <a:cubicBezTo>
                    <a:pt x="98" y="43"/>
                    <a:pt x="98" y="47"/>
                    <a:pt x="98" y="49"/>
                  </a:cubicBezTo>
                  <a:cubicBezTo>
                    <a:pt x="98" y="51"/>
                    <a:pt x="98" y="52"/>
                    <a:pt x="97" y="52"/>
                  </a:cubicBezTo>
                  <a:cubicBezTo>
                    <a:pt x="97" y="53"/>
                    <a:pt x="97" y="53"/>
                    <a:pt x="96" y="5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8" name="任意多边形: 形状 167">
              <a:extLst>
                <a:ext uri="{FF2B5EF4-FFF2-40B4-BE49-F238E27FC236}">
                  <a16:creationId xmlns:a16="http://schemas.microsoft.com/office/drawing/2014/main" id="{760828E5-3167-44C5-B9B0-57E9FFB3ED71}"/>
                </a:ext>
              </a:extLst>
            </p:cNvPr>
            <p:cNvSpPr/>
            <p:nvPr/>
          </p:nvSpPr>
          <p:spPr bwMode="auto">
            <a:xfrm>
              <a:off x="9420962" y="6157397"/>
              <a:ext cx="334704" cy="336662"/>
            </a:xfrm>
            <a:custGeom>
              <a:avLst/>
              <a:gdLst>
                <a:gd name="T0" fmla="*/ 100 w 105"/>
                <a:gd name="T1" fmla="*/ 29 h 105"/>
                <a:gd name="T2" fmla="*/ 71 w 105"/>
                <a:gd name="T3" fmla="*/ 26 h 105"/>
                <a:gd name="T4" fmla="*/ 88 w 105"/>
                <a:gd name="T5" fmla="*/ 9 h 105"/>
                <a:gd name="T6" fmla="*/ 82 w 105"/>
                <a:gd name="T7" fmla="*/ 3 h 105"/>
                <a:gd name="T8" fmla="*/ 59 w 105"/>
                <a:gd name="T9" fmla="*/ 26 h 105"/>
                <a:gd name="T10" fmla="*/ 52 w 105"/>
                <a:gd name="T11" fmla="*/ 26 h 105"/>
                <a:gd name="T12" fmla="*/ 52 w 105"/>
                <a:gd name="T13" fmla="*/ 26 h 105"/>
                <a:gd name="T14" fmla="*/ 26 w 105"/>
                <a:gd name="T15" fmla="*/ 0 h 105"/>
                <a:gd name="T16" fmla="*/ 19 w 105"/>
                <a:gd name="T17" fmla="*/ 6 h 105"/>
                <a:gd name="T18" fmla="*/ 39 w 105"/>
                <a:gd name="T19" fmla="*/ 26 h 105"/>
                <a:gd name="T20" fmla="*/ 4 w 105"/>
                <a:gd name="T21" fmla="*/ 29 h 105"/>
                <a:gd name="T22" fmla="*/ 0 w 105"/>
                <a:gd name="T23" fmla="*/ 65 h 105"/>
                <a:gd name="T24" fmla="*/ 4 w 105"/>
                <a:gd name="T25" fmla="*/ 101 h 105"/>
                <a:gd name="T26" fmla="*/ 52 w 105"/>
                <a:gd name="T27" fmla="*/ 105 h 105"/>
                <a:gd name="T28" fmla="*/ 100 w 105"/>
                <a:gd name="T29" fmla="*/ 101 h 105"/>
                <a:gd name="T30" fmla="*/ 105 w 105"/>
                <a:gd name="T31" fmla="*/ 65 h 105"/>
                <a:gd name="T32" fmla="*/ 100 w 105"/>
                <a:gd name="T33" fmla="*/ 29 h 105"/>
                <a:gd name="T34" fmla="*/ 88 w 105"/>
                <a:gd name="T35" fmla="*/ 89 h 105"/>
                <a:gd name="T36" fmla="*/ 52 w 105"/>
                <a:gd name="T37" fmla="*/ 92 h 105"/>
                <a:gd name="T38" fmla="*/ 16 w 105"/>
                <a:gd name="T39" fmla="*/ 89 h 105"/>
                <a:gd name="T40" fmla="*/ 13 w 105"/>
                <a:gd name="T41" fmla="*/ 65 h 105"/>
                <a:gd name="T42" fmla="*/ 16 w 105"/>
                <a:gd name="T43" fmla="*/ 41 h 105"/>
                <a:gd name="T44" fmla="*/ 52 w 105"/>
                <a:gd name="T45" fmla="*/ 39 h 105"/>
                <a:gd name="T46" fmla="*/ 88 w 105"/>
                <a:gd name="T47" fmla="*/ 41 h 105"/>
                <a:gd name="T48" fmla="*/ 92 w 105"/>
                <a:gd name="T49" fmla="*/ 65 h 105"/>
                <a:gd name="T50" fmla="*/ 88 w 105"/>
                <a:gd name="T51" fmla="*/ 89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5" h="105">
                  <a:moveTo>
                    <a:pt x="100" y="29"/>
                  </a:moveTo>
                  <a:cubicBezTo>
                    <a:pt x="91" y="28"/>
                    <a:pt x="82" y="27"/>
                    <a:pt x="71" y="26"/>
                  </a:cubicBezTo>
                  <a:cubicBezTo>
                    <a:pt x="88" y="9"/>
                    <a:pt x="88" y="9"/>
                    <a:pt x="88" y="9"/>
                  </a:cubicBezTo>
                  <a:cubicBezTo>
                    <a:pt x="82" y="3"/>
                    <a:pt x="82" y="3"/>
                    <a:pt x="82" y="3"/>
                  </a:cubicBezTo>
                  <a:cubicBezTo>
                    <a:pt x="59" y="26"/>
                    <a:pt x="59" y="26"/>
                    <a:pt x="59" y="26"/>
                  </a:cubicBezTo>
                  <a:cubicBezTo>
                    <a:pt x="57" y="26"/>
                    <a:pt x="54" y="26"/>
                    <a:pt x="52" y="26"/>
                  </a:cubicBezTo>
                  <a:cubicBezTo>
                    <a:pt x="52" y="26"/>
                    <a:pt x="52" y="26"/>
                    <a:pt x="52" y="26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9" y="6"/>
                    <a:pt x="19" y="6"/>
                    <a:pt x="19" y="6"/>
                  </a:cubicBezTo>
                  <a:cubicBezTo>
                    <a:pt x="39" y="26"/>
                    <a:pt x="39" y="26"/>
                    <a:pt x="39" y="26"/>
                  </a:cubicBezTo>
                  <a:cubicBezTo>
                    <a:pt x="27" y="27"/>
                    <a:pt x="15" y="28"/>
                    <a:pt x="4" y="29"/>
                  </a:cubicBezTo>
                  <a:cubicBezTo>
                    <a:pt x="1" y="40"/>
                    <a:pt x="0" y="52"/>
                    <a:pt x="0" y="65"/>
                  </a:cubicBezTo>
                  <a:cubicBezTo>
                    <a:pt x="0" y="78"/>
                    <a:pt x="1" y="90"/>
                    <a:pt x="4" y="101"/>
                  </a:cubicBezTo>
                  <a:cubicBezTo>
                    <a:pt x="19" y="104"/>
                    <a:pt x="35" y="105"/>
                    <a:pt x="52" y="105"/>
                  </a:cubicBezTo>
                  <a:cubicBezTo>
                    <a:pt x="69" y="105"/>
                    <a:pt x="86" y="104"/>
                    <a:pt x="100" y="101"/>
                  </a:cubicBezTo>
                  <a:cubicBezTo>
                    <a:pt x="103" y="90"/>
                    <a:pt x="105" y="78"/>
                    <a:pt x="105" y="65"/>
                  </a:cubicBezTo>
                  <a:cubicBezTo>
                    <a:pt x="105" y="52"/>
                    <a:pt x="103" y="40"/>
                    <a:pt x="100" y="29"/>
                  </a:cubicBezTo>
                  <a:close/>
                  <a:moveTo>
                    <a:pt x="88" y="89"/>
                  </a:moveTo>
                  <a:cubicBezTo>
                    <a:pt x="77" y="91"/>
                    <a:pt x="65" y="92"/>
                    <a:pt x="52" y="92"/>
                  </a:cubicBezTo>
                  <a:cubicBezTo>
                    <a:pt x="39" y="92"/>
                    <a:pt x="27" y="91"/>
                    <a:pt x="16" y="89"/>
                  </a:cubicBezTo>
                  <a:cubicBezTo>
                    <a:pt x="14" y="82"/>
                    <a:pt x="13" y="74"/>
                    <a:pt x="13" y="65"/>
                  </a:cubicBezTo>
                  <a:cubicBezTo>
                    <a:pt x="13" y="57"/>
                    <a:pt x="14" y="49"/>
                    <a:pt x="16" y="41"/>
                  </a:cubicBezTo>
                  <a:cubicBezTo>
                    <a:pt x="27" y="40"/>
                    <a:pt x="39" y="39"/>
                    <a:pt x="52" y="39"/>
                  </a:cubicBezTo>
                  <a:cubicBezTo>
                    <a:pt x="65" y="39"/>
                    <a:pt x="77" y="40"/>
                    <a:pt x="88" y="41"/>
                  </a:cubicBezTo>
                  <a:cubicBezTo>
                    <a:pt x="90" y="49"/>
                    <a:pt x="92" y="57"/>
                    <a:pt x="92" y="65"/>
                  </a:cubicBezTo>
                  <a:cubicBezTo>
                    <a:pt x="92" y="74"/>
                    <a:pt x="90" y="82"/>
                    <a:pt x="88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70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9" name="任意多边形: 形状 168">
              <a:extLst>
                <a:ext uri="{FF2B5EF4-FFF2-40B4-BE49-F238E27FC236}">
                  <a16:creationId xmlns:a16="http://schemas.microsoft.com/office/drawing/2014/main" id="{6D359061-A993-4766-AD6D-8334FF48E0F8}"/>
                </a:ext>
              </a:extLst>
            </p:cNvPr>
            <p:cNvSpPr/>
            <p:nvPr/>
          </p:nvSpPr>
          <p:spPr bwMode="auto">
            <a:xfrm>
              <a:off x="9372031" y="6560606"/>
              <a:ext cx="409081" cy="230966"/>
            </a:xfrm>
            <a:custGeom>
              <a:avLst/>
              <a:gdLst>
                <a:gd name="T0" fmla="*/ 128 w 128"/>
                <a:gd name="T1" fmla="*/ 50 h 72"/>
                <a:gd name="T2" fmla="*/ 112 w 128"/>
                <a:gd name="T3" fmla="*/ 29 h 72"/>
                <a:gd name="T4" fmla="*/ 82 w 128"/>
                <a:gd name="T5" fmla="*/ 0 h 72"/>
                <a:gd name="T6" fmla="*/ 58 w 128"/>
                <a:gd name="T7" fmla="*/ 11 h 72"/>
                <a:gd name="T8" fmla="*/ 45 w 128"/>
                <a:gd name="T9" fmla="*/ 4 h 72"/>
                <a:gd name="T10" fmla="*/ 29 w 128"/>
                <a:gd name="T11" fmla="*/ 21 h 72"/>
                <a:gd name="T12" fmla="*/ 29 w 128"/>
                <a:gd name="T13" fmla="*/ 23 h 72"/>
                <a:gd name="T14" fmla="*/ 24 w 128"/>
                <a:gd name="T15" fmla="*/ 23 h 72"/>
                <a:gd name="T16" fmla="*/ 0 w 128"/>
                <a:gd name="T17" fmla="*/ 47 h 72"/>
                <a:gd name="T18" fmla="*/ 24 w 128"/>
                <a:gd name="T19" fmla="*/ 72 h 72"/>
                <a:gd name="T20" fmla="*/ 106 w 128"/>
                <a:gd name="T21" fmla="*/ 72 h 72"/>
                <a:gd name="T22" fmla="*/ 106 w 128"/>
                <a:gd name="T23" fmla="*/ 72 h 72"/>
                <a:gd name="T24" fmla="*/ 128 w 128"/>
                <a:gd name="T25" fmla="*/ 5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8" h="72">
                  <a:moveTo>
                    <a:pt x="128" y="50"/>
                  </a:moveTo>
                  <a:cubicBezTo>
                    <a:pt x="128" y="39"/>
                    <a:pt x="121" y="31"/>
                    <a:pt x="112" y="29"/>
                  </a:cubicBezTo>
                  <a:cubicBezTo>
                    <a:pt x="111" y="12"/>
                    <a:pt x="98" y="0"/>
                    <a:pt x="82" y="0"/>
                  </a:cubicBezTo>
                  <a:cubicBezTo>
                    <a:pt x="72" y="0"/>
                    <a:pt x="64" y="4"/>
                    <a:pt x="58" y="11"/>
                  </a:cubicBezTo>
                  <a:cubicBezTo>
                    <a:pt x="55" y="7"/>
                    <a:pt x="51" y="4"/>
                    <a:pt x="45" y="4"/>
                  </a:cubicBezTo>
                  <a:cubicBezTo>
                    <a:pt x="36" y="4"/>
                    <a:pt x="29" y="12"/>
                    <a:pt x="29" y="21"/>
                  </a:cubicBezTo>
                  <a:cubicBezTo>
                    <a:pt x="29" y="22"/>
                    <a:pt x="29" y="23"/>
                    <a:pt x="29" y="23"/>
                  </a:cubicBezTo>
                  <a:cubicBezTo>
                    <a:pt x="27" y="23"/>
                    <a:pt x="26" y="23"/>
                    <a:pt x="24" y="23"/>
                  </a:cubicBezTo>
                  <a:cubicBezTo>
                    <a:pt x="11" y="23"/>
                    <a:pt x="0" y="34"/>
                    <a:pt x="0" y="47"/>
                  </a:cubicBezTo>
                  <a:cubicBezTo>
                    <a:pt x="0" y="61"/>
                    <a:pt x="11" y="72"/>
                    <a:pt x="24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06" y="72"/>
                    <a:pt x="106" y="72"/>
                    <a:pt x="106" y="72"/>
                  </a:cubicBezTo>
                  <a:cubicBezTo>
                    <a:pt x="118" y="71"/>
                    <a:pt x="128" y="62"/>
                    <a:pt x="128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0" name="任意多边形: 形状 169">
              <a:extLst>
                <a:ext uri="{FF2B5EF4-FFF2-40B4-BE49-F238E27FC236}">
                  <a16:creationId xmlns:a16="http://schemas.microsoft.com/office/drawing/2014/main" id="{A9C848FB-9209-4758-952B-ED70EAA7D39C}"/>
                </a:ext>
              </a:extLst>
            </p:cNvPr>
            <p:cNvSpPr/>
            <p:nvPr/>
          </p:nvSpPr>
          <p:spPr bwMode="auto">
            <a:xfrm>
              <a:off x="8992309" y="6560606"/>
              <a:ext cx="281855" cy="230966"/>
            </a:xfrm>
            <a:custGeom>
              <a:avLst/>
              <a:gdLst>
                <a:gd name="T0" fmla="*/ 0 w 88"/>
                <a:gd name="T1" fmla="*/ 0 h 72"/>
                <a:gd name="T2" fmla="*/ 0 w 88"/>
                <a:gd name="T3" fmla="*/ 72 h 72"/>
                <a:gd name="T4" fmla="*/ 88 w 88"/>
                <a:gd name="T5" fmla="*/ 72 h 72"/>
                <a:gd name="T6" fmla="*/ 88 w 88"/>
                <a:gd name="T7" fmla="*/ 0 h 72"/>
                <a:gd name="T8" fmla="*/ 0 w 88"/>
                <a:gd name="T9" fmla="*/ 0 h 72"/>
                <a:gd name="T10" fmla="*/ 83 w 88"/>
                <a:gd name="T11" fmla="*/ 66 h 72"/>
                <a:gd name="T12" fmla="*/ 5 w 88"/>
                <a:gd name="T13" fmla="*/ 66 h 72"/>
                <a:gd name="T14" fmla="*/ 5 w 88"/>
                <a:gd name="T15" fmla="*/ 5 h 72"/>
                <a:gd name="T16" fmla="*/ 83 w 88"/>
                <a:gd name="T17" fmla="*/ 5 h 72"/>
                <a:gd name="T18" fmla="*/ 83 w 88"/>
                <a:gd name="T19" fmla="*/ 66 h 72"/>
                <a:gd name="T20" fmla="*/ 61 w 88"/>
                <a:gd name="T21" fmla="*/ 19 h 72"/>
                <a:gd name="T22" fmla="*/ 69 w 88"/>
                <a:gd name="T23" fmla="*/ 27 h 72"/>
                <a:gd name="T24" fmla="*/ 77 w 88"/>
                <a:gd name="T25" fmla="*/ 19 h 72"/>
                <a:gd name="T26" fmla="*/ 69 w 88"/>
                <a:gd name="T27" fmla="*/ 11 h 72"/>
                <a:gd name="T28" fmla="*/ 61 w 88"/>
                <a:gd name="T29" fmla="*/ 19 h 72"/>
                <a:gd name="T30" fmla="*/ 77 w 88"/>
                <a:gd name="T31" fmla="*/ 60 h 72"/>
                <a:gd name="T32" fmla="*/ 11 w 88"/>
                <a:gd name="T33" fmla="*/ 60 h 72"/>
                <a:gd name="T34" fmla="*/ 27 w 88"/>
                <a:gd name="T35" fmla="*/ 16 h 72"/>
                <a:gd name="T36" fmla="*/ 50 w 88"/>
                <a:gd name="T37" fmla="*/ 44 h 72"/>
                <a:gd name="T38" fmla="*/ 61 w 88"/>
                <a:gd name="T39" fmla="*/ 36 h 72"/>
                <a:gd name="T40" fmla="*/ 77 w 88"/>
                <a:gd name="T41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8" h="72">
                  <a:moveTo>
                    <a:pt x="0" y="0"/>
                  </a:moveTo>
                  <a:cubicBezTo>
                    <a:pt x="0" y="72"/>
                    <a:pt x="0" y="72"/>
                    <a:pt x="0" y="72"/>
                  </a:cubicBezTo>
                  <a:cubicBezTo>
                    <a:pt x="88" y="72"/>
                    <a:pt x="88" y="72"/>
                    <a:pt x="88" y="72"/>
                  </a:cubicBezTo>
                  <a:cubicBezTo>
                    <a:pt x="88" y="0"/>
                    <a:pt x="88" y="0"/>
                    <a:pt x="88" y="0"/>
                  </a:cubicBezTo>
                  <a:lnTo>
                    <a:pt x="0" y="0"/>
                  </a:lnTo>
                  <a:close/>
                  <a:moveTo>
                    <a:pt x="83" y="66"/>
                  </a:moveTo>
                  <a:cubicBezTo>
                    <a:pt x="5" y="66"/>
                    <a:pt x="5" y="66"/>
                    <a:pt x="5" y="66"/>
                  </a:cubicBezTo>
                  <a:cubicBezTo>
                    <a:pt x="5" y="5"/>
                    <a:pt x="5" y="5"/>
                    <a:pt x="5" y="5"/>
                  </a:cubicBezTo>
                  <a:cubicBezTo>
                    <a:pt x="83" y="5"/>
                    <a:pt x="83" y="5"/>
                    <a:pt x="83" y="5"/>
                  </a:cubicBezTo>
                  <a:lnTo>
                    <a:pt x="83" y="66"/>
                  </a:lnTo>
                  <a:close/>
                  <a:moveTo>
                    <a:pt x="61" y="19"/>
                  </a:moveTo>
                  <a:cubicBezTo>
                    <a:pt x="61" y="24"/>
                    <a:pt x="64" y="27"/>
                    <a:pt x="69" y="27"/>
                  </a:cubicBezTo>
                  <a:cubicBezTo>
                    <a:pt x="74" y="27"/>
                    <a:pt x="77" y="24"/>
                    <a:pt x="77" y="19"/>
                  </a:cubicBezTo>
                  <a:cubicBezTo>
                    <a:pt x="77" y="14"/>
                    <a:pt x="74" y="11"/>
                    <a:pt x="69" y="11"/>
                  </a:cubicBezTo>
                  <a:cubicBezTo>
                    <a:pt x="64" y="11"/>
                    <a:pt x="61" y="14"/>
                    <a:pt x="61" y="19"/>
                  </a:cubicBezTo>
                  <a:close/>
                  <a:moveTo>
                    <a:pt x="77" y="60"/>
                  </a:moveTo>
                  <a:cubicBezTo>
                    <a:pt x="11" y="60"/>
                    <a:pt x="11" y="60"/>
                    <a:pt x="11" y="60"/>
                  </a:cubicBezTo>
                  <a:cubicBezTo>
                    <a:pt x="27" y="16"/>
                    <a:pt x="27" y="16"/>
                    <a:pt x="27" y="16"/>
                  </a:cubicBezTo>
                  <a:cubicBezTo>
                    <a:pt x="50" y="44"/>
                    <a:pt x="50" y="44"/>
                    <a:pt x="50" y="44"/>
                  </a:cubicBezTo>
                  <a:cubicBezTo>
                    <a:pt x="61" y="36"/>
                    <a:pt x="61" y="36"/>
                    <a:pt x="61" y="36"/>
                  </a:cubicBezTo>
                  <a:lnTo>
                    <a:pt x="77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1" name="任意多边形: 形状 170">
              <a:extLst>
                <a:ext uri="{FF2B5EF4-FFF2-40B4-BE49-F238E27FC236}">
                  <a16:creationId xmlns:a16="http://schemas.microsoft.com/office/drawing/2014/main" id="{F7054F38-9200-4260-8598-2FD568392184}"/>
                </a:ext>
              </a:extLst>
            </p:cNvPr>
            <p:cNvSpPr/>
            <p:nvPr/>
          </p:nvSpPr>
          <p:spPr bwMode="auto">
            <a:xfrm>
              <a:off x="8583226" y="6505801"/>
              <a:ext cx="272069" cy="275983"/>
            </a:xfrm>
            <a:custGeom>
              <a:avLst/>
              <a:gdLst>
                <a:gd name="T0" fmla="*/ 57 w 85"/>
                <a:gd name="T1" fmla="*/ 59 h 86"/>
                <a:gd name="T2" fmla="*/ 82 w 85"/>
                <a:gd name="T3" fmla="*/ 47 h 86"/>
                <a:gd name="T4" fmla="*/ 82 w 85"/>
                <a:gd name="T5" fmla="*/ 59 h 86"/>
                <a:gd name="T6" fmla="*/ 66 w 85"/>
                <a:gd name="T7" fmla="*/ 67 h 86"/>
                <a:gd name="T8" fmla="*/ 59 w 85"/>
                <a:gd name="T9" fmla="*/ 84 h 86"/>
                <a:gd name="T10" fmla="*/ 47 w 85"/>
                <a:gd name="T11" fmla="*/ 84 h 86"/>
                <a:gd name="T12" fmla="*/ 57 w 85"/>
                <a:gd name="T13" fmla="*/ 59 h 86"/>
                <a:gd name="T14" fmla="*/ 24 w 85"/>
                <a:gd name="T15" fmla="*/ 85 h 86"/>
                <a:gd name="T16" fmla="*/ 39 w 85"/>
                <a:gd name="T17" fmla="*/ 42 h 86"/>
                <a:gd name="T18" fmla="*/ 81 w 85"/>
                <a:gd name="T19" fmla="*/ 23 h 86"/>
                <a:gd name="T20" fmla="*/ 81 w 85"/>
                <a:gd name="T21" fmla="*/ 35 h 86"/>
                <a:gd name="T22" fmla="*/ 81 w 85"/>
                <a:gd name="T23" fmla="*/ 35 h 86"/>
                <a:gd name="T24" fmla="*/ 48 w 85"/>
                <a:gd name="T25" fmla="*/ 51 h 86"/>
                <a:gd name="T26" fmla="*/ 36 w 85"/>
                <a:gd name="T27" fmla="*/ 85 h 86"/>
                <a:gd name="T28" fmla="*/ 24 w 85"/>
                <a:gd name="T29" fmla="*/ 85 h 86"/>
                <a:gd name="T30" fmla="*/ 49 w 85"/>
                <a:gd name="T31" fmla="*/ 7 h 86"/>
                <a:gd name="T32" fmla="*/ 80 w 85"/>
                <a:gd name="T33" fmla="*/ 0 h 86"/>
                <a:gd name="T34" fmla="*/ 80 w 85"/>
                <a:gd name="T35" fmla="*/ 0 h 86"/>
                <a:gd name="T36" fmla="*/ 80 w 85"/>
                <a:gd name="T37" fmla="*/ 12 h 86"/>
                <a:gd name="T38" fmla="*/ 31 w 85"/>
                <a:gd name="T39" fmla="*/ 34 h 86"/>
                <a:gd name="T40" fmla="*/ 12 w 85"/>
                <a:gd name="T41" fmla="*/ 86 h 86"/>
                <a:gd name="T42" fmla="*/ 0 w 85"/>
                <a:gd name="T43" fmla="*/ 86 h 86"/>
                <a:gd name="T44" fmla="*/ 5 w 85"/>
                <a:gd name="T45" fmla="*/ 55 h 86"/>
                <a:gd name="T46" fmla="*/ 22 w 85"/>
                <a:gd name="T47" fmla="*/ 26 h 86"/>
                <a:gd name="T48" fmla="*/ 49 w 85"/>
                <a:gd name="T49" fmla="*/ 7 h 86"/>
                <a:gd name="T50" fmla="*/ 75 w 85"/>
                <a:gd name="T51" fmla="*/ 83 h 86"/>
                <a:gd name="T52" fmla="*/ 83 w 85"/>
                <a:gd name="T53" fmla="*/ 83 h 86"/>
                <a:gd name="T54" fmla="*/ 83 w 85"/>
                <a:gd name="T55" fmla="*/ 74 h 86"/>
                <a:gd name="T56" fmla="*/ 74 w 85"/>
                <a:gd name="T57" fmla="*/ 75 h 86"/>
                <a:gd name="T58" fmla="*/ 75 w 85"/>
                <a:gd name="T59" fmla="*/ 8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85" h="86">
                  <a:moveTo>
                    <a:pt x="57" y="59"/>
                  </a:moveTo>
                  <a:cubicBezTo>
                    <a:pt x="64" y="51"/>
                    <a:pt x="73" y="48"/>
                    <a:pt x="82" y="47"/>
                  </a:cubicBezTo>
                  <a:cubicBezTo>
                    <a:pt x="82" y="59"/>
                    <a:pt x="82" y="59"/>
                    <a:pt x="82" y="59"/>
                  </a:cubicBezTo>
                  <a:cubicBezTo>
                    <a:pt x="76" y="59"/>
                    <a:pt x="70" y="62"/>
                    <a:pt x="66" y="67"/>
                  </a:cubicBezTo>
                  <a:cubicBezTo>
                    <a:pt x="61" y="71"/>
                    <a:pt x="59" y="78"/>
                    <a:pt x="59" y="84"/>
                  </a:cubicBezTo>
                  <a:cubicBezTo>
                    <a:pt x="47" y="84"/>
                    <a:pt x="47" y="84"/>
                    <a:pt x="47" y="84"/>
                  </a:cubicBezTo>
                  <a:cubicBezTo>
                    <a:pt x="47" y="75"/>
                    <a:pt x="50" y="66"/>
                    <a:pt x="57" y="59"/>
                  </a:cubicBezTo>
                  <a:close/>
                  <a:moveTo>
                    <a:pt x="24" y="85"/>
                  </a:moveTo>
                  <a:cubicBezTo>
                    <a:pt x="23" y="69"/>
                    <a:pt x="29" y="54"/>
                    <a:pt x="39" y="42"/>
                  </a:cubicBezTo>
                  <a:cubicBezTo>
                    <a:pt x="50" y="31"/>
                    <a:pt x="65" y="24"/>
                    <a:pt x="81" y="23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81" y="35"/>
                    <a:pt x="81" y="35"/>
                    <a:pt x="81" y="35"/>
                  </a:cubicBezTo>
                  <a:cubicBezTo>
                    <a:pt x="69" y="36"/>
                    <a:pt x="57" y="41"/>
                    <a:pt x="48" y="51"/>
                  </a:cubicBezTo>
                  <a:cubicBezTo>
                    <a:pt x="40" y="60"/>
                    <a:pt x="35" y="72"/>
                    <a:pt x="36" y="85"/>
                  </a:cubicBezTo>
                  <a:lnTo>
                    <a:pt x="24" y="85"/>
                  </a:lnTo>
                  <a:close/>
                  <a:moveTo>
                    <a:pt x="49" y="7"/>
                  </a:moveTo>
                  <a:cubicBezTo>
                    <a:pt x="59" y="3"/>
                    <a:pt x="69" y="0"/>
                    <a:pt x="80" y="0"/>
                  </a:cubicBezTo>
                  <a:cubicBezTo>
                    <a:pt x="80" y="0"/>
                    <a:pt x="80" y="0"/>
                    <a:pt x="80" y="0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61" y="12"/>
                    <a:pt x="44" y="20"/>
                    <a:pt x="31" y="34"/>
                  </a:cubicBezTo>
                  <a:cubicBezTo>
                    <a:pt x="18" y="48"/>
                    <a:pt x="11" y="67"/>
                    <a:pt x="12" y="86"/>
                  </a:cubicBezTo>
                  <a:cubicBezTo>
                    <a:pt x="0" y="86"/>
                    <a:pt x="0" y="86"/>
                    <a:pt x="0" y="86"/>
                  </a:cubicBezTo>
                  <a:cubicBezTo>
                    <a:pt x="0" y="75"/>
                    <a:pt x="1" y="65"/>
                    <a:pt x="5" y="55"/>
                  </a:cubicBezTo>
                  <a:cubicBezTo>
                    <a:pt x="9" y="44"/>
                    <a:pt x="14" y="35"/>
                    <a:pt x="22" y="26"/>
                  </a:cubicBezTo>
                  <a:cubicBezTo>
                    <a:pt x="30" y="18"/>
                    <a:pt x="39" y="12"/>
                    <a:pt x="49" y="7"/>
                  </a:cubicBezTo>
                  <a:close/>
                  <a:moveTo>
                    <a:pt x="75" y="83"/>
                  </a:moveTo>
                  <a:cubicBezTo>
                    <a:pt x="77" y="85"/>
                    <a:pt x="81" y="85"/>
                    <a:pt x="83" y="83"/>
                  </a:cubicBezTo>
                  <a:cubicBezTo>
                    <a:pt x="85" y="80"/>
                    <a:pt x="85" y="77"/>
                    <a:pt x="83" y="74"/>
                  </a:cubicBezTo>
                  <a:cubicBezTo>
                    <a:pt x="80" y="72"/>
                    <a:pt x="77" y="72"/>
                    <a:pt x="74" y="75"/>
                  </a:cubicBezTo>
                  <a:cubicBezTo>
                    <a:pt x="72" y="77"/>
                    <a:pt x="72" y="81"/>
                    <a:pt x="75" y="8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47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2" name="任意多边形: 形状 171">
              <a:extLst>
                <a:ext uri="{FF2B5EF4-FFF2-40B4-BE49-F238E27FC236}">
                  <a16:creationId xmlns:a16="http://schemas.microsoft.com/office/drawing/2014/main" id="{606674C8-81D9-46EE-B462-3C6144D000B0}"/>
                </a:ext>
              </a:extLst>
            </p:cNvPr>
            <p:cNvSpPr/>
            <p:nvPr/>
          </p:nvSpPr>
          <p:spPr bwMode="auto">
            <a:xfrm>
              <a:off x="7782157" y="3068719"/>
              <a:ext cx="230965" cy="227050"/>
            </a:xfrm>
            <a:custGeom>
              <a:avLst/>
              <a:gdLst>
                <a:gd name="T0" fmla="*/ 14 w 72"/>
                <a:gd name="T1" fmla="*/ 35 h 71"/>
                <a:gd name="T2" fmla="*/ 14 w 72"/>
                <a:gd name="T3" fmla="*/ 33 h 71"/>
                <a:gd name="T4" fmla="*/ 1 w 72"/>
                <a:gd name="T5" fmla="*/ 29 h 71"/>
                <a:gd name="T6" fmla="*/ 0 w 72"/>
                <a:gd name="T7" fmla="*/ 35 h 71"/>
                <a:gd name="T8" fmla="*/ 11 w 72"/>
                <a:gd name="T9" fmla="*/ 62 h 71"/>
                <a:gd name="T10" fmla="*/ 19 w 72"/>
                <a:gd name="T11" fmla="*/ 51 h 71"/>
                <a:gd name="T12" fmla="*/ 14 w 72"/>
                <a:gd name="T13" fmla="*/ 35 h 71"/>
                <a:gd name="T14" fmla="*/ 58 w 72"/>
                <a:gd name="T15" fmla="*/ 35 h 71"/>
                <a:gd name="T16" fmla="*/ 53 w 72"/>
                <a:gd name="T17" fmla="*/ 51 h 71"/>
                <a:gd name="T18" fmla="*/ 61 w 72"/>
                <a:gd name="T19" fmla="*/ 62 h 71"/>
                <a:gd name="T20" fmla="*/ 72 w 72"/>
                <a:gd name="T21" fmla="*/ 35 h 71"/>
                <a:gd name="T22" fmla="*/ 71 w 72"/>
                <a:gd name="T23" fmla="*/ 29 h 71"/>
                <a:gd name="T24" fmla="*/ 58 w 72"/>
                <a:gd name="T25" fmla="*/ 33 h 71"/>
                <a:gd name="T26" fmla="*/ 58 w 72"/>
                <a:gd name="T27" fmla="*/ 35 h 71"/>
                <a:gd name="T28" fmla="*/ 40 w 72"/>
                <a:gd name="T29" fmla="*/ 13 h 71"/>
                <a:gd name="T30" fmla="*/ 56 w 72"/>
                <a:gd name="T31" fmla="*/ 24 h 71"/>
                <a:gd name="T32" fmla="*/ 68 w 72"/>
                <a:gd name="T33" fmla="*/ 20 h 71"/>
                <a:gd name="T34" fmla="*/ 40 w 72"/>
                <a:gd name="T35" fmla="*/ 0 h 71"/>
                <a:gd name="T36" fmla="*/ 40 w 72"/>
                <a:gd name="T37" fmla="*/ 13 h 71"/>
                <a:gd name="T38" fmla="*/ 16 w 72"/>
                <a:gd name="T39" fmla="*/ 24 h 71"/>
                <a:gd name="T40" fmla="*/ 31 w 72"/>
                <a:gd name="T41" fmla="*/ 13 h 71"/>
                <a:gd name="T42" fmla="*/ 31 w 72"/>
                <a:gd name="T43" fmla="*/ 0 h 71"/>
                <a:gd name="T44" fmla="*/ 3 w 72"/>
                <a:gd name="T45" fmla="*/ 20 h 71"/>
                <a:gd name="T46" fmla="*/ 16 w 72"/>
                <a:gd name="T47" fmla="*/ 24 h 71"/>
                <a:gd name="T48" fmla="*/ 45 w 72"/>
                <a:gd name="T49" fmla="*/ 56 h 71"/>
                <a:gd name="T50" fmla="*/ 36 w 72"/>
                <a:gd name="T51" fmla="*/ 58 h 71"/>
                <a:gd name="T52" fmla="*/ 27 w 72"/>
                <a:gd name="T53" fmla="*/ 56 h 71"/>
                <a:gd name="T54" fmla="*/ 19 w 72"/>
                <a:gd name="T55" fmla="*/ 67 h 71"/>
                <a:gd name="T56" fmla="*/ 36 w 72"/>
                <a:gd name="T57" fmla="*/ 71 h 71"/>
                <a:gd name="T58" fmla="*/ 53 w 72"/>
                <a:gd name="T59" fmla="*/ 67 h 71"/>
                <a:gd name="T60" fmla="*/ 45 w 72"/>
                <a:gd name="T61" fmla="*/ 56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2" h="71">
                  <a:moveTo>
                    <a:pt x="14" y="35"/>
                  </a:moveTo>
                  <a:cubicBezTo>
                    <a:pt x="14" y="35"/>
                    <a:pt x="14" y="34"/>
                    <a:pt x="14" y="33"/>
                  </a:cubicBezTo>
                  <a:cubicBezTo>
                    <a:pt x="1" y="29"/>
                    <a:pt x="1" y="29"/>
                    <a:pt x="1" y="29"/>
                  </a:cubicBezTo>
                  <a:cubicBezTo>
                    <a:pt x="0" y="31"/>
                    <a:pt x="0" y="33"/>
                    <a:pt x="0" y="35"/>
                  </a:cubicBezTo>
                  <a:cubicBezTo>
                    <a:pt x="0" y="46"/>
                    <a:pt x="4" y="55"/>
                    <a:pt x="11" y="62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6" y="47"/>
                    <a:pt x="14" y="41"/>
                    <a:pt x="14" y="35"/>
                  </a:cubicBezTo>
                  <a:close/>
                  <a:moveTo>
                    <a:pt x="58" y="35"/>
                  </a:moveTo>
                  <a:cubicBezTo>
                    <a:pt x="58" y="41"/>
                    <a:pt x="56" y="47"/>
                    <a:pt x="53" y="51"/>
                  </a:cubicBezTo>
                  <a:cubicBezTo>
                    <a:pt x="61" y="62"/>
                    <a:pt x="61" y="62"/>
                    <a:pt x="61" y="62"/>
                  </a:cubicBezTo>
                  <a:cubicBezTo>
                    <a:pt x="68" y="55"/>
                    <a:pt x="72" y="46"/>
                    <a:pt x="72" y="35"/>
                  </a:cubicBezTo>
                  <a:cubicBezTo>
                    <a:pt x="72" y="33"/>
                    <a:pt x="72" y="31"/>
                    <a:pt x="71" y="29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58" y="34"/>
                    <a:pt x="58" y="35"/>
                    <a:pt x="58" y="35"/>
                  </a:cubicBezTo>
                  <a:close/>
                  <a:moveTo>
                    <a:pt x="40" y="13"/>
                  </a:moveTo>
                  <a:cubicBezTo>
                    <a:pt x="47" y="15"/>
                    <a:pt x="52" y="19"/>
                    <a:pt x="56" y="24"/>
                  </a:cubicBezTo>
                  <a:cubicBezTo>
                    <a:pt x="68" y="20"/>
                    <a:pt x="68" y="20"/>
                    <a:pt x="68" y="20"/>
                  </a:cubicBezTo>
                  <a:cubicBezTo>
                    <a:pt x="63" y="9"/>
                    <a:pt x="53" y="1"/>
                    <a:pt x="40" y="0"/>
                  </a:cubicBezTo>
                  <a:lnTo>
                    <a:pt x="40" y="13"/>
                  </a:lnTo>
                  <a:close/>
                  <a:moveTo>
                    <a:pt x="16" y="24"/>
                  </a:moveTo>
                  <a:cubicBezTo>
                    <a:pt x="20" y="19"/>
                    <a:pt x="25" y="15"/>
                    <a:pt x="31" y="13"/>
                  </a:cubicBezTo>
                  <a:cubicBezTo>
                    <a:pt x="31" y="0"/>
                    <a:pt x="31" y="0"/>
                    <a:pt x="31" y="0"/>
                  </a:cubicBezTo>
                  <a:cubicBezTo>
                    <a:pt x="19" y="1"/>
                    <a:pt x="9" y="9"/>
                    <a:pt x="3" y="20"/>
                  </a:cubicBezTo>
                  <a:lnTo>
                    <a:pt x="16" y="24"/>
                  </a:lnTo>
                  <a:close/>
                  <a:moveTo>
                    <a:pt x="45" y="56"/>
                  </a:moveTo>
                  <a:cubicBezTo>
                    <a:pt x="42" y="57"/>
                    <a:pt x="39" y="58"/>
                    <a:pt x="36" y="58"/>
                  </a:cubicBezTo>
                  <a:cubicBezTo>
                    <a:pt x="33" y="58"/>
                    <a:pt x="30" y="57"/>
                    <a:pt x="27" y="56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24" y="70"/>
                    <a:pt x="30" y="71"/>
                    <a:pt x="36" y="71"/>
                  </a:cubicBezTo>
                  <a:cubicBezTo>
                    <a:pt x="42" y="71"/>
                    <a:pt x="48" y="70"/>
                    <a:pt x="53" y="67"/>
                  </a:cubicBezTo>
                  <a:lnTo>
                    <a:pt x="45" y="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325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3" name="任意多边形: 形状 172">
              <a:extLst>
                <a:ext uri="{FF2B5EF4-FFF2-40B4-BE49-F238E27FC236}">
                  <a16:creationId xmlns:a16="http://schemas.microsoft.com/office/drawing/2014/main" id="{F932205D-F33C-44C9-A39D-9F57D276ACF2}"/>
                </a:ext>
              </a:extLst>
            </p:cNvPr>
            <p:cNvSpPr/>
            <p:nvPr/>
          </p:nvSpPr>
          <p:spPr bwMode="auto">
            <a:xfrm>
              <a:off x="8409034" y="762985"/>
              <a:ext cx="189861" cy="187905"/>
            </a:xfrm>
            <a:custGeom>
              <a:avLst/>
              <a:gdLst>
                <a:gd name="T0" fmla="*/ 30 w 59"/>
                <a:gd name="T1" fmla="*/ 0 h 59"/>
                <a:gd name="T2" fmla="*/ 0 w 59"/>
                <a:gd name="T3" fmla="*/ 29 h 59"/>
                <a:gd name="T4" fmla="*/ 30 w 59"/>
                <a:gd name="T5" fmla="*/ 59 h 59"/>
                <a:gd name="T6" fmla="*/ 59 w 59"/>
                <a:gd name="T7" fmla="*/ 29 h 59"/>
                <a:gd name="T8" fmla="*/ 30 w 59"/>
                <a:gd name="T9" fmla="*/ 0 h 59"/>
                <a:gd name="T10" fmla="*/ 47 w 59"/>
                <a:gd name="T11" fmla="*/ 25 h 59"/>
                <a:gd name="T12" fmla="*/ 31 w 59"/>
                <a:gd name="T13" fmla="*/ 47 h 59"/>
                <a:gd name="T14" fmla="*/ 24 w 59"/>
                <a:gd name="T15" fmla="*/ 44 h 59"/>
                <a:gd name="T16" fmla="*/ 18 w 59"/>
                <a:gd name="T17" fmla="*/ 27 h 59"/>
                <a:gd name="T18" fmla="*/ 14 w 59"/>
                <a:gd name="T19" fmla="*/ 28 h 59"/>
                <a:gd name="T20" fmla="*/ 12 w 59"/>
                <a:gd name="T21" fmla="*/ 26 h 59"/>
                <a:gd name="T22" fmla="*/ 23 w 59"/>
                <a:gd name="T23" fmla="*/ 18 h 59"/>
                <a:gd name="T24" fmla="*/ 29 w 59"/>
                <a:gd name="T25" fmla="*/ 30 h 59"/>
                <a:gd name="T26" fmla="*/ 32 w 59"/>
                <a:gd name="T27" fmla="*/ 37 h 59"/>
                <a:gd name="T28" fmla="*/ 36 w 59"/>
                <a:gd name="T29" fmla="*/ 31 h 59"/>
                <a:gd name="T30" fmla="*/ 32 w 59"/>
                <a:gd name="T31" fmla="*/ 26 h 59"/>
                <a:gd name="T32" fmla="*/ 47 w 59"/>
                <a:gd name="T33" fmla="*/ 2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9" h="59">
                  <a:moveTo>
                    <a:pt x="30" y="0"/>
                  </a:moveTo>
                  <a:cubicBezTo>
                    <a:pt x="14" y="0"/>
                    <a:pt x="0" y="13"/>
                    <a:pt x="0" y="29"/>
                  </a:cubicBezTo>
                  <a:cubicBezTo>
                    <a:pt x="0" y="45"/>
                    <a:pt x="14" y="59"/>
                    <a:pt x="30" y="59"/>
                  </a:cubicBezTo>
                  <a:cubicBezTo>
                    <a:pt x="46" y="59"/>
                    <a:pt x="59" y="45"/>
                    <a:pt x="59" y="29"/>
                  </a:cubicBezTo>
                  <a:cubicBezTo>
                    <a:pt x="59" y="13"/>
                    <a:pt x="46" y="0"/>
                    <a:pt x="30" y="0"/>
                  </a:cubicBezTo>
                  <a:close/>
                  <a:moveTo>
                    <a:pt x="47" y="25"/>
                  </a:moveTo>
                  <a:cubicBezTo>
                    <a:pt x="45" y="36"/>
                    <a:pt x="34" y="45"/>
                    <a:pt x="31" y="47"/>
                  </a:cubicBezTo>
                  <a:cubicBezTo>
                    <a:pt x="28" y="49"/>
                    <a:pt x="25" y="46"/>
                    <a:pt x="24" y="44"/>
                  </a:cubicBezTo>
                  <a:cubicBezTo>
                    <a:pt x="22" y="42"/>
                    <a:pt x="19" y="28"/>
                    <a:pt x="18" y="27"/>
                  </a:cubicBezTo>
                  <a:cubicBezTo>
                    <a:pt x="17" y="25"/>
                    <a:pt x="14" y="28"/>
                    <a:pt x="14" y="28"/>
                  </a:cubicBezTo>
                  <a:cubicBezTo>
                    <a:pt x="12" y="26"/>
                    <a:pt x="12" y="26"/>
                    <a:pt x="12" y="26"/>
                  </a:cubicBezTo>
                  <a:cubicBezTo>
                    <a:pt x="12" y="26"/>
                    <a:pt x="18" y="19"/>
                    <a:pt x="23" y="18"/>
                  </a:cubicBezTo>
                  <a:cubicBezTo>
                    <a:pt x="28" y="17"/>
                    <a:pt x="28" y="25"/>
                    <a:pt x="29" y="30"/>
                  </a:cubicBezTo>
                  <a:cubicBezTo>
                    <a:pt x="30" y="34"/>
                    <a:pt x="31" y="37"/>
                    <a:pt x="32" y="37"/>
                  </a:cubicBezTo>
                  <a:cubicBezTo>
                    <a:pt x="33" y="37"/>
                    <a:pt x="34" y="34"/>
                    <a:pt x="36" y="31"/>
                  </a:cubicBezTo>
                  <a:cubicBezTo>
                    <a:pt x="39" y="27"/>
                    <a:pt x="36" y="23"/>
                    <a:pt x="32" y="26"/>
                  </a:cubicBezTo>
                  <a:cubicBezTo>
                    <a:pt x="34" y="16"/>
                    <a:pt x="49" y="14"/>
                    <a:pt x="47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28" name="文本框 27">
            <a:extLst>
              <a:ext uri="{FF2B5EF4-FFF2-40B4-BE49-F238E27FC236}">
                <a16:creationId xmlns:a16="http://schemas.microsoft.com/office/drawing/2014/main" id="{27B4D372-4C4A-45D2-8AF7-52E47EC72F8B}"/>
              </a:ext>
            </a:extLst>
          </p:cNvPr>
          <p:cNvSpPr txBox="1"/>
          <p:nvPr/>
        </p:nvSpPr>
        <p:spPr>
          <a:xfrm>
            <a:off x="6703116" y="2488178"/>
            <a:ext cx="4815782" cy="88302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400" dirty="0">
                <a:cs typeface="+mn-ea"/>
                <a:sym typeface="+mn-lt"/>
              </a:rPr>
              <a:t>Unified fonts make reading</a:t>
            </a:r>
          </a:p>
          <a:p>
            <a:pPr>
              <a:buSzPct val="25000"/>
            </a:pPr>
            <a:r>
              <a:rPr lang="en-US" sz="2400" dirty="0">
                <a:cs typeface="+mn-ea"/>
                <a:sym typeface="+mn-lt"/>
              </a:rPr>
              <a:t>more fluent.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28024AAB-91AF-466C-A341-07EB511B1B8F}"/>
              </a:ext>
            </a:extLst>
          </p:cNvPr>
          <p:cNvSpPr txBox="1"/>
          <p:nvPr/>
        </p:nvSpPr>
        <p:spPr>
          <a:xfrm>
            <a:off x="6703115" y="3371200"/>
            <a:ext cx="4815784" cy="85221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  <p:cxnSp>
        <p:nvCxnSpPr>
          <p:cNvPr id="30" name="直接连接符 29">
            <a:extLst>
              <a:ext uri="{FF2B5EF4-FFF2-40B4-BE49-F238E27FC236}">
                <a16:creationId xmlns:a16="http://schemas.microsoft.com/office/drawing/2014/main" id="{FF4F1BCB-891D-445A-BF7A-4529DF42AE5C}"/>
              </a:ext>
            </a:extLst>
          </p:cNvPr>
          <p:cNvCxnSpPr/>
          <p:nvPr/>
        </p:nvCxnSpPr>
        <p:spPr>
          <a:xfrm>
            <a:off x="6804568" y="3371200"/>
            <a:ext cx="4722376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接连接符 30">
            <a:extLst>
              <a:ext uri="{FF2B5EF4-FFF2-40B4-BE49-F238E27FC236}">
                <a16:creationId xmlns:a16="http://schemas.microsoft.com/office/drawing/2014/main" id="{359B5610-B817-4690-ACF3-D652A4EEEB5B}"/>
              </a:ext>
            </a:extLst>
          </p:cNvPr>
          <p:cNvCxnSpPr/>
          <p:nvPr/>
        </p:nvCxnSpPr>
        <p:spPr>
          <a:xfrm>
            <a:off x="6804568" y="3371200"/>
            <a:ext cx="1818854" cy="0"/>
          </a:xfrm>
          <a:prstGeom prst="line">
            <a:avLst/>
          </a:prstGeom>
          <a:ln w="1905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椭圆 25">
            <a:extLst>
              <a:ext uri="{FF2B5EF4-FFF2-40B4-BE49-F238E27FC236}">
                <a16:creationId xmlns:a16="http://schemas.microsoft.com/office/drawing/2014/main" id="{716B3D2F-390A-4016-8E86-B77DD5E43194}"/>
              </a:ext>
            </a:extLst>
          </p:cNvPr>
          <p:cNvSpPr/>
          <p:nvPr/>
        </p:nvSpPr>
        <p:spPr>
          <a:xfrm>
            <a:off x="6951170" y="4642150"/>
            <a:ext cx="548728" cy="548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dirty="0">
                <a:cs typeface="+mn-ea"/>
                <a:sym typeface="+mn-lt"/>
              </a:rPr>
              <a:t>01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0B164B65-32ED-4383-9E30-2BB7767DB2E4}"/>
              </a:ext>
            </a:extLst>
          </p:cNvPr>
          <p:cNvSpPr/>
          <p:nvPr/>
        </p:nvSpPr>
        <p:spPr>
          <a:xfrm>
            <a:off x="6709014" y="5263585"/>
            <a:ext cx="1033040" cy="338554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i="1" dirty="0">
                <a:cs typeface="+mn-ea"/>
                <a:sym typeface="+mn-lt"/>
              </a:rPr>
              <a:t>Text here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716B3D2F-390A-4016-8E86-B77DD5E43194}"/>
              </a:ext>
            </a:extLst>
          </p:cNvPr>
          <p:cNvSpPr/>
          <p:nvPr/>
        </p:nvSpPr>
        <p:spPr>
          <a:xfrm>
            <a:off x="9469067" y="4642150"/>
            <a:ext cx="548728" cy="548732"/>
          </a:xfrm>
          <a:prstGeom prst="ellipse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dirty="0">
                <a:cs typeface="+mn-ea"/>
                <a:sym typeface="+mn-lt"/>
              </a:rPr>
              <a:t>03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0B164B65-32ED-4383-9E30-2BB7767DB2E4}"/>
              </a:ext>
            </a:extLst>
          </p:cNvPr>
          <p:cNvSpPr/>
          <p:nvPr/>
        </p:nvSpPr>
        <p:spPr>
          <a:xfrm>
            <a:off x="9226911" y="5263585"/>
            <a:ext cx="1033040" cy="338554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i="1" dirty="0">
                <a:cs typeface="+mn-ea"/>
                <a:sym typeface="+mn-lt"/>
              </a:rPr>
              <a:t>Text here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716B3D2F-390A-4016-8E86-B77DD5E43194}"/>
              </a:ext>
            </a:extLst>
          </p:cNvPr>
          <p:cNvSpPr/>
          <p:nvPr/>
        </p:nvSpPr>
        <p:spPr>
          <a:xfrm>
            <a:off x="8210118" y="4642150"/>
            <a:ext cx="548728" cy="548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dirty="0">
                <a:cs typeface="+mn-ea"/>
                <a:sym typeface="+mn-lt"/>
              </a:rPr>
              <a:t>02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0B164B65-32ED-4383-9E30-2BB7767DB2E4}"/>
              </a:ext>
            </a:extLst>
          </p:cNvPr>
          <p:cNvSpPr/>
          <p:nvPr/>
        </p:nvSpPr>
        <p:spPr>
          <a:xfrm>
            <a:off x="7967962" y="5263585"/>
            <a:ext cx="1033040" cy="338554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i="1" dirty="0">
                <a:cs typeface="+mn-ea"/>
                <a:sym typeface="+mn-lt"/>
              </a:rPr>
              <a:t>Text here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0B164B65-32ED-4383-9E30-2BB7767DB2E4}"/>
              </a:ext>
            </a:extLst>
          </p:cNvPr>
          <p:cNvSpPr/>
          <p:nvPr/>
        </p:nvSpPr>
        <p:spPr>
          <a:xfrm>
            <a:off x="10485860" y="5263585"/>
            <a:ext cx="1033040" cy="338554"/>
          </a:xfrm>
          <a:prstGeom prst="rect">
            <a:avLst/>
          </a:prstGeom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altLang="zh-CN" sz="1600" i="1" dirty="0">
                <a:cs typeface="+mn-ea"/>
                <a:sym typeface="+mn-lt"/>
              </a:rPr>
              <a:t>Text here</a:t>
            </a:r>
            <a:endParaRPr lang="zh-CN" altLang="en-US" sz="1600" i="1" dirty="0"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716B3D2F-390A-4016-8E86-B77DD5E43194}"/>
              </a:ext>
            </a:extLst>
          </p:cNvPr>
          <p:cNvSpPr/>
          <p:nvPr/>
        </p:nvSpPr>
        <p:spPr>
          <a:xfrm>
            <a:off x="10728016" y="4642150"/>
            <a:ext cx="548728" cy="548732"/>
          </a:xfrm>
          <a:prstGeom prst="ellipse">
            <a:avLst/>
          </a:prstGeom>
          <a:solidFill>
            <a:schemeClr val="bg1">
              <a:lumMod val="75000"/>
            </a:scheme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77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dirty="0">
                <a:cs typeface="+mn-ea"/>
                <a:sym typeface="+mn-lt"/>
              </a:rPr>
              <a:t>04</a:t>
            </a:r>
            <a:endParaRPr lang="zh-CN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8640813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F88C004-41F7-4462-B336-B75A33B94A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4B7C340-58B1-4888-9105-B905FC9FB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4CEC892-3BBF-40B2-B3BD-AC139FAB4B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500F6B53-F906-4688-B299-AFB90B8CF128}"/>
              </a:ext>
            </a:extLst>
          </p:cNvPr>
          <p:cNvSpPr/>
          <p:nvPr/>
        </p:nvSpPr>
        <p:spPr>
          <a:xfrm>
            <a:off x="3537581" y="4396180"/>
            <a:ext cx="351263" cy="354351"/>
          </a:xfrm>
          <a:prstGeom prst="rect">
            <a:avLst/>
          </a:prstGeom>
          <a:solidFill>
            <a:schemeClr val="accent1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t">
            <a:normAutofit fontScale="475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>
              <a:cs typeface="+mn-ea"/>
              <a:sym typeface="+mn-lt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E68B4465-5796-4E7C-BD2C-260381DF66E5}"/>
              </a:ext>
            </a:extLst>
          </p:cNvPr>
          <p:cNvSpPr/>
          <p:nvPr/>
        </p:nvSpPr>
        <p:spPr>
          <a:xfrm>
            <a:off x="2659424" y="4390486"/>
            <a:ext cx="878157" cy="1756314"/>
          </a:xfrm>
          <a:prstGeom prst="rect">
            <a:avLst/>
          </a:prstGeom>
          <a:solidFill>
            <a:schemeClr val="accent1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 anchorCtr="0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4C284DD0-865C-43A0-B499-9E151E6289F3}"/>
              </a:ext>
            </a:extLst>
          </p:cNvPr>
          <p:cNvSpPr/>
          <p:nvPr/>
        </p:nvSpPr>
        <p:spPr>
          <a:xfrm>
            <a:off x="4767001" y="2994217"/>
            <a:ext cx="351263" cy="354351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t">
            <a:normAutofit fontScale="47500" lnSpcReduction="20000"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endParaRPr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AA01EAF1-7D96-4D71-8672-EF40594E6610}"/>
              </a:ext>
            </a:extLst>
          </p:cNvPr>
          <p:cNvSpPr/>
          <p:nvPr/>
        </p:nvSpPr>
        <p:spPr>
          <a:xfrm>
            <a:off x="3888844" y="2994217"/>
            <a:ext cx="878157" cy="1756314"/>
          </a:xfrm>
          <a:prstGeom prst="rect">
            <a:avLst/>
          </a:prstGeom>
          <a:solidFill>
            <a:schemeClr val="accent2"/>
          </a:solidFill>
          <a:ln w="12700" cap="flat">
            <a:noFill/>
            <a:miter lim="400000"/>
          </a:ln>
          <a:effectLst/>
        </p:spPr>
        <p:txBody>
          <a:bodyPr wrap="square" lIns="91440" tIns="45720" rIns="91440" bIns="45720" numCol="1" anchor="ctr" anchorCtr="0">
            <a:normAutofit/>
          </a:bodyPr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1pPr>
            <a:lvl2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2pPr>
            <a:lvl3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3pPr>
            <a:lvl4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4pPr>
            <a:lvl5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5pPr>
            <a:lvl6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6pPr>
            <a:lvl7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7pPr>
            <a:lvl8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8pPr>
            <a:lvl9pPr marL="0" marR="0" indent="0" algn="ctr" defTabSz="457200" rtl="0" fontAlgn="auto" latinLnBrk="0" hangingPunct="0">
              <a:lnSpc>
                <a:spcPct val="80000"/>
              </a:lnSpc>
              <a:spcBef>
                <a:spcPts val="55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5000" b="0" i="0" u="none" strike="noStrike" cap="none" spc="0" normalizeH="0" baseline="0">
                <a:ln>
                  <a:noFill/>
                </a:ln>
                <a:solidFill>
                  <a:srgbClr val="333333"/>
                </a:solidFill>
                <a:effectLst/>
                <a:uFillTx/>
              </a:defRPr>
            </a:lvl9pPr>
          </a:lstStyle>
          <a:p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任意多边形: 形状 7">
            <a:extLst>
              <a:ext uri="{FF2B5EF4-FFF2-40B4-BE49-F238E27FC236}">
                <a16:creationId xmlns:a16="http://schemas.microsoft.com/office/drawing/2014/main" id="{FD0F8A25-90AE-46CA-AA51-1A67F2633D8F}"/>
              </a:ext>
            </a:extLst>
          </p:cNvPr>
          <p:cNvSpPr/>
          <p:nvPr/>
        </p:nvSpPr>
        <p:spPr bwMode="auto">
          <a:xfrm>
            <a:off x="4899189" y="1148292"/>
            <a:ext cx="1320800" cy="2200276"/>
          </a:xfrm>
          <a:custGeom>
            <a:avLst/>
            <a:gdLst>
              <a:gd name="T0" fmla="*/ 138 w 832"/>
              <a:gd name="T1" fmla="*/ 1386 h 1386"/>
              <a:gd name="T2" fmla="*/ 138 w 832"/>
              <a:gd name="T3" fmla="*/ 330 h 1386"/>
              <a:gd name="T4" fmla="*/ 0 w 832"/>
              <a:gd name="T5" fmla="*/ 330 h 1386"/>
              <a:gd name="T6" fmla="*/ 416 w 832"/>
              <a:gd name="T7" fmla="*/ 0 h 1386"/>
              <a:gd name="T8" fmla="*/ 832 w 832"/>
              <a:gd name="T9" fmla="*/ 330 h 1386"/>
              <a:gd name="T10" fmla="*/ 694 w 832"/>
              <a:gd name="T11" fmla="*/ 330 h 1386"/>
              <a:gd name="T12" fmla="*/ 694 w 832"/>
              <a:gd name="T13" fmla="*/ 1386 h 1386"/>
              <a:gd name="T14" fmla="*/ 138 w 832"/>
              <a:gd name="T15" fmla="*/ 1386 h 1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832" h="1386">
                <a:moveTo>
                  <a:pt x="138" y="1386"/>
                </a:moveTo>
                <a:lnTo>
                  <a:pt x="138" y="330"/>
                </a:lnTo>
                <a:lnTo>
                  <a:pt x="0" y="330"/>
                </a:lnTo>
                <a:lnTo>
                  <a:pt x="416" y="0"/>
                </a:lnTo>
                <a:lnTo>
                  <a:pt x="832" y="330"/>
                </a:lnTo>
                <a:lnTo>
                  <a:pt x="694" y="330"/>
                </a:lnTo>
                <a:lnTo>
                  <a:pt x="694" y="1386"/>
                </a:lnTo>
                <a:lnTo>
                  <a:pt x="138" y="138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3600" b="1" dirty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zh-CN" altLang="en-US" sz="36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9" name="椭圆 28">
            <a:extLst>
              <a:ext uri="{FF2B5EF4-FFF2-40B4-BE49-F238E27FC236}">
                <a16:creationId xmlns:a16="http://schemas.microsoft.com/office/drawing/2014/main" id="{F11DF685-76D7-43FC-BED0-970CEA148308}"/>
              </a:ext>
            </a:extLst>
          </p:cNvPr>
          <p:cNvSpPr/>
          <p:nvPr/>
        </p:nvSpPr>
        <p:spPr>
          <a:xfrm>
            <a:off x="3794756" y="5151617"/>
            <a:ext cx="478054" cy="478054"/>
          </a:xfrm>
          <a:prstGeom prst="ellipse">
            <a:avLst/>
          </a:prstGeom>
          <a:solidFill>
            <a:schemeClr val="accent1"/>
          </a:solidFill>
          <a:ln w="5715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ECDE7422-20D0-483D-8A68-E79C270E15AE}"/>
              </a:ext>
            </a:extLst>
          </p:cNvPr>
          <p:cNvSpPr/>
          <p:nvPr/>
        </p:nvSpPr>
        <p:spPr>
          <a:xfrm>
            <a:off x="3920594" y="5269273"/>
            <a:ext cx="226377" cy="242742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lIns="91440" tIns="45720" rIns="91440" bIns="45720" anchor="ctr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4318557" y="5403919"/>
            <a:ext cx="3330625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8" name="文本框 27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4318557" y="4948738"/>
            <a:ext cx="3330625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5" name="椭圆 24">
            <a:extLst>
              <a:ext uri="{FF2B5EF4-FFF2-40B4-BE49-F238E27FC236}">
                <a16:creationId xmlns:a16="http://schemas.microsoft.com/office/drawing/2014/main" id="{10B52C4B-678C-4A48-86F5-1CB847C8BB86}"/>
              </a:ext>
            </a:extLst>
          </p:cNvPr>
          <p:cNvSpPr/>
          <p:nvPr/>
        </p:nvSpPr>
        <p:spPr>
          <a:xfrm>
            <a:off x="6248564" y="2131404"/>
            <a:ext cx="478054" cy="478054"/>
          </a:xfrm>
          <a:prstGeom prst="ellipse">
            <a:avLst/>
          </a:prstGeom>
          <a:solidFill>
            <a:schemeClr val="accent3"/>
          </a:solidFill>
          <a:ln w="5715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6" name="任意多边形: 形状 25">
            <a:extLst>
              <a:ext uri="{FF2B5EF4-FFF2-40B4-BE49-F238E27FC236}">
                <a16:creationId xmlns:a16="http://schemas.microsoft.com/office/drawing/2014/main" id="{CDE43973-F348-4625-89A4-34D993D4F23A}"/>
              </a:ext>
            </a:extLst>
          </p:cNvPr>
          <p:cNvSpPr/>
          <p:nvPr/>
        </p:nvSpPr>
        <p:spPr>
          <a:xfrm>
            <a:off x="6366209" y="2278218"/>
            <a:ext cx="242742" cy="184429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8 w 224"/>
              <a:gd name="T11" fmla="*/ 72 h 168"/>
              <a:gd name="T12" fmla="*/ 104 w 224"/>
              <a:gd name="T13" fmla="*/ 143 h 168"/>
              <a:gd name="T14" fmla="*/ 58 w 224"/>
              <a:gd name="T15" fmla="*/ 99 h 168"/>
              <a:gd name="T16" fmla="*/ 8 w 224"/>
              <a:gd name="T17" fmla="*/ 160 h 168"/>
              <a:gd name="T18" fmla="*/ 216 w 224"/>
              <a:gd name="T19" fmla="*/ 160 h 168"/>
              <a:gd name="T20" fmla="*/ 158 w 224"/>
              <a:gd name="T21" fmla="*/ 72 h 168"/>
              <a:gd name="T22" fmla="*/ 40 w 224"/>
              <a:gd name="T23" fmla="*/ 24 h 168"/>
              <a:gd name="T24" fmla="*/ 24 w 224"/>
              <a:gd name="T25" fmla="*/ 40 h 168"/>
              <a:gd name="T26" fmla="*/ 40 w 224"/>
              <a:gd name="T27" fmla="*/ 56 h 168"/>
              <a:gd name="T28" fmla="*/ 56 w 224"/>
              <a:gd name="T29" fmla="*/ 40 h 168"/>
              <a:gd name="T30" fmla="*/ 40 w 224"/>
              <a:gd name="T31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8" y="72"/>
                </a:moveTo>
                <a:cubicBezTo>
                  <a:pt x="104" y="143"/>
                  <a:pt x="104" y="143"/>
                  <a:pt x="104" y="143"/>
                </a:cubicBezTo>
                <a:cubicBezTo>
                  <a:pt x="58" y="99"/>
                  <a:pt x="58" y="99"/>
                  <a:pt x="58" y="9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lnTo>
                  <a:pt x="158" y="72"/>
                </a:ln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lIns="91440" tIns="45720" rIns="91440" bIns="45720" anchor="ctr" anchorCtr="0">
            <a:normAutofit fontScale="4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772365" y="2383706"/>
            <a:ext cx="3330625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6772365" y="1928525"/>
            <a:ext cx="3330625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7E5C6628-E12C-417B-BC33-C04D8409B190}"/>
              </a:ext>
            </a:extLst>
          </p:cNvPr>
          <p:cNvSpPr/>
          <p:nvPr/>
        </p:nvSpPr>
        <p:spPr>
          <a:xfrm>
            <a:off x="5024176" y="3755348"/>
            <a:ext cx="478054" cy="478054"/>
          </a:xfrm>
          <a:prstGeom prst="ellipse">
            <a:avLst/>
          </a:prstGeom>
          <a:solidFill>
            <a:schemeClr val="accent2"/>
          </a:solidFill>
          <a:ln w="5715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1F47E6B0-04A4-43DB-A82C-F13E6822CDAD}"/>
              </a:ext>
            </a:extLst>
          </p:cNvPr>
          <p:cNvSpPr/>
          <p:nvPr/>
        </p:nvSpPr>
        <p:spPr>
          <a:xfrm>
            <a:off x="5164955" y="3873006"/>
            <a:ext cx="196473" cy="242742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ffectLst/>
        </p:spPr>
        <p:txBody>
          <a:bodyPr wrap="square" lIns="91440" tIns="45720" rIns="91440" bIns="45720" anchor="ctr" anchorCtr="0">
            <a:normAutofit fontScale="6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547977" y="4007650"/>
            <a:ext cx="3330625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5547977" y="3552469"/>
            <a:ext cx="3330625" cy="455181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BD7A09FA-5902-4B7E-B765-12A83674B761}"/>
              </a:ext>
            </a:extLst>
          </p:cNvPr>
          <p:cNvCxnSpPr/>
          <p:nvPr/>
        </p:nvCxnSpPr>
        <p:spPr>
          <a:xfrm>
            <a:off x="6745220" y="3015462"/>
            <a:ext cx="477368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9CDA52EC-01AE-4CC7-B82E-321826FBC569}"/>
              </a:ext>
            </a:extLst>
          </p:cNvPr>
          <p:cNvCxnSpPr/>
          <p:nvPr/>
        </p:nvCxnSpPr>
        <p:spPr>
          <a:xfrm>
            <a:off x="5576372" y="4639406"/>
            <a:ext cx="594252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接连接符 16">
            <a:extLst>
              <a:ext uri="{FF2B5EF4-FFF2-40B4-BE49-F238E27FC236}">
                <a16:creationId xmlns:a16="http://schemas.microsoft.com/office/drawing/2014/main" id="{026EF1A8-CC18-4F22-A3D7-E2BD5FD82A93}"/>
              </a:ext>
            </a:extLst>
          </p:cNvPr>
          <p:cNvCxnSpPr/>
          <p:nvPr/>
        </p:nvCxnSpPr>
        <p:spPr>
          <a:xfrm>
            <a:off x="4402720" y="6035675"/>
            <a:ext cx="711618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文本框 17">
            <a:extLst>
              <a:ext uri="{FF2B5EF4-FFF2-40B4-BE49-F238E27FC236}">
                <a16:creationId xmlns:a16="http://schemas.microsoft.com/office/drawing/2014/main" id="{3211182C-CCC1-4265-BA72-F8103C5C38B2}"/>
              </a:ext>
            </a:extLst>
          </p:cNvPr>
          <p:cNvSpPr txBox="1"/>
          <p:nvPr/>
        </p:nvSpPr>
        <p:spPr>
          <a:xfrm>
            <a:off x="669925" y="1123950"/>
            <a:ext cx="3140603" cy="830997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Unified fonts make</a:t>
            </a:r>
          </a:p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reading more fluen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51007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1" name="图片 160">
            <a:extLst>
              <a:ext uri="{FF2B5EF4-FFF2-40B4-BE49-F238E27FC236}">
                <a16:creationId xmlns:a16="http://schemas.microsoft.com/office/drawing/2014/main" id="{22E54853-6F56-4A9E-B67A-49D9B3A43DB3}"/>
              </a:ext>
            </a:extLst>
          </p:cNvPr>
          <p:cNvPicPr>
            <a:picLocks noChangeArrowheads="1"/>
          </p:cNvPicPr>
          <p:nvPr/>
        </p:nvPicPr>
        <p:blipFill rotWithShape="1">
          <a:blip r:embed="rId3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392" b="29286"/>
          <a:stretch/>
        </p:blipFill>
        <p:spPr bwMode="auto">
          <a:xfrm>
            <a:off x="2819399" y="1101736"/>
            <a:ext cx="9372601" cy="16240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矩形 10">
            <a:extLst>
              <a:ext uri="{FF2B5EF4-FFF2-40B4-BE49-F238E27FC236}">
                <a16:creationId xmlns:a16="http://schemas.microsoft.com/office/drawing/2014/main" id="{92EF8232-F2EC-430A-A49E-035BB6F47DDA}"/>
              </a:ext>
            </a:extLst>
          </p:cNvPr>
          <p:cNvSpPr/>
          <p:nvPr/>
        </p:nvSpPr>
        <p:spPr>
          <a:xfrm>
            <a:off x="2819399" y="1101736"/>
            <a:ext cx="9372600" cy="1612900"/>
          </a:xfrm>
          <a:prstGeom prst="rect">
            <a:avLst/>
          </a:prstGeom>
          <a:solidFill>
            <a:schemeClr val="accent2">
              <a:alpha val="90000"/>
            </a:schemeClr>
          </a:solidFill>
        </p:spPr>
        <p:txBody>
          <a:bodyPr wrap="none" rtlCol="0" anchor="ctr">
            <a:noAutofit/>
          </a:bodyPr>
          <a:lstStyle/>
          <a:p>
            <a:endParaRPr lang="zh-CN" altLang="en-US" sz="240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59634B2C-4BB6-4384-8F5B-BF03E89E11FF}"/>
              </a:ext>
            </a:extLst>
          </p:cNvPr>
          <p:cNvSpPr/>
          <p:nvPr/>
        </p:nvSpPr>
        <p:spPr>
          <a:xfrm>
            <a:off x="669925" y="1130299"/>
            <a:ext cx="2047875" cy="16129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EB1498AE-F30D-4A37-A931-56BCDDE32E6D}"/>
              </a:ext>
            </a:extLst>
          </p:cNvPr>
          <p:cNvSpPr txBox="1"/>
          <p:nvPr/>
        </p:nvSpPr>
        <p:spPr>
          <a:xfrm>
            <a:off x="669924" y="2019576"/>
            <a:ext cx="2047875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/>
            <a:r>
              <a:rPr lang="zh-CN" altLang="en-US" sz="2000" b="1" dirty="0">
                <a:solidFill>
                  <a:schemeClr val="bg1"/>
                </a:solidFill>
                <a:cs typeface="+mn-ea"/>
                <a:sym typeface="+mn-lt"/>
              </a:rPr>
              <a:t>目录</a:t>
            </a:r>
            <a:endParaRPr lang="en-US" altLang="zh-CN" sz="2000" b="1" dirty="0">
              <a:solidFill>
                <a:schemeClr val="bg1"/>
              </a:solidFill>
              <a:cs typeface="+mn-ea"/>
              <a:sym typeface="+mn-lt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tr-TR" altLang="zh-CN" sz="2000" b="0">
                <a:solidFill>
                  <a:schemeClr val="bg1"/>
                </a:solidFill>
                <a:cs typeface="+mn-ea"/>
                <a:sym typeface="+mn-lt"/>
              </a:rPr>
              <a:t>CONTENTS</a:t>
            </a:r>
            <a:endParaRPr lang="en-US" altLang="zh-CN" sz="2000" b="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131616B8-3B75-4937-ADAE-7AB18F096F9B}"/>
              </a:ext>
            </a:extLst>
          </p:cNvPr>
          <p:cNvSpPr txBox="1"/>
          <p:nvPr/>
        </p:nvSpPr>
        <p:spPr bwMode="auto">
          <a:xfrm>
            <a:off x="2886075" y="3190874"/>
            <a:ext cx="8645524" cy="2695576"/>
          </a:xfrm>
          <a:prstGeom prst="rect">
            <a:avLst/>
          </a:prstGeom>
          <a:noFill/>
        </p:spPr>
        <p:txBody>
          <a:bodyPr wrap="square" tIns="0" numCol="2" anchor="t">
            <a:noAutofit/>
          </a:bodyPr>
          <a:lstStyle>
            <a:defPPr>
              <a:defRPr lang="zh-CN"/>
            </a:defPPr>
            <a:lvl1pPr>
              <a:defRPr sz="1600" b="1">
                <a:latin typeface="Arial" panose="020B0604020202020204" pitchFamily="34" charset="0"/>
                <a:ea typeface="微软雅黑" panose="020B0503020204020204" pitchFamily="34" charset="-122"/>
                <a:cs typeface="+mn-ea"/>
              </a:defRPr>
            </a:lvl1pPr>
            <a:lvl2pPr marL="742950" indent="-28575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2pPr>
            <a:lvl3pPr marL="11430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3pPr>
            <a:lvl4pPr marL="16002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4pPr>
            <a:lvl5pPr marL="2057400" indent="-228600"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4D4D4D"/>
                </a:solidFill>
                <a:latin typeface="Arial" panose="020B0604020202020204" pitchFamily="34" charset="0"/>
                <a:ea typeface="黑体" panose="02010609060101010101" pitchFamily="49" charset="-122"/>
              </a:defRPr>
            </a:lvl9pPr>
          </a:lstStyle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zh-CN" altLang="en-US" sz="11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三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en-US" altLang="zh-CN" sz="11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1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  <a:endParaRPr lang="en-US" altLang="zh-CN" sz="1400" dirty="0">
              <a:solidFill>
                <a:schemeClr val="accent1"/>
              </a:solidFill>
              <a:latin typeface="+mn-lt"/>
              <a:ea typeface="+mn-ea"/>
              <a:sym typeface="+mn-lt"/>
            </a:endParaRP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en-US" altLang="zh-CN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2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en-US" altLang="zh-CN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…</a:t>
            </a: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zh-CN" altLang="en-US" sz="11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三级目录层级样式</a:t>
            </a:r>
          </a:p>
          <a:p>
            <a:pPr marL="1257253" lvl="2" indent="-342900" defTabSz="914354">
              <a:lnSpc>
                <a:spcPct val="120000"/>
              </a:lnSpc>
              <a:spcBef>
                <a:spcPts val="500"/>
              </a:spcBef>
              <a:buFont typeface="+mj-lt"/>
              <a:buAutoNum type="alphaLcParenR"/>
            </a:pPr>
            <a:r>
              <a:rPr lang="en-US" altLang="zh-CN" sz="11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1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zh-CN" altLang="en-US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一级目录层级样式</a:t>
            </a:r>
            <a:endParaRPr lang="en-US" altLang="zh-CN" sz="1400" dirty="0">
              <a:solidFill>
                <a:schemeClr val="accent1"/>
              </a:solidFill>
              <a:latin typeface="+mn-lt"/>
              <a:ea typeface="+mn-ea"/>
              <a:sym typeface="+mn-lt"/>
            </a:endParaRP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zh-CN" altLang="en-US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二级目录层级样式</a:t>
            </a:r>
          </a:p>
          <a:p>
            <a:pPr marL="800077" lvl="1" indent="-342900" defTabSz="914354">
              <a:lnSpc>
                <a:spcPct val="120000"/>
              </a:lnSpc>
              <a:spcBef>
                <a:spcPts val="500"/>
              </a:spcBef>
              <a:buFont typeface="+mj-ea"/>
              <a:buAutoNum type="circleNumDbPlain"/>
            </a:pPr>
            <a:r>
              <a:rPr lang="en-US" altLang="zh-CN" sz="1200" b="0" dirty="0">
                <a:solidFill>
                  <a:srgbClr val="000000"/>
                </a:solidFill>
                <a:latin typeface="+mn-lt"/>
                <a:ea typeface="+mn-ea"/>
                <a:cs typeface="+mn-ea"/>
                <a:sym typeface="+mn-lt"/>
              </a:rPr>
              <a:t>…</a:t>
            </a:r>
            <a:endParaRPr lang="zh-CN" altLang="en-US" sz="1200" b="0" dirty="0">
              <a:solidFill>
                <a:srgbClr val="000000"/>
              </a:solidFill>
              <a:latin typeface="+mn-lt"/>
              <a:ea typeface="+mn-ea"/>
              <a:cs typeface="+mn-ea"/>
              <a:sym typeface="+mn-lt"/>
            </a:endParaRPr>
          </a:p>
          <a:p>
            <a:pPr marL="342900" lvl="0" indent="-342900" defTabSz="914354">
              <a:lnSpc>
                <a:spcPct val="120000"/>
              </a:lnSpc>
              <a:spcBef>
                <a:spcPts val="1000"/>
              </a:spcBef>
              <a:buSzPct val="80000"/>
              <a:buFont typeface="+mj-ea"/>
              <a:buAutoNum type="ea1JpnChsDbPeriod"/>
            </a:pPr>
            <a:r>
              <a:rPr lang="en-US" altLang="zh-CN" sz="1400" dirty="0">
                <a:solidFill>
                  <a:schemeClr val="accent1"/>
                </a:solidFill>
                <a:latin typeface="+mn-lt"/>
                <a:ea typeface="+mn-ea"/>
                <a:sym typeface="+mn-lt"/>
              </a:rPr>
              <a:t>…</a:t>
            </a:r>
          </a:p>
        </p:txBody>
      </p:sp>
      <p:cxnSp>
        <p:nvCxnSpPr>
          <p:cNvPr id="15" name="直接连接符 14">
            <a:extLst>
              <a:ext uri="{FF2B5EF4-FFF2-40B4-BE49-F238E27FC236}">
                <a16:creationId xmlns:a16="http://schemas.microsoft.com/office/drawing/2014/main" id="{EDA2D514-60DE-4B18-AF7A-25BC1BEFD1D0}"/>
              </a:ext>
            </a:extLst>
          </p:cNvPr>
          <p:cNvCxnSpPr>
            <a:cxnSpLocks/>
          </p:cNvCxnSpPr>
          <p:nvPr/>
        </p:nvCxnSpPr>
        <p:spPr>
          <a:xfrm>
            <a:off x="2819400" y="3190874"/>
            <a:ext cx="0" cy="249555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直接连接符 15">
            <a:extLst>
              <a:ext uri="{FF2B5EF4-FFF2-40B4-BE49-F238E27FC236}">
                <a16:creationId xmlns:a16="http://schemas.microsoft.com/office/drawing/2014/main" id="{F05BEB70-E5B1-4955-BF03-4094956014F4}"/>
              </a:ext>
            </a:extLst>
          </p:cNvPr>
          <p:cNvCxnSpPr>
            <a:cxnSpLocks/>
          </p:cNvCxnSpPr>
          <p:nvPr/>
        </p:nvCxnSpPr>
        <p:spPr>
          <a:xfrm>
            <a:off x="7077075" y="3190874"/>
            <a:ext cx="0" cy="2495551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FC712F9-5F0C-414E-95A1-ED049B56A0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344354A-18EF-4C63-9E4D-CE5553276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01A1F2F-1274-4967-BFCA-C6E9526A60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96" name="组合 95">
            <a:extLst>
              <a:ext uri="{FF2B5EF4-FFF2-40B4-BE49-F238E27FC236}">
                <a16:creationId xmlns:a16="http://schemas.microsoft.com/office/drawing/2014/main" id="{4141C81C-5194-4FD7-9F1D-A672B4186EF8}"/>
              </a:ext>
            </a:extLst>
          </p:cNvPr>
          <p:cNvGrpSpPr/>
          <p:nvPr/>
        </p:nvGrpSpPr>
        <p:grpSpPr>
          <a:xfrm>
            <a:off x="4655694" y="1686192"/>
            <a:ext cx="2881409" cy="2871986"/>
            <a:chOff x="4655296" y="2198106"/>
            <a:chExt cx="2881409" cy="2871986"/>
          </a:xfrm>
        </p:grpSpPr>
        <p:grpSp>
          <p:nvGrpSpPr>
            <p:cNvPr id="119" name="组合 118">
              <a:extLst>
                <a:ext uri="{FF2B5EF4-FFF2-40B4-BE49-F238E27FC236}">
                  <a16:creationId xmlns:a16="http://schemas.microsoft.com/office/drawing/2014/main" id="{564B1C93-6F58-4F46-98AA-EFF43FE44E8B}"/>
                </a:ext>
              </a:extLst>
            </p:cNvPr>
            <p:cNvGrpSpPr/>
            <p:nvPr/>
          </p:nvGrpSpPr>
          <p:grpSpPr>
            <a:xfrm>
              <a:off x="4655296" y="2198106"/>
              <a:ext cx="2881409" cy="2871986"/>
              <a:chOff x="4655296" y="2198106"/>
              <a:chExt cx="2881409" cy="2871986"/>
            </a:xfrm>
          </p:grpSpPr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24341766-74F5-4E44-B5FC-4A3F37872668}"/>
                  </a:ext>
                </a:extLst>
              </p:cNvPr>
              <p:cNvSpPr/>
              <p:nvPr/>
            </p:nvSpPr>
            <p:spPr bwMode="auto">
              <a:xfrm>
                <a:off x="4655296" y="2198106"/>
                <a:ext cx="1787594" cy="2871986"/>
              </a:xfrm>
              <a:custGeom>
                <a:avLst/>
                <a:gdLst>
                  <a:gd name="T0" fmla="*/ 1037 w 1444"/>
                  <a:gd name="T1" fmla="*/ 2320 h 2320"/>
                  <a:gd name="T2" fmla="*/ 789 w 1444"/>
                  <a:gd name="T3" fmla="*/ 2073 h 2320"/>
                  <a:gd name="T4" fmla="*/ 980 w 1444"/>
                  <a:gd name="T5" fmla="*/ 1881 h 2320"/>
                  <a:gd name="T6" fmla="*/ 423 w 1444"/>
                  <a:gd name="T7" fmla="*/ 1163 h 2320"/>
                  <a:gd name="T8" fmla="*/ 1164 w 1444"/>
                  <a:gd name="T9" fmla="*/ 423 h 2320"/>
                  <a:gd name="T10" fmla="*/ 1268 w 1444"/>
                  <a:gd name="T11" fmla="*/ 430 h 2320"/>
                  <a:gd name="T12" fmla="*/ 1444 w 1444"/>
                  <a:gd name="T13" fmla="*/ 254 h 2320"/>
                  <a:gd name="T14" fmla="*/ 1189 w 1444"/>
                  <a:gd name="T15" fmla="*/ 0 h 2320"/>
                  <a:gd name="T16" fmla="*/ 1164 w 1444"/>
                  <a:gd name="T17" fmla="*/ 0 h 2320"/>
                  <a:gd name="T18" fmla="*/ 0 w 1444"/>
                  <a:gd name="T19" fmla="*/ 1163 h 2320"/>
                  <a:gd name="T20" fmla="*/ 1037 w 1444"/>
                  <a:gd name="T21" fmla="*/ 2320 h 2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4" h="2320">
                    <a:moveTo>
                      <a:pt x="1037" y="2320"/>
                    </a:moveTo>
                    <a:cubicBezTo>
                      <a:pt x="789" y="2073"/>
                      <a:pt x="789" y="2073"/>
                      <a:pt x="789" y="2073"/>
                    </a:cubicBezTo>
                    <a:cubicBezTo>
                      <a:pt x="980" y="1881"/>
                      <a:pt x="980" y="1881"/>
                      <a:pt x="980" y="1881"/>
                    </a:cubicBezTo>
                    <a:cubicBezTo>
                      <a:pt x="660" y="1800"/>
                      <a:pt x="423" y="1509"/>
                      <a:pt x="423" y="1163"/>
                    </a:cubicBezTo>
                    <a:cubicBezTo>
                      <a:pt x="423" y="754"/>
                      <a:pt x="755" y="423"/>
                      <a:pt x="1164" y="423"/>
                    </a:cubicBezTo>
                    <a:cubicBezTo>
                      <a:pt x="1199" y="423"/>
                      <a:pt x="1234" y="425"/>
                      <a:pt x="1268" y="430"/>
                    </a:cubicBezTo>
                    <a:cubicBezTo>
                      <a:pt x="1444" y="254"/>
                      <a:pt x="1444" y="254"/>
                      <a:pt x="1444" y="254"/>
                    </a:cubicBezTo>
                    <a:cubicBezTo>
                      <a:pt x="1189" y="0"/>
                      <a:pt x="1189" y="0"/>
                      <a:pt x="1189" y="0"/>
                    </a:cubicBezTo>
                    <a:cubicBezTo>
                      <a:pt x="1181" y="0"/>
                      <a:pt x="1172" y="0"/>
                      <a:pt x="1164" y="0"/>
                    </a:cubicBezTo>
                    <a:cubicBezTo>
                      <a:pt x="521" y="0"/>
                      <a:pt x="0" y="521"/>
                      <a:pt x="0" y="1163"/>
                    </a:cubicBezTo>
                    <a:cubicBezTo>
                      <a:pt x="0" y="1763"/>
                      <a:pt x="453" y="2257"/>
                      <a:pt x="1037" y="232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31A0AE6C-250A-4B70-AEF5-BE367DD5394F}"/>
                  </a:ext>
                </a:extLst>
              </p:cNvPr>
              <p:cNvSpPr/>
              <p:nvPr/>
            </p:nvSpPr>
            <p:spPr bwMode="auto">
              <a:xfrm>
                <a:off x="5749634" y="2198106"/>
                <a:ext cx="1787071" cy="2871986"/>
              </a:xfrm>
              <a:custGeom>
                <a:avLst/>
                <a:gdLst>
                  <a:gd name="T0" fmla="*/ 254 w 1444"/>
                  <a:gd name="T1" fmla="*/ 2320 h 2320"/>
                  <a:gd name="T2" fmla="*/ 280 w 1444"/>
                  <a:gd name="T3" fmla="*/ 2320 h 2320"/>
                  <a:gd name="T4" fmla="*/ 1444 w 1444"/>
                  <a:gd name="T5" fmla="*/ 1156 h 2320"/>
                  <a:gd name="T6" fmla="*/ 407 w 1444"/>
                  <a:gd name="T7" fmla="*/ 0 h 2320"/>
                  <a:gd name="T8" fmla="*/ 654 w 1444"/>
                  <a:gd name="T9" fmla="*/ 247 h 2320"/>
                  <a:gd name="T10" fmla="*/ 463 w 1444"/>
                  <a:gd name="T11" fmla="*/ 439 h 2320"/>
                  <a:gd name="T12" fmla="*/ 1020 w 1444"/>
                  <a:gd name="T13" fmla="*/ 1156 h 2320"/>
                  <a:gd name="T14" fmla="*/ 280 w 1444"/>
                  <a:gd name="T15" fmla="*/ 1897 h 2320"/>
                  <a:gd name="T16" fmla="*/ 176 w 1444"/>
                  <a:gd name="T17" fmla="*/ 1890 h 2320"/>
                  <a:gd name="T18" fmla="*/ 0 w 1444"/>
                  <a:gd name="T19" fmla="*/ 2066 h 2320"/>
                  <a:gd name="T20" fmla="*/ 254 w 1444"/>
                  <a:gd name="T21" fmla="*/ 2320 h 2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44" h="2320">
                    <a:moveTo>
                      <a:pt x="254" y="2320"/>
                    </a:moveTo>
                    <a:cubicBezTo>
                      <a:pt x="262" y="2320"/>
                      <a:pt x="271" y="2320"/>
                      <a:pt x="280" y="2320"/>
                    </a:cubicBezTo>
                    <a:cubicBezTo>
                      <a:pt x="922" y="2320"/>
                      <a:pt x="1444" y="1799"/>
                      <a:pt x="1444" y="1156"/>
                    </a:cubicBezTo>
                    <a:cubicBezTo>
                      <a:pt x="1444" y="557"/>
                      <a:pt x="990" y="63"/>
                      <a:pt x="407" y="0"/>
                    </a:cubicBezTo>
                    <a:cubicBezTo>
                      <a:pt x="654" y="247"/>
                      <a:pt x="654" y="247"/>
                      <a:pt x="654" y="247"/>
                    </a:cubicBezTo>
                    <a:cubicBezTo>
                      <a:pt x="463" y="439"/>
                      <a:pt x="463" y="439"/>
                      <a:pt x="463" y="439"/>
                    </a:cubicBezTo>
                    <a:cubicBezTo>
                      <a:pt x="783" y="520"/>
                      <a:pt x="1020" y="811"/>
                      <a:pt x="1020" y="1156"/>
                    </a:cubicBezTo>
                    <a:cubicBezTo>
                      <a:pt x="1020" y="1566"/>
                      <a:pt x="689" y="1897"/>
                      <a:pt x="280" y="1897"/>
                    </a:cubicBezTo>
                    <a:cubicBezTo>
                      <a:pt x="244" y="1897"/>
                      <a:pt x="210" y="1895"/>
                      <a:pt x="176" y="1890"/>
                    </a:cubicBezTo>
                    <a:cubicBezTo>
                      <a:pt x="0" y="2066"/>
                      <a:pt x="0" y="2066"/>
                      <a:pt x="0" y="2066"/>
                    </a:cubicBezTo>
                    <a:lnTo>
                      <a:pt x="254" y="2320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>
                  <a:cs typeface="+mn-ea"/>
                  <a:sym typeface="+mn-lt"/>
                </a:endParaRPr>
              </a:p>
            </p:txBody>
          </p:sp>
        </p:grpSp>
        <p:grpSp>
          <p:nvGrpSpPr>
            <p:cNvPr id="120" name="组合 119">
              <a:extLst>
                <a:ext uri="{FF2B5EF4-FFF2-40B4-BE49-F238E27FC236}">
                  <a16:creationId xmlns:a16="http://schemas.microsoft.com/office/drawing/2014/main" id="{8E587C77-07BC-4F72-A35C-7AB4A9E8E764}"/>
                </a:ext>
              </a:extLst>
            </p:cNvPr>
            <p:cNvGrpSpPr/>
            <p:nvPr/>
          </p:nvGrpSpPr>
          <p:grpSpPr>
            <a:xfrm>
              <a:off x="5330225" y="2868323"/>
              <a:ext cx="1531551" cy="1531552"/>
              <a:chOff x="5330225" y="2868323"/>
              <a:chExt cx="1531551" cy="1531552"/>
            </a:xfrm>
          </p:grpSpPr>
          <p:sp>
            <p:nvSpPr>
              <p:cNvPr id="121" name="椭圆 120">
                <a:extLst>
                  <a:ext uri="{FF2B5EF4-FFF2-40B4-BE49-F238E27FC236}">
                    <a16:creationId xmlns:a16="http://schemas.microsoft.com/office/drawing/2014/main" id="{F307DF17-34A1-466F-94EA-D41F9A838B5F}"/>
                  </a:ext>
                </a:extLst>
              </p:cNvPr>
              <p:cNvSpPr/>
              <p:nvPr/>
            </p:nvSpPr>
            <p:spPr bwMode="auto">
              <a:xfrm>
                <a:off x="5330225" y="2868323"/>
                <a:ext cx="1531551" cy="1531552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endParaRPr lang="en-US" sz="1053"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9C4CE79F-BF30-41A4-9FE9-F8C6D9F52F7A}"/>
                  </a:ext>
                </a:extLst>
              </p:cNvPr>
              <p:cNvSpPr/>
              <p:nvPr/>
            </p:nvSpPr>
            <p:spPr>
              <a:xfrm>
                <a:off x="5798003" y="3265927"/>
                <a:ext cx="595994" cy="736347"/>
              </a:xfrm>
              <a:custGeom>
                <a:avLst/>
                <a:gdLst>
                  <a:gd name="T0" fmla="*/ 120 w 184"/>
                  <a:gd name="T1" fmla="*/ 0 h 224"/>
                  <a:gd name="T2" fmla="*/ 120 w 184"/>
                  <a:gd name="T3" fmla="*/ 64 h 224"/>
                  <a:gd name="T4" fmla="*/ 184 w 184"/>
                  <a:gd name="T5" fmla="*/ 64 h 224"/>
                  <a:gd name="T6" fmla="*/ 184 w 184"/>
                  <a:gd name="T7" fmla="*/ 224 h 224"/>
                  <a:gd name="T8" fmla="*/ 0 w 184"/>
                  <a:gd name="T9" fmla="*/ 224 h 224"/>
                  <a:gd name="T10" fmla="*/ 0 w 184"/>
                  <a:gd name="T11" fmla="*/ 0 h 224"/>
                  <a:gd name="T12" fmla="*/ 120 w 184"/>
                  <a:gd name="T13" fmla="*/ 0 h 224"/>
                  <a:gd name="T14" fmla="*/ 104 w 184"/>
                  <a:gd name="T15" fmla="*/ 84 h 224"/>
                  <a:gd name="T16" fmla="*/ 64 w 184"/>
                  <a:gd name="T17" fmla="*/ 84 h 224"/>
                  <a:gd name="T18" fmla="*/ 64 w 184"/>
                  <a:gd name="T19" fmla="*/ 172 h 224"/>
                  <a:gd name="T20" fmla="*/ 72 w 184"/>
                  <a:gd name="T21" fmla="*/ 172 h 224"/>
                  <a:gd name="T22" fmla="*/ 72 w 184"/>
                  <a:gd name="T23" fmla="*/ 132 h 224"/>
                  <a:gd name="T24" fmla="*/ 104 w 184"/>
                  <a:gd name="T25" fmla="*/ 132 h 224"/>
                  <a:gd name="T26" fmla="*/ 105 w 184"/>
                  <a:gd name="T27" fmla="*/ 132 h 224"/>
                  <a:gd name="T28" fmla="*/ 128 w 184"/>
                  <a:gd name="T29" fmla="*/ 108 h 224"/>
                  <a:gd name="T30" fmla="*/ 104 w 184"/>
                  <a:gd name="T31" fmla="*/ 84 h 224"/>
                  <a:gd name="T32" fmla="*/ 104 w 184"/>
                  <a:gd name="T33" fmla="*/ 92 h 224"/>
                  <a:gd name="T34" fmla="*/ 120 w 184"/>
                  <a:gd name="T35" fmla="*/ 108 h 224"/>
                  <a:gd name="T36" fmla="*/ 104 w 184"/>
                  <a:gd name="T37" fmla="*/ 124 h 224"/>
                  <a:gd name="T38" fmla="*/ 104 w 184"/>
                  <a:gd name="T39" fmla="*/ 124 h 224"/>
                  <a:gd name="T40" fmla="*/ 72 w 184"/>
                  <a:gd name="T41" fmla="*/ 124 h 224"/>
                  <a:gd name="T42" fmla="*/ 72 w 184"/>
                  <a:gd name="T43" fmla="*/ 92 h 224"/>
                  <a:gd name="T44" fmla="*/ 104 w 184"/>
                  <a:gd name="T45" fmla="*/ 92 h 224"/>
                  <a:gd name="T46" fmla="*/ 180 w 184"/>
                  <a:gd name="T47" fmla="*/ 56 h 224"/>
                  <a:gd name="T48" fmla="*/ 128 w 184"/>
                  <a:gd name="T49" fmla="*/ 56 h 224"/>
                  <a:gd name="T50" fmla="*/ 128 w 184"/>
                  <a:gd name="T51" fmla="*/ 4 h 224"/>
                  <a:gd name="T52" fmla="*/ 180 w 184"/>
                  <a:gd name="T53" fmla="*/ 56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4" h="224">
                    <a:moveTo>
                      <a:pt x="120" y="0"/>
                    </a:moveTo>
                    <a:cubicBezTo>
                      <a:pt x="120" y="64"/>
                      <a:pt x="120" y="64"/>
                      <a:pt x="120" y="64"/>
                    </a:cubicBezTo>
                    <a:cubicBezTo>
                      <a:pt x="184" y="64"/>
                      <a:pt x="184" y="64"/>
                      <a:pt x="184" y="64"/>
                    </a:cubicBezTo>
                    <a:cubicBezTo>
                      <a:pt x="184" y="224"/>
                      <a:pt x="184" y="224"/>
                      <a:pt x="184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120" y="0"/>
                    </a:lnTo>
                    <a:close/>
                    <a:moveTo>
                      <a:pt x="104" y="84"/>
                    </a:moveTo>
                    <a:cubicBezTo>
                      <a:pt x="64" y="84"/>
                      <a:pt x="64" y="84"/>
                      <a:pt x="64" y="84"/>
                    </a:cubicBezTo>
                    <a:cubicBezTo>
                      <a:pt x="64" y="172"/>
                      <a:pt x="64" y="172"/>
                      <a:pt x="64" y="172"/>
                    </a:cubicBezTo>
                    <a:cubicBezTo>
                      <a:pt x="72" y="172"/>
                      <a:pt x="72" y="172"/>
                      <a:pt x="72" y="172"/>
                    </a:cubicBezTo>
                    <a:cubicBezTo>
                      <a:pt x="72" y="132"/>
                      <a:pt x="72" y="132"/>
                      <a:pt x="72" y="132"/>
                    </a:cubicBezTo>
                    <a:cubicBezTo>
                      <a:pt x="104" y="132"/>
                      <a:pt x="104" y="132"/>
                      <a:pt x="104" y="132"/>
                    </a:cubicBezTo>
                    <a:cubicBezTo>
                      <a:pt x="105" y="132"/>
                      <a:pt x="105" y="132"/>
                      <a:pt x="105" y="132"/>
                    </a:cubicBezTo>
                    <a:cubicBezTo>
                      <a:pt x="118" y="132"/>
                      <a:pt x="128" y="121"/>
                      <a:pt x="128" y="108"/>
                    </a:cubicBezTo>
                    <a:cubicBezTo>
                      <a:pt x="128" y="95"/>
                      <a:pt x="117" y="84"/>
                      <a:pt x="104" y="84"/>
                    </a:cubicBezTo>
                    <a:close/>
                    <a:moveTo>
                      <a:pt x="104" y="92"/>
                    </a:moveTo>
                    <a:cubicBezTo>
                      <a:pt x="113" y="92"/>
                      <a:pt x="120" y="99"/>
                      <a:pt x="120" y="108"/>
                    </a:cubicBezTo>
                    <a:cubicBezTo>
                      <a:pt x="120" y="117"/>
                      <a:pt x="113" y="124"/>
                      <a:pt x="104" y="124"/>
                    </a:cubicBezTo>
                    <a:cubicBezTo>
                      <a:pt x="104" y="124"/>
                      <a:pt x="104" y="124"/>
                      <a:pt x="104" y="124"/>
                    </a:cubicBezTo>
                    <a:cubicBezTo>
                      <a:pt x="72" y="124"/>
                      <a:pt x="72" y="124"/>
                      <a:pt x="72" y="124"/>
                    </a:cubicBezTo>
                    <a:cubicBezTo>
                      <a:pt x="72" y="92"/>
                      <a:pt x="72" y="92"/>
                      <a:pt x="72" y="92"/>
                    </a:cubicBezTo>
                    <a:lnTo>
                      <a:pt x="104" y="92"/>
                    </a:lnTo>
                    <a:close/>
                    <a:moveTo>
                      <a:pt x="180" y="56"/>
                    </a:moveTo>
                    <a:cubicBezTo>
                      <a:pt x="128" y="56"/>
                      <a:pt x="128" y="56"/>
                      <a:pt x="128" y="56"/>
                    </a:cubicBezTo>
                    <a:cubicBezTo>
                      <a:pt x="128" y="4"/>
                      <a:pt x="128" y="4"/>
                      <a:pt x="128" y="4"/>
                    </a:cubicBezTo>
                    <a:lnTo>
                      <a:pt x="180" y="56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</p:grpSp>
      <p:grpSp>
        <p:nvGrpSpPr>
          <p:cNvPr id="97" name="组合 96">
            <a:extLst>
              <a:ext uri="{FF2B5EF4-FFF2-40B4-BE49-F238E27FC236}">
                <a16:creationId xmlns:a16="http://schemas.microsoft.com/office/drawing/2014/main" id="{BA9D2615-0B16-48DB-B7A5-AED34EECB8A0}"/>
              </a:ext>
            </a:extLst>
          </p:cNvPr>
          <p:cNvGrpSpPr/>
          <p:nvPr/>
        </p:nvGrpSpPr>
        <p:grpSpPr>
          <a:xfrm>
            <a:off x="7252380" y="2752439"/>
            <a:ext cx="739494" cy="739494"/>
            <a:chOff x="7251982" y="3264352"/>
            <a:chExt cx="739494" cy="739494"/>
          </a:xfrm>
        </p:grpSpPr>
        <p:sp>
          <p:nvSpPr>
            <p:cNvPr id="117" name="椭圆 116">
              <a:extLst>
                <a:ext uri="{FF2B5EF4-FFF2-40B4-BE49-F238E27FC236}">
                  <a16:creationId xmlns:a16="http://schemas.microsoft.com/office/drawing/2014/main" id="{0E72B310-1991-4492-ADE8-6D690DB12232}"/>
                </a:ext>
              </a:extLst>
            </p:cNvPr>
            <p:cNvSpPr/>
            <p:nvPr/>
          </p:nvSpPr>
          <p:spPr bwMode="auto">
            <a:xfrm>
              <a:off x="7251982" y="3264352"/>
              <a:ext cx="739494" cy="739494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53">
                <a:cs typeface="+mn-ea"/>
                <a:sym typeface="+mn-lt"/>
              </a:endParaRPr>
            </a:p>
          </p:txBody>
        </p:sp>
        <p:sp>
          <p:nvSpPr>
            <p:cNvPr id="118" name="任意多边形: 形状 117">
              <a:extLst>
                <a:ext uri="{FF2B5EF4-FFF2-40B4-BE49-F238E27FC236}">
                  <a16:creationId xmlns:a16="http://schemas.microsoft.com/office/drawing/2014/main" id="{76A1C16C-CD44-4CBC-9D65-B52D16C48A50}"/>
                </a:ext>
              </a:extLst>
            </p:cNvPr>
            <p:cNvSpPr/>
            <p:nvPr/>
          </p:nvSpPr>
          <p:spPr>
            <a:xfrm>
              <a:off x="7455352" y="3507691"/>
              <a:ext cx="332752" cy="252816"/>
            </a:xfrm>
            <a:custGeom>
              <a:avLst/>
              <a:gdLst>
                <a:gd name="T0" fmla="*/ 224 w 224"/>
                <a:gd name="T1" fmla="*/ 0 h 168"/>
                <a:gd name="T2" fmla="*/ 224 w 224"/>
                <a:gd name="T3" fmla="*/ 168 h 168"/>
                <a:gd name="T4" fmla="*/ 0 w 224"/>
                <a:gd name="T5" fmla="*/ 168 h 168"/>
                <a:gd name="T6" fmla="*/ 0 w 224"/>
                <a:gd name="T7" fmla="*/ 0 h 168"/>
                <a:gd name="T8" fmla="*/ 224 w 224"/>
                <a:gd name="T9" fmla="*/ 0 h 168"/>
                <a:gd name="T10" fmla="*/ 158 w 224"/>
                <a:gd name="T11" fmla="*/ 72 h 168"/>
                <a:gd name="T12" fmla="*/ 104 w 224"/>
                <a:gd name="T13" fmla="*/ 143 h 168"/>
                <a:gd name="T14" fmla="*/ 58 w 224"/>
                <a:gd name="T15" fmla="*/ 99 h 168"/>
                <a:gd name="T16" fmla="*/ 8 w 224"/>
                <a:gd name="T17" fmla="*/ 160 h 168"/>
                <a:gd name="T18" fmla="*/ 216 w 224"/>
                <a:gd name="T19" fmla="*/ 160 h 168"/>
                <a:gd name="T20" fmla="*/ 158 w 224"/>
                <a:gd name="T21" fmla="*/ 72 h 168"/>
                <a:gd name="T22" fmla="*/ 40 w 224"/>
                <a:gd name="T23" fmla="*/ 24 h 168"/>
                <a:gd name="T24" fmla="*/ 24 w 224"/>
                <a:gd name="T25" fmla="*/ 40 h 168"/>
                <a:gd name="T26" fmla="*/ 40 w 224"/>
                <a:gd name="T27" fmla="*/ 56 h 168"/>
                <a:gd name="T28" fmla="*/ 56 w 224"/>
                <a:gd name="T29" fmla="*/ 40 h 168"/>
                <a:gd name="T30" fmla="*/ 40 w 224"/>
                <a:gd name="T31" fmla="*/ 24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24" h="168">
                  <a:moveTo>
                    <a:pt x="224" y="0"/>
                  </a:moveTo>
                  <a:cubicBezTo>
                    <a:pt x="224" y="168"/>
                    <a:pt x="224" y="168"/>
                    <a:pt x="224" y="168"/>
                  </a:cubicBezTo>
                  <a:cubicBezTo>
                    <a:pt x="0" y="168"/>
                    <a:pt x="0" y="168"/>
                    <a:pt x="0" y="16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224" y="0"/>
                  </a:lnTo>
                  <a:close/>
                  <a:moveTo>
                    <a:pt x="158" y="72"/>
                  </a:moveTo>
                  <a:cubicBezTo>
                    <a:pt x="104" y="143"/>
                    <a:pt x="104" y="143"/>
                    <a:pt x="104" y="143"/>
                  </a:cubicBezTo>
                  <a:cubicBezTo>
                    <a:pt x="58" y="99"/>
                    <a:pt x="58" y="99"/>
                    <a:pt x="58" y="99"/>
                  </a:cubicBezTo>
                  <a:cubicBezTo>
                    <a:pt x="8" y="160"/>
                    <a:pt x="8" y="160"/>
                    <a:pt x="8" y="160"/>
                  </a:cubicBezTo>
                  <a:cubicBezTo>
                    <a:pt x="216" y="160"/>
                    <a:pt x="216" y="160"/>
                    <a:pt x="216" y="160"/>
                  </a:cubicBezTo>
                  <a:lnTo>
                    <a:pt x="158" y="72"/>
                  </a:lnTo>
                  <a:close/>
                  <a:moveTo>
                    <a:pt x="40" y="24"/>
                  </a:moveTo>
                  <a:cubicBezTo>
                    <a:pt x="31" y="24"/>
                    <a:pt x="24" y="31"/>
                    <a:pt x="24" y="40"/>
                  </a:cubicBezTo>
                  <a:cubicBezTo>
                    <a:pt x="24" y="49"/>
                    <a:pt x="31" y="56"/>
                    <a:pt x="40" y="56"/>
                  </a:cubicBezTo>
                  <a:cubicBezTo>
                    <a:pt x="49" y="56"/>
                    <a:pt x="56" y="49"/>
                    <a:pt x="56" y="40"/>
                  </a:cubicBezTo>
                  <a:cubicBezTo>
                    <a:pt x="56" y="31"/>
                    <a:pt x="49" y="24"/>
                    <a:pt x="40" y="2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70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98" name="组合 97">
            <a:extLst>
              <a:ext uri="{FF2B5EF4-FFF2-40B4-BE49-F238E27FC236}">
                <a16:creationId xmlns:a16="http://schemas.microsoft.com/office/drawing/2014/main" id="{0A1E87F5-496B-40D1-ACB6-29DB123B1671}"/>
              </a:ext>
            </a:extLst>
          </p:cNvPr>
          <p:cNvGrpSpPr/>
          <p:nvPr/>
        </p:nvGrpSpPr>
        <p:grpSpPr>
          <a:xfrm>
            <a:off x="4200923" y="2752439"/>
            <a:ext cx="739494" cy="739494"/>
            <a:chOff x="4200525" y="3264352"/>
            <a:chExt cx="739494" cy="739494"/>
          </a:xfrm>
        </p:grpSpPr>
        <p:sp>
          <p:nvSpPr>
            <p:cNvPr id="115" name="椭圆 114">
              <a:extLst>
                <a:ext uri="{FF2B5EF4-FFF2-40B4-BE49-F238E27FC236}">
                  <a16:creationId xmlns:a16="http://schemas.microsoft.com/office/drawing/2014/main" id="{F40B2E2A-9089-4799-83D3-5CFBBD9366E1}"/>
                </a:ext>
              </a:extLst>
            </p:cNvPr>
            <p:cNvSpPr/>
            <p:nvPr/>
          </p:nvSpPr>
          <p:spPr bwMode="auto">
            <a:xfrm>
              <a:off x="4200525" y="3264352"/>
              <a:ext cx="739494" cy="739494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53">
                <a:cs typeface="+mn-ea"/>
                <a:sym typeface="+mn-lt"/>
              </a:endParaRPr>
            </a:p>
          </p:txBody>
        </p:sp>
        <p:sp>
          <p:nvSpPr>
            <p:cNvPr id="116" name="任意多边形: 形状 115">
              <a:extLst>
                <a:ext uri="{FF2B5EF4-FFF2-40B4-BE49-F238E27FC236}">
                  <a16:creationId xmlns:a16="http://schemas.microsoft.com/office/drawing/2014/main" id="{E64452D7-134A-4701-B6E3-8B8646C97C93}"/>
                </a:ext>
              </a:extLst>
            </p:cNvPr>
            <p:cNvSpPr/>
            <p:nvPr/>
          </p:nvSpPr>
          <p:spPr>
            <a:xfrm>
              <a:off x="4415111" y="3467722"/>
              <a:ext cx="310319" cy="332752"/>
            </a:xfrm>
            <a:custGeom>
              <a:avLst/>
              <a:gdLst>
                <a:gd name="T0" fmla="*/ 168 w 208"/>
                <a:gd name="T1" fmla="*/ 0 h 220"/>
                <a:gd name="T2" fmla="*/ 168 w 208"/>
                <a:gd name="T3" fmla="*/ 68 h 220"/>
                <a:gd name="T4" fmla="*/ 108 w 208"/>
                <a:gd name="T5" fmla="*/ 68 h 220"/>
                <a:gd name="T6" fmla="*/ 108 w 208"/>
                <a:gd name="T7" fmla="*/ 120 h 220"/>
                <a:gd name="T8" fmla="*/ 192 w 208"/>
                <a:gd name="T9" fmla="*/ 120 h 220"/>
                <a:gd name="T10" fmla="*/ 192 w 208"/>
                <a:gd name="T11" fmla="*/ 180 h 220"/>
                <a:gd name="T12" fmla="*/ 208 w 208"/>
                <a:gd name="T13" fmla="*/ 180 h 220"/>
                <a:gd name="T14" fmla="*/ 208 w 208"/>
                <a:gd name="T15" fmla="*/ 220 h 220"/>
                <a:gd name="T16" fmla="*/ 168 w 208"/>
                <a:gd name="T17" fmla="*/ 220 h 220"/>
                <a:gd name="T18" fmla="*/ 168 w 208"/>
                <a:gd name="T19" fmla="*/ 180 h 220"/>
                <a:gd name="T20" fmla="*/ 184 w 208"/>
                <a:gd name="T21" fmla="*/ 180 h 220"/>
                <a:gd name="T22" fmla="*/ 184 w 208"/>
                <a:gd name="T23" fmla="*/ 128 h 220"/>
                <a:gd name="T24" fmla="*/ 108 w 208"/>
                <a:gd name="T25" fmla="*/ 128 h 220"/>
                <a:gd name="T26" fmla="*/ 108 w 208"/>
                <a:gd name="T27" fmla="*/ 180 h 220"/>
                <a:gd name="T28" fmla="*/ 124 w 208"/>
                <a:gd name="T29" fmla="*/ 180 h 220"/>
                <a:gd name="T30" fmla="*/ 124 w 208"/>
                <a:gd name="T31" fmla="*/ 220 h 220"/>
                <a:gd name="T32" fmla="*/ 84 w 208"/>
                <a:gd name="T33" fmla="*/ 220 h 220"/>
                <a:gd name="T34" fmla="*/ 84 w 208"/>
                <a:gd name="T35" fmla="*/ 180 h 220"/>
                <a:gd name="T36" fmla="*/ 100 w 208"/>
                <a:gd name="T37" fmla="*/ 180 h 220"/>
                <a:gd name="T38" fmla="*/ 100 w 208"/>
                <a:gd name="T39" fmla="*/ 128 h 220"/>
                <a:gd name="T40" fmla="*/ 24 w 208"/>
                <a:gd name="T41" fmla="*/ 128 h 220"/>
                <a:gd name="T42" fmla="*/ 24 w 208"/>
                <a:gd name="T43" fmla="*/ 180 h 220"/>
                <a:gd name="T44" fmla="*/ 40 w 208"/>
                <a:gd name="T45" fmla="*/ 180 h 220"/>
                <a:gd name="T46" fmla="*/ 40 w 208"/>
                <a:gd name="T47" fmla="*/ 220 h 220"/>
                <a:gd name="T48" fmla="*/ 0 w 208"/>
                <a:gd name="T49" fmla="*/ 220 h 220"/>
                <a:gd name="T50" fmla="*/ 0 w 208"/>
                <a:gd name="T51" fmla="*/ 180 h 220"/>
                <a:gd name="T52" fmla="*/ 16 w 208"/>
                <a:gd name="T53" fmla="*/ 180 h 220"/>
                <a:gd name="T54" fmla="*/ 16 w 208"/>
                <a:gd name="T55" fmla="*/ 120 h 220"/>
                <a:gd name="T56" fmla="*/ 100 w 208"/>
                <a:gd name="T57" fmla="*/ 120 h 220"/>
                <a:gd name="T58" fmla="*/ 100 w 208"/>
                <a:gd name="T59" fmla="*/ 68 h 220"/>
                <a:gd name="T60" fmla="*/ 40 w 208"/>
                <a:gd name="T61" fmla="*/ 68 h 220"/>
                <a:gd name="T62" fmla="*/ 40 w 208"/>
                <a:gd name="T63" fmla="*/ 0 h 220"/>
                <a:gd name="T64" fmla="*/ 168 w 208"/>
                <a:gd name="T65" fmla="*/ 0 h 220"/>
                <a:gd name="T66" fmla="*/ 62 w 208"/>
                <a:gd name="T67" fmla="*/ 40 h 220"/>
                <a:gd name="T68" fmla="*/ 56 w 208"/>
                <a:gd name="T69" fmla="*/ 46 h 220"/>
                <a:gd name="T70" fmla="*/ 62 w 208"/>
                <a:gd name="T71" fmla="*/ 52 h 220"/>
                <a:gd name="T72" fmla="*/ 68 w 208"/>
                <a:gd name="T73" fmla="*/ 46 h 220"/>
                <a:gd name="T74" fmla="*/ 62 w 208"/>
                <a:gd name="T75" fmla="*/ 4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8" h="220">
                  <a:moveTo>
                    <a:pt x="168" y="0"/>
                  </a:moveTo>
                  <a:cubicBezTo>
                    <a:pt x="168" y="68"/>
                    <a:pt x="168" y="68"/>
                    <a:pt x="168" y="68"/>
                  </a:cubicBezTo>
                  <a:cubicBezTo>
                    <a:pt x="108" y="68"/>
                    <a:pt x="108" y="68"/>
                    <a:pt x="108" y="68"/>
                  </a:cubicBezTo>
                  <a:cubicBezTo>
                    <a:pt x="108" y="120"/>
                    <a:pt x="108" y="120"/>
                    <a:pt x="108" y="120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92" y="180"/>
                    <a:pt x="192" y="180"/>
                    <a:pt x="192" y="180"/>
                  </a:cubicBezTo>
                  <a:cubicBezTo>
                    <a:pt x="208" y="180"/>
                    <a:pt x="208" y="180"/>
                    <a:pt x="208" y="180"/>
                  </a:cubicBezTo>
                  <a:cubicBezTo>
                    <a:pt x="208" y="220"/>
                    <a:pt x="208" y="220"/>
                    <a:pt x="208" y="220"/>
                  </a:cubicBezTo>
                  <a:cubicBezTo>
                    <a:pt x="168" y="220"/>
                    <a:pt x="168" y="220"/>
                    <a:pt x="168" y="220"/>
                  </a:cubicBezTo>
                  <a:cubicBezTo>
                    <a:pt x="168" y="180"/>
                    <a:pt x="168" y="180"/>
                    <a:pt x="168" y="180"/>
                  </a:cubicBezTo>
                  <a:cubicBezTo>
                    <a:pt x="184" y="180"/>
                    <a:pt x="184" y="180"/>
                    <a:pt x="184" y="180"/>
                  </a:cubicBezTo>
                  <a:cubicBezTo>
                    <a:pt x="184" y="128"/>
                    <a:pt x="184" y="128"/>
                    <a:pt x="184" y="128"/>
                  </a:cubicBezTo>
                  <a:cubicBezTo>
                    <a:pt x="108" y="128"/>
                    <a:pt x="108" y="128"/>
                    <a:pt x="108" y="128"/>
                  </a:cubicBezTo>
                  <a:cubicBezTo>
                    <a:pt x="108" y="180"/>
                    <a:pt x="108" y="180"/>
                    <a:pt x="108" y="180"/>
                  </a:cubicBezTo>
                  <a:cubicBezTo>
                    <a:pt x="124" y="180"/>
                    <a:pt x="124" y="180"/>
                    <a:pt x="124" y="180"/>
                  </a:cubicBezTo>
                  <a:cubicBezTo>
                    <a:pt x="124" y="220"/>
                    <a:pt x="124" y="220"/>
                    <a:pt x="124" y="220"/>
                  </a:cubicBezTo>
                  <a:cubicBezTo>
                    <a:pt x="84" y="220"/>
                    <a:pt x="84" y="220"/>
                    <a:pt x="84" y="220"/>
                  </a:cubicBezTo>
                  <a:cubicBezTo>
                    <a:pt x="84" y="180"/>
                    <a:pt x="84" y="180"/>
                    <a:pt x="84" y="180"/>
                  </a:cubicBezTo>
                  <a:cubicBezTo>
                    <a:pt x="100" y="180"/>
                    <a:pt x="100" y="180"/>
                    <a:pt x="100" y="180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24" y="128"/>
                    <a:pt x="24" y="128"/>
                    <a:pt x="24" y="128"/>
                  </a:cubicBezTo>
                  <a:cubicBezTo>
                    <a:pt x="24" y="180"/>
                    <a:pt x="24" y="180"/>
                    <a:pt x="24" y="180"/>
                  </a:cubicBezTo>
                  <a:cubicBezTo>
                    <a:pt x="40" y="180"/>
                    <a:pt x="40" y="180"/>
                    <a:pt x="40" y="180"/>
                  </a:cubicBezTo>
                  <a:cubicBezTo>
                    <a:pt x="40" y="220"/>
                    <a:pt x="40" y="220"/>
                    <a:pt x="40" y="220"/>
                  </a:cubicBezTo>
                  <a:cubicBezTo>
                    <a:pt x="0" y="220"/>
                    <a:pt x="0" y="220"/>
                    <a:pt x="0" y="220"/>
                  </a:cubicBezTo>
                  <a:cubicBezTo>
                    <a:pt x="0" y="180"/>
                    <a:pt x="0" y="180"/>
                    <a:pt x="0" y="180"/>
                  </a:cubicBezTo>
                  <a:cubicBezTo>
                    <a:pt x="16" y="180"/>
                    <a:pt x="16" y="180"/>
                    <a:pt x="16" y="18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00" y="120"/>
                    <a:pt x="100" y="120"/>
                    <a:pt x="100" y="120"/>
                  </a:cubicBezTo>
                  <a:cubicBezTo>
                    <a:pt x="100" y="68"/>
                    <a:pt x="100" y="68"/>
                    <a:pt x="100" y="68"/>
                  </a:cubicBezTo>
                  <a:cubicBezTo>
                    <a:pt x="40" y="68"/>
                    <a:pt x="40" y="68"/>
                    <a:pt x="40" y="68"/>
                  </a:cubicBezTo>
                  <a:cubicBezTo>
                    <a:pt x="40" y="0"/>
                    <a:pt x="40" y="0"/>
                    <a:pt x="40" y="0"/>
                  </a:cubicBezTo>
                  <a:lnTo>
                    <a:pt x="168" y="0"/>
                  </a:lnTo>
                  <a:close/>
                  <a:moveTo>
                    <a:pt x="62" y="40"/>
                  </a:moveTo>
                  <a:cubicBezTo>
                    <a:pt x="59" y="40"/>
                    <a:pt x="56" y="43"/>
                    <a:pt x="56" y="46"/>
                  </a:cubicBezTo>
                  <a:cubicBezTo>
                    <a:pt x="56" y="49"/>
                    <a:pt x="59" y="52"/>
                    <a:pt x="62" y="52"/>
                  </a:cubicBezTo>
                  <a:cubicBezTo>
                    <a:pt x="65" y="52"/>
                    <a:pt x="68" y="49"/>
                    <a:pt x="68" y="46"/>
                  </a:cubicBezTo>
                  <a:cubicBezTo>
                    <a:pt x="68" y="43"/>
                    <a:pt x="65" y="40"/>
                    <a:pt x="62" y="4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 fontScale="92500" lnSpcReduction="1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99" name="组合 98">
            <a:extLst>
              <a:ext uri="{FF2B5EF4-FFF2-40B4-BE49-F238E27FC236}">
                <a16:creationId xmlns:a16="http://schemas.microsoft.com/office/drawing/2014/main" id="{7DF91459-74BD-4A96-8FE2-777E15D22AE3}"/>
              </a:ext>
            </a:extLst>
          </p:cNvPr>
          <p:cNvGrpSpPr>
            <a:grpSpLocks/>
          </p:cNvGrpSpPr>
          <p:nvPr/>
        </p:nvGrpSpPr>
        <p:grpSpPr>
          <a:xfrm>
            <a:off x="698632" y="3138183"/>
            <a:ext cx="3306327" cy="463799"/>
            <a:chOff x="698234" y="3656230"/>
            <a:chExt cx="3306327" cy="463799"/>
          </a:xfrm>
        </p:grpSpPr>
        <p:cxnSp>
          <p:nvCxnSpPr>
            <p:cNvPr id="113" name="直接连接符 112">
              <a:extLst>
                <a:ext uri="{FF2B5EF4-FFF2-40B4-BE49-F238E27FC236}">
                  <a16:creationId xmlns:a16="http://schemas.microsoft.com/office/drawing/2014/main" id="{6B41053B-19EB-45E1-9933-579C59E0901E}"/>
                </a:ext>
              </a:extLst>
            </p:cNvPr>
            <p:cNvCxnSpPr/>
            <p:nvPr/>
          </p:nvCxnSpPr>
          <p:spPr>
            <a:xfrm flipH="1" flipV="1">
              <a:off x="698234" y="4120029"/>
              <a:ext cx="2566478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4" name="任意多边形: 形状 113">
              <a:extLst>
                <a:ext uri="{FF2B5EF4-FFF2-40B4-BE49-F238E27FC236}">
                  <a16:creationId xmlns:a16="http://schemas.microsoft.com/office/drawing/2014/main" id="{FE5334D7-8A2B-48CB-819B-0BFCC6F302CD}"/>
                </a:ext>
              </a:extLst>
            </p:cNvPr>
            <p:cNvSpPr/>
            <p:nvPr/>
          </p:nvSpPr>
          <p:spPr bwMode="auto">
            <a:xfrm>
              <a:off x="3264712" y="3656230"/>
              <a:ext cx="739849" cy="463799"/>
            </a:xfrm>
            <a:custGeom>
              <a:avLst/>
              <a:gdLst>
                <a:gd name="T0" fmla="*/ 0 w 1149"/>
                <a:gd name="T1" fmla="*/ 830 h 830"/>
                <a:gd name="T2" fmla="*/ 273 w 1149"/>
                <a:gd name="T3" fmla="*/ 717 h 830"/>
                <a:gd name="T4" fmla="*/ 876 w 1149"/>
                <a:gd name="T5" fmla="*/ 113 h 830"/>
                <a:gd name="T6" fmla="*/ 1149 w 1149"/>
                <a:gd name="T7" fmla="*/ 0 h 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9" h="830">
                  <a:moveTo>
                    <a:pt x="0" y="830"/>
                  </a:moveTo>
                  <a:cubicBezTo>
                    <a:pt x="88" y="830"/>
                    <a:pt x="211" y="779"/>
                    <a:pt x="273" y="717"/>
                  </a:cubicBezTo>
                  <a:cubicBezTo>
                    <a:pt x="876" y="113"/>
                    <a:pt x="876" y="113"/>
                    <a:pt x="876" y="113"/>
                  </a:cubicBezTo>
                  <a:cubicBezTo>
                    <a:pt x="938" y="51"/>
                    <a:pt x="1061" y="0"/>
                    <a:pt x="114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53">
                <a:cs typeface="+mn-ea"/>
                <a:sym typeface="+mn-lt"/>
              </a:endParaRPr>
            </a:p>
          </p:txBody>
        </p:sp>
      </p:grpSp>
      <p:grpSp>
        <p:nvGrpSpPr>
          <p:cNvPr id="100" name="组合 99">
            <a:extLst>
              <a:ext uri="{FF2B5EF4-FFF2-40B4-BE49-F238E27FC236}">
                <a16:creationId xmlns:a16="http://schemas.microsoft.com/office/drawing/2014/main" id="{48080BA5-380E-4CDD-B069-97A91E546D80}"/>
              </a:ext>
            </a:extLst>
          </p:cNvPr>
          <p:cNvGrpSpPr/>
          <p:nvPr/>
        </p:nvGrpSpPr>
        <p:grpSpPr>
          <a:xfrm>
            <a:off x="672704" y="3137507"/>
            <a:ext cx="2652161" cy="1086937"/>
            <a:chOff x="673100" y="3401524"/>
            <a:chExt cx="2652161" cy="1086937"/>
          </a:xfrm>
        </p:grpSpPr>
        <p:sp>
          <p:nvSpPr>
            <p:cNvPr id="111" name="文本框 110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3401524"/>
              <a:ext cx="2652161" cy="45518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000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12" name="矩形 111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3856705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sp>
        <p:nvSpPr>
          <p:cNvPr id="101" name="矩形 100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72704" y="4275920"/>
            <a:ext cx="2652161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72704" y="4959152"/>
            <a:ext cx="2652161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grpSp>
        <p:nvGrpSpPr>
          <p:cNvPr id="103" name="组合 102">
            <a:extLst>
              <a:ext uri="{FF2B5EF4-FFF2-40B4-BE49-F238E27FC236}">
                <a16:creationId xmlns:a16="http://schemas.microsoft.com/office/drawing/2014/main" id="{22891634-145D-49E0-939D-90AF5EB3169F}"/>
              </a:ext>
            </a:extLst>
          </p:cNvPr>
          <p:cNvGrpSpPr>
            <a:grpSpLocks/>
          </p:cNvGrpSpPr>
          <p:nvPr/>
        </p:nvGrpSpPr>
        <p:grpSpPr>
          <a:xfrm flipH="1">
            <a:off x="8187042" y="3138183"/>
            <a:ext cx="3306327" cy="463799"/>
            <a:chOff x="698234" y="3656230"/>
            <a:chExt cx="3306327" cy="463799"/>
          </a:xfrm>
        </p:grpSpPr>
        <p:cxnSp>
          <p:nvCxnSpPr>
            <p:cNvPr id="109" name="直接连接符 108">
              <a:extLst>
                <a:ext uri="{FF2B5EF4-FFF2-40B4-BE49-F238E27FC236}">
                  <a16:creationId xmlns:a16="http://schemas.microsoft.com/office/drawing/2014/main" id="{16299AB1-6377-45D7-A7C2-0397B2E216E6}"/>
                </a:ext>
              </a:extLst>
            </p:cNvPr>
            <p:cNvCxnSpPr/>
            <p:nvPr/>
          </p:nvCxnSpPr>
          <p:spPr>
            <a:xfrm flipH="1" flipV="1">
              <a:off x="698234" y="4120029"/>
              <a:ext cx="2566478" cy="0"/>
            </a:xfrm>
            <a:prstGeom prst="line">
              <a:avLst/>
            </a:prstGeom>
            <a:ln w="12700">
              <a:solidFill>
                <a:schemeClr val="bg1">
                  <a:lumMod val="75000"/>
                </a:schemeClr>
              </a:solidFill>
              <a:head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0" name="任意多边形: 形状 109">
              <a:extLst>
                <a:ext uri="{FF2B5EF4-FFF2-40B4-BE49-F238E27FC236}">
                  <a16:creationId xmlns:a16="http://schemas.microsoft.com/office/drawing/2014/main" id="{7D163E51-F9EE-4A61-88E6-4961E9363756}"/>
                </a:ext>
              </a:extLst>
            </p:cNvPr>
            <p:cNvSpPr/>
            <p:nvPr/>
          </p:nvSpPr>
          <p:spPr bwMode="auto">
            <a:xfrm>
              <a:off x="3264712" y="3656230"/>
              <a:ext cx="739849" cy="463799"/>
            </a:xfrm>
            <a:custGeom>
              <a:avLst/>
              <a:gdLst>
                <a:gd name="T0" fmla="*/ 0 w 1149"/>
                <a:gd name="T1" fmla="*/ 830 h 830"/>
                <a:gd name="T2" fmla="*/ 273 w 1149"/>
                <a:gd name="T3" fmla="*/ 717 h 830"/>
                <a:gd name="T4" fmla="*/ 876 w 1149"/>
                <a:gd name="T5" fmla="*/ 113 h 830"/>
                <a:gd name="T6" fmla="*/ 1149 w 1149"/>
                <a:gd name="T7" fmla="*/ 0 h 8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9" h="830">
                  <a:moveTo>
                    <a:pt x="0" y="830"/>
                  </a:moveTo>
                  <a:cubicBezTo>
                    <a:pt x="88" y="830"/>
                    <a:pt x="211" y="779"/>
                    <a:pt x="273" y="717"/>
                  </a:cubicBezTo>
                  <a:cubicBezTo>
                    <a:pt x="876" y="113"/>
                    <a:pt x="876" y="113"/>
                    <a:pt x="876" y="113"/>
                  </a:cubicBezTo>
                  <a:cubicBezTo>
                    <a:pt x="938" y="51"/>
                    <a:pt x="1061" y="0"/>
                    <a:pt x="1149" y="0"/>
                  </a:cubicBezTo>
                </a:path>
              </a:pathLst>
            </a:custGeom>
            <a:noFill/>
            <a:ln w="12700" cap="flat">
              <a:solidFill>
                <a:schemeClr val="bg1">
                  <a:lumMod val="75000"/>
                </a:schemeClr>
              </a:solidFill>
              <a:prstDash val="solid"/>
              <a:miter lim="800000"/>
              <a:headEnd type="none"/>
              <a:tailEnd type="oval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1053">
                <a:cs typeface="+mn-ea"/>
                <a:sym typeface="+mn-lt"/>
              </a:endParaRPr>
            </a:p>
          </p:txBody>
        </p:sp>
      </p:grpSp>
      <p:grpSp>
        <p:nvGrpSpPr>
          <p:cNvPr id="104" name="组合 103">
            <a:extLst>
              <a:ext uri="{FF2B5EF4-FFF2-40B4-BE49-F238E27FC236}">
                <a16:creationId xmlns:a16="http://schemas.microsoft.com/office/drawing/2014/main" id="{9D058BC7-9B7A-4F98-B6AA-8178A5E46FE3}"/>
              </a:ext>
            </a:extLst>
          </p:cNvPr>
          <p:cNvGrpSpPr/>
          <p:nvPr/>
        </p:nvGrpSpPr>
        <p:grpSpPr>
          <a:xfrm flipH="1">
            <a:off x="8867136" y="3137507"/>
            <a:ext cx="2652161" cy="1086937"/>
            <a:chOff x="673100" y="3401524"/>
            <a:chExt cx="2652161" cy="1086937"/>
          </a:xfrm>
        </p:grpSpPr>
        <p:sp>
          <p:nvSpPr>
            <p:cNvPr id="107" name="文本框 106">
              <a:extLst>
                <a:ext uri="{FF2B5EF4-FFF2-40B4-BE49-F238E27FC236}">
                  <a16:creationId xmlns:a16="http://schemas.microsoft.com/office/drawing/2014/main" id="{3495B739-E5A7-4F4A-95FD-24BDFE4B18B1}"/>
                </a:ext>
              </a:extLst>
            </p:cNvPr>
            <p:cNvSpPr txBox="1"/>
            <p:nvPr/>
          </p:nvSpPr>
          <p:spPr bwMode="auto">
            <a:xfrm>
              <a:off x="673100" y="3401524"/>
              <a:ext cx="2652161" cy="455181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20000"/>
                </a:lnSpc>
                <a:spcBef>
                  <a:spcPct val="0"/>
                </a:spcBef>
              </a:pPr>
              <a:r>
                <a:rPr lang="en-US" altLang="zh-CN" sz="2000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08" name="矩形 107">
              <a:extLst>
                <a:ext uri="{FF2B5EF4-FFF2-40B4-BE49-F238E27FC236}">
                  <a16:creationId xmlns:a16="http://schemas.microsoft.com/office/drawing/2014/main" id="{AC321F9B-F99D-44D6-95EE-4CF3F8A760F8}"/>
                </a:ext>
              </a:extLst>
            </p:cNvPr>
            <p:cNvSpPr/>
            <p:nvPr/>
          </p:nvSpPr>
          <p:spPr bwMode="auto">
            <a:xfrm>
              <a:off x="673100" y="3856705"/>
              <a:ext cx="2652161" cy="631756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  <p:sp>
        <p:nvSpPr>
          <p:cNvPr id="105" name="矩形 104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 flipH="1">
            <a:off x="8867136" y="4275920"/>
            <a:ext cx="2652161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06" name="矩形 10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 flipH="1">
            <a:off x="8867136" y="4959152"/>
            <a:ext cx="2652161" cy="631756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77507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2E16408-A72D-4D2A-A439-7E7EA5D6A0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E47704D-DF7F-4820-A732-C01D19627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EC0F711-1D3B-473D-8A7B-E87D4961EC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1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58" name="直接连接符 57">
            <a:extLst>
              <a:ext uri="{FF2B5EF4-FFF2-40B4-BE49-F238E27FC236}">
                <a16:creationId xmlns:a16="http://schemas.microsoft.com/office/drawing/2014/main" id="{C9096660-0BF3-420C-A1FD-9EC7D83E8187}"/>
              </a:ext>
            </a:extLst>
          </p:cNvPr>
          <p:cNvCxnSpPr>
            <a:cxnSpLocks/>
            <a:endCxn id="69" idx="2"/>
          </p:cNvCxnSpPr>
          <p:nvPr/>
        </p:nvCxnSpPr>
        <p:spPr>
          <a:xfrm>
            <a:off x="8980860" y="3291840"/>
            <a:ext cx="0" cy="285496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接连接符 58">
            <a:extLst>
              <a:ext uri="{FF2B5EF4-FFF2-40B4-BE49-F238E27FC236}">
                <a16:creationId xmlns:a16="http://schemas.microsoft.com/office/drawing/2014/main" id="{48C63077-8B26-4248-A213-07666AFBA2B1}"/>
              </a:ext>
            </a:extLst>
          </p:cNvPr>
          <p:cNvCxnSpPr>
            <a:cxnSpLocks/>
            <a:endCxn id="66" idx="2"/>
          </p:cNvCxnSpPr>
          <p:nvPr/>
        </p:nvCxnSpPr>
        <p:spPr>
          <a:xfrm>
            <a:off x="3202804" y="3291840"/>
            <a:ext cx="0" cy="285496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文本框 59">
            <a:extLst>
              <a:ext uri="{FF2B5EF4-FFF2-40B4-BE49-F238E27FC236}">
                <a16:creationId xmlns:a16="http://schemas.microsoft.com/office/drawing/2014/main" id="{1D584FBB-D8F5-4C75-B390-C25EC9263421}"/>
              </a:ext>
            </a:extLst>
          </p:cNvPr>
          <p:cNvSpPr txBox="1"/>
          <p:nvPr/>
        </p:nvSpPr>
        <p:spPr>
          <a:xfrm>
            <a:off x="673099" y="1296543"/>
            <a:ext cx="10845800" cy="71399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376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cs typeface="+mn-ea"/>
                <a:sym typeface="+mn-lt"/>
              </a:rPr>
              <a:t>Unified fonts make reading more fluent.</a:t>
            </a:r>
          </a:p>
        </p:txBody>
      </p:sp>
      <p:grpSp>
        <p:nvGrpSpPr>
          <p:cNvPr id="61" name="组合 60">
            <a:extLst>
              <a:ext uri="{FF2B5EF4-FFF2-40B4-BE49-F238E27FC236}">
                <a16:creationId xmlns:a16="http://schemas.microsoft.com/office/drawing/2014/main" id="{8AB24495-DDC5-42BB-BE4F-3DFF1A111F0C}"/>
              </a:ext>
            </a:extLst>
          </p:cNvPr>
          <p:cNvGrpSpPr/>
          <p:nvPr/>
        </p:nvGrpSpPr>
        <p:grpSpPr>
          <a:xfrm>
            <a:off x="5649849" y="2028825"/>
            <a:ext cx="892302" cy="0"/>
            <a:chOff x="5649849" y="1856232"/>
            <a:chExt cx="892302" cy="0"/>
          </a:xfrm>
        </p:grpSpPr>
        <p:cxnSp>
          <p:nvCxnSpPr>
            <p:cNvPr id="102" name="直接连接符 101">
              <a:extLst>
                <a:ext uri="{FF2B5EF4-FFF2-40B4-BE49-F238E27FC236}">
                  <a16:creationId xmlns:a16="http://schemas.microsoft.com/office/drawing/2014/main" id="{0445F743-67A1-49DA-AF8A-99ED7B50BBFE}"/>
                </a:ext>
              </a:extLst>
            </p:cNvPr>
            <p:cNvCxnSpPr>
              <a:cxnSpLocks/>
            </p:cNvCxnSpPr>
            <p:nvPr/>
          </p:nvCxnSpPr>
          <p:spPr>
            <a:xfrm>
              <a:off x="5927725" y="1856232"/>
              <a:ext cx="336550" cy="0"/>
            </a:xfrm>
            <a:prstGeom prst="line">
              <a:avLst/>
            </a:prstGeom>
            <a:ln w="63500" cap="rnd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3" name="组合 102">
              <a:extLst>
                <a:ext uri="{FF2B5EF4-FFF2-40B4-BE49-F238E27FC236}">
                  <a16:creationId xmlns:a16="http://schemas.microsoft.com/office/drawing/2014/main" id="{86CF56D1-C007-4C08-8CFE-12C2E55B6724}"/>
                </a:ext>
              </a:extLst>
            </p:cNvPr>
            <p:cNvGrpSpPr/>
            <p:nvPr/>
          </p:nvGrpSpPr>
          <p:grpSpPr>
            <a:xfrm>
              <a:off x="6408801" y="1856232"/>
              <a:ext cx="133350" cy="0"/>
              <a:chOff x="6264275" y="1856232"/>
              <a:chExt cx="133350" cy="0"/>
            </a:xfrm>
          </p:grpSpPr>
          <p:cxnSp>
            <p:nvCxnSpPr>
              <p:cNvPr id="107" name="直接连接符 106">
                <a:extLst>
                  <a:ext uri="{FF2B5EF4-FFF2-40B4-BE49-F238E27FC236}">
                    <a16:creationId xmlns:a16="http://schemas.microsoft.com/office/drawing/2014/main" id="{1778A192-88F3-48B4-AF1F-363DD7C002F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4275" y="1856232"/>
                <a:ext cx="0" cy="0"/>
              </a:xfrm>
              <a:prstGeom prst="line">
                <a:avLst/>
              </a:prstGeom>
              <a:ln w="63500" cap="rnd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8" name="直接连接符 107">
                <a:extLst>
                  <a:ext uri="{FF2B5EF4-FFF2-40B4-BE49-F238E27FC236}">
                    <a16:creationId xmlns:a16="http://schemas.microsoft.com/office/drawing/2014/main" id="{B7D52A2E-E90E-4AE3-8CE6-8638CF7082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97625" y="1856232"/>
                <a:ext cx="0" cy="0"/>
              </a:xfrm>
              <a:prstGeom prst="line">
                <a:avLst/>
              </a:prstGeom>
              <a:ln w="63500" cap="rnd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4" name="组合 103">
              <a:extLst>
                <a:ext uri="{FF2B5EF4-FFF2-40B4-BE49-F238E27FC236}">
                  <a16:creationId xmlns:a16="http://schemas.microsoft.com/office/drawing/2014/main" id="{BE9D0247-8746-4E17-B345-9414711B9194}"/>
                </a:ext>
              </a:extLst>
            </p:cNvPr>
            <p:cNvGrpSpPr/>
            <p:nvPr/>
          </p:nvGrpSpPr>
          <p:grpSpPr>
            <a:xfrm>
              <a:off x="5649849" y="1856232"/>
              <a:ext cx="133350" cy="0"/>
              <a:chOff x="6264275" y="1856232"/>
              <a:chExt cx="133350" cy="0"/>
            </a:xfrm>
          </p:grpSpPr>
          <p:cxnSp>
            <p:nvCxnSpPr>
              <p:cNvPr id="105" name="直接连接符 104">
                <a:extLst>
                  <a:ext uri="{FF2B5EF4-FFF2-40B4-BE49-F238E27FC236}">
                    <a16:creationId xmlns:a16="http://schemas.microsoft.com/office/drawing/2014/main" id="{AC98BB4C-F55F-4E44-8B39-10C6986CFA4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64275" y="1856232"/>
                <a:ext cx="0" cy="0"/>
              </a:xfrm>
              <a:prstGeom prst="line">
                <a:avLst/>
              </a:prstGeom>
              <a:ln w="63500" cap="rnd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6" name="直接连接符 105">
                <a:extLst>
                  <a:ext uri="{FF2B5EF4-FFF2-40B4-BE49-F238E27FC236}">
                    <a16:creationId xmlns:a16="http://schemas.microsoft.com/office/drawing/2014/main" id="{AD205D77-FF64-4AC7-9773-B4BF6F8FF72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397625" y="1856232"/>
                <a:ext cx="0" cy="0"/>
              </a:xfrm>
              <a:prstGeom prst="line">
                <a:avLst/>
              </a:prstGeom>
              <a:ln w="63500" cap="rnd"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62" name="矩形: 圆角 61">
            <a:extLst>
              <a:ext uri="{FF2B5EF4-FFF2-40B4-BE49-F238E27FC236}">
                <a16:creationId xmlns:a16="http://schemas.microsoft.com/office/drawing/2014/main" id="{A29A0F99-B1C5-4130-A048-06D9F3E093BB}"/>
              </a:ext>
            </a:extLst>
          </p:cNvPr>
          <p:cNvSpPr/>
          <p:nvPr/>
        </p:nvSpPr>
        <p:spPr>
          <a:xfrm>
            <a:off x="663176" y="2577846"/>
            <a:ext cx="5079256" cy="713994"/>
          </a:xfrm>
          <a:prstGeom prst="round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zh-CN" altLang="en-US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3" name="矩形: 圆角 62">
            <a:extLst>
              <a:ext uri="{FF2B5EF4-FFF2-40B4-BE49-F238E27FC236}">
                <a16:creationId xmlns:a16="http://schemas.microsoft.com/office/drawing/2014/main" id="{D2B5065F-F4DF-4686-A88F-54A5C52EF7F4}"/>
              </a:ext>
            </a:extLst>
          </p:cNvPr>
          <p:cNvSpPr/>
          <p:nvPr/>
        </p:nvSpPr>
        <p:spPr>
          <a:xfrm>
            <a:off x="6441232" y="2577846"/>
            <a:ext cx="5079256" cy="713994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b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altLang="zh-CN" b="1" i="1" dirty="0">
                <a:solidFill>
                  <a:schemeClr val="bg1"/>
                </a:solidFill>
                <a:cs typeface="+mn-ea"/>
                <a:sym typeface="+mn-lt"/>
              </a:rPr>
              <a:t>Text here</a:t>
            </a:r>
            <a:endParaRPr lang="zh-CN" altLang="en-US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64" name="矩形 63">
            <a:extLst>
              <a:ext uri="{FF2B5EF4-FFF2-40B4-BE49-F238E27FC236}">
                <a16:creationId xmlns:a16="http://schemas.microsoft.com/office/drawing/2014/main" id="{1B93481C-1E39-43CC-8858-94FE11EC31EF}"/>
              </a:ext>
            </a:extLst>
          </p:cNvPr>
          <p:cNvSpPr/>
          <p:nvPr/>
        </p:nvSpPr>
        <p:spPr bwMode="auto">
          <a:xfrm>
            <a:off x="1669016" y="3354337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5" name="矩形 64">
            <a:extLst>
              <a:ext uri="{FF2B5EF4-FFF2-40B4-BE49-F238E27FC236}">
                <a16:creationId xmlns:a16="http://schemas.microsoft.com/office/drawing/2014/main" id="{EB21D29E-BDAF-475C-93E7-149F6AB9E3E0}"/>
              </a:ext>
            </a:extLst>
          </p:cNvPr>
          <p:cNvSpPr/>
          <p:nvPr/>
        </p:nvSpPr>
        <p:spPr bwMode="auto">
          <a:xfrm>
            <a:off x="1669016" y="4358826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6" name="矩形 65">
            <a:extLst>
              <a:ext uri="{FF2B5EF4-FFF2-40B4-BE49-F238E27FC236}">
                <a16:creationId xmlns:a16="http://schemas.microsoft.com/office/drawing/2014/main" id="{F8FE86DD-EC1F-4802-B144-F1BD59583B0A}"/>
              </a:ext>
            </a:extLst>
          </p:cNvPr>
          <p:cNvSpPr/>
          <p:nvPr/>
        </p:nvSpPr>
        <p:spPr bwMode="auto">
          <a:xfrm>
            <a:off x="1669016" y="5363314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7" name="矩形 66">
            <a:extLst>
              <a:ext uri="{FF2B5EF4-FFF2-40B4-BE49-F238E27FC236}">
                <a16:creationId xmlns:a16="http://schemas.microsoft.com/office/drawing/2014/main" id="{5E37F799-D910-4828-AF53-1E2647D52928}"/>
              </a:ext>
            </a:extLst>
          </p:cNvPr>
          <p:cNvSpPr/>
          <p:nvPr/>
        </p:nvSpPr>
        <p:spPr bwMode="auto">
          <a:xfrm>
            <a:off x="7447072" y="3354337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8" name="矩形 67">
            <a:extLst>
              <a:ext uri="{FF2B5EF4-FFF2-40B4-BE49-F238E27FC236}">
                <a16:creationId xmlns:a16="http://schemas.microsoft.com/office/drawing/2014/main" id="{F3569053-81CD-4097-B12F-3C539FB907B2}"/>
              </a:ext>
            </a:extLst>
          </p:cNvPr>
          <p:cNvSpPr/>
          <p:nvPr/>
        </p:nvSpPr>
        <p:spPr bwMode="auto">
          <a:xfrm>
            <a:off x="7447072" y="4358826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9" name="矩形 68">
            <a:extLst>
              <a:ext uri="{FF2B5EF4-FFF2-40B4-BE49-F238E27FC236}">
                <a16:creationId xmlns:a16="http://schemas.microsoft.com/office/drawing/2014/main" id="{BF0D8CEB-19EA-4702-AADD-9D1FB7D5F230}"/>
              </a:ext>
            </a:extLst>
          </p:cNvPr>
          <p:cNvSpPr/>
          <p:nvPr/>
        </p:nvSpPr>
        <p:spPr bwMode="auto">
          <a:xfrm>
            <a:off x="7447072" y="5363314"/>
            <a:ext cx="3067576" cy="78348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grpSp>
        <p:nvGrpSpPr>
          <p:cNvPr id="70" name="组合 69">
            <a:extLst>
              <a:ext uri="{FF2B5EF4-FFF2-40B4-BE49-F238E27FC236}">
                <a16:creationId xmlns:a16="http://schemas.microsoft.com/office/drawing/2014/main" id="{E0B20FC8-5161-4F0C-A2C2-E07247B972F9}"/>
              </a:ext>
            </a:extLst>
          </p:cNvPr>
          <p:cNvGrpSpPr/>
          <p:nvPr/>
        </p:nvGrpSpPr>
        <p:grpSpPr>
          <a:xfrm>
            <a:off x="2933691" y="2308509"/>
            <a:ext cx="538226" cy="538674"/>
            <a:chOff x="2022983" y="3536475"/>
            <a:chExt cx="538226" cy="538674"/>
          </a:xfrm>
        </p:grpSpPr>
        <p:sp>
          <p:nvSpPr>
            <p:cNvPr id="100" name="椭圆 99">
              <a:extLst>
                <a:ext uri="{FF2B5EF4-FFF2-40B4-BE49-F238E27FC236}">
                  <a16:creationId xmlns:a16="http://schemas.microsoft.com/office/drawing/2014/main" id="{E23891CF-0256-4379-BE8B-1C9EE741AE64}"/>
                </a:ext>
              </a:extLst>
            </p:cNvPr>
            <p:cNvSpPr/>
            <p:nvPr/>
          </p:nvSpPr>
          <p:spPr>
            <a:xfrm>
              <a:off x="2022983" y="3536475"/>
              <a:ext cx="538226" cy="53867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4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2793AC7F-BE70-431E-AEA1-1913B844C3AC}"/>
                </a:ext>
              </a:extLst>
            </p:cNvPr>
            <p:cNvSpPr/>
            <p:nvPr/>
          </p:nvSpPr>
          <p:spPr bwMode="auto">
            <a:xfrm>
              <a:off x="2178612" y="3665604"/>
              <a:ext cx="226966" cy="280416"/>
            </a:xfrm>
            <a:custGeom>
              <a:avLst/>
              <a:gdLst>
                <a:gd name="T0" fmla="*/ 120 w 184"/>
                <a:gd name="T1" fmla="*/ 0 h 224"/>
                <a:gd name="T2" fmla="*/ 120 w 184"/>
                <a:gd name="T3" fmla="*/ 64 h 224"/>
                <a:gd name="T4" fmla="*/ 184 w 184"/>
                <a:gd name="T5" fmla="*/ 64 h 224"/>
                <a:gd name="T6" fmla="*/ 184 w 184"/>
                <a:gd name="T7" fmla="*/ 224 h 224"/>
                <a:gd name="T8" fmla="*/ 0 w 184"/>
                <a:gd name="T9" fmla="*/ 224 h 224"/>
                <a:gd name="T10" fmla="*/ 0 w 184"/>
                <a:gd name="T11" fmla="*/ 0 h 224"/>
                <a:gd name="T12" fmla="*/ 120 w 184"/>
                <a:gd name="T13" fmla="*/ 0 h 224"/>
                <a:gd name="T14" fmla="*/ 104 w 184"/>
                <a:gd name="T15" fmla="*/ 84 h 224"/>
                <a:gd name="T16" fmla="*/ 64 w 184"/>
                <a:gd name="T17" fmla="*/ 84 h 224"/>
                <a:gd name="T18" fmla="*/ 64 w 184"/>
                <a:gd name="T19" fmla="*/ 172 h 224"/>
                <a:gd name="T20" fmla="*/ 72 w 184"/>
                <a:gd name="T21" fmla="*/ 172 h 224"/>
                <a:gd name="T22" fmla="*/ 72 w 184"/>
                <a:gd name="T23" fmla="*/ 132 h 224"/>
                <a:gd name="T24" fmla="*/ 104 w 184"/>
                <a:gd name="T25" fmla="*/ 132 h 224"/>
                <a:gd name="T26" fmla="*/ 105 w 184"/>
                <a:gd name="T27" fmla="*/ 132 h 224"/>
                <a:gd name="T28" fmla="*/ 128 w 184"/>
                <a:gd name="T29" fmla="*/ 108 h 224"/>
                <a:gd name="T30" fmla="*/ 104 w 184"/>
                <a:gd name="T31" fmla="*/ 84 h 224"/>
                <a:gd name="T32" fmla="*/ 104 w 184"/>
                <a:gd name="T33" fmla="*/ 92 h 224"/>
                <a:gd name="T34" fmla="*/ 120 w 184"/>
                <a:gd name="T35" fmla="*/ 108 h 224"/>
                <a:gd name="T36" fmla="*/ 104 w 184"/>
                <a:gd name="T37" fmla="*/ 124 h 224"/>
                <a:gd name="T38" fmla="*/ 104 w 184"/>
                <a:gd name="T39" fmla="*/ 124 h 224"/>
                <a:gd name="T40" fmla="*/ 72 w 184"/>
                <a:gd name="T41" fmla="*/ 124 h 224"/>
                <a:gd name="T42" fmla="*/ 72 w 184"/>
                <a:gd name="T43" fmla="*/ 92 h 224"/>
                <a:gd name="T44" fmla="*/ 104 w 184"/>
                <a:gd name="T45" fmla="*/ 92 h 224"/>
                <a:gd name="T46" fmla="*/ 180 w 184"/>
                <a:gd name="T47" fmla="*/ 56 h 224"/>
                <a:gd name="T48" fmla="*/ 128 w 184"/>
                <a:gd name="T49" fmla="*/ 56 h 224"/>
                <a:gd name="T50" fmla="*/ 128 w 184"/>
                <a:gd name="T51" fmla="*/ 4 h 224"/>
                <a:gd name="T52" fmla="*/ 180 w 184"/>
                <a:gd name="T53" fmla="*/ 56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4" h="224">
                  <a:moveTo>
                    <a:pt x="120" y="0"/>
                  </a:moveTo>
                  <a:cubicBezTo>
                    <a:pt x="120" y="64"/>
                    <a:pt x="120" y="64"/>
                    <a:pt x="120" y="64"/>
                  </a:cubicBezTo>
                  <a:cubicBezTo>
                    <a:pt x="184" y="64"/>
                    <a:pt x="184" y="64"/>
                    <a:pt x="184" y="64"/>
                  </a:cubicBezTo>
                  <a:cubicBezTo>
                    <a:pt x="184" y="224"/>
                    <a:pt x="184" y="224"/>
                    <a:pt x="184" y="224"/>
                  </a:cubicBezTo>
                  <a:cubicBezTo>
                    <a:pt x="0" y="224"/>
                    <a:pt x="0" y="224"/>
                    <a:pt x="0" y="224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120" y="0"/>
                  </a:lnTo>
                  <a:close/>
                  <a:moveTo>
                    <a:pt x="104" y="84"/>
                  </a:moveTo>
                  <a:cubicBezTo>
                    <a:pt x="64" y="84"/>
                    <a:pt x="64" y="84"/>
                    <a:pt x="64" y="84"/>
                  </a:cubicBezTo>
                  <a:cubicBezTo>
                    <a:pt x="64" y="172"/>
                    <a:pt x="64" y="172"/>
                    <a:pt x="64" y="172"/>
                  </a:cubicBezTo>
                  <a:cubicBezTo>
                    <a:pt x="72" y="172"/>
                    <a:pt x="72" y="172"/>
                    <a:pt x="72" y="172"/>
                  </a:cubicBezTo>
                  <a:cubicBezTo>
                    <a:pt x="72" y="132"/>
                    <a:pt x="72" y="132"/>
                    <a:pt x="72" y="132"/>
                  </a:cubicBezTo>
                  <a:cubicBezTo>
                    <a:pt x="104" y="132"/>
                    <a:pt x="104" y="132"/>
                    <a:pt x="104" y="132"/>
                  </a:cubicBezTo>
                  <a:cubicBezTo>
                    <a:pt x="105" y="132"/>
                    <a:pt x="105" y="132"/>
                    <a:pt x="105" y="132"/>
                  </a:cubicBezTo>
                  <a:cubicBezTo>
                    <a:pt x="118" y="132"/>
                    <a:pt x="128" y="121"/>
                    <a:pt x="128" y="108"/>
                  </a:cubicBezTo>
                  <a:cubicBezTo>
                    <a:pt x="128" y="95"/>
                    <a:pt x="117" y="84"/>
                    <a:pt x="104" y="84"/>
                  </a:cubicBezTo>
                  <a:close/>
                  <a:moveTo>
                    <a:pt x="104" y="92"/>
                  </a:moveTo>
                  <a:cubicBezTo>
                    <a:pt x="113" y="92"/>
                    <a:pt x="120" y="99"/>
                    <a:pt x="120" y="108"/>
                  </a:cubicBezTo>
                  <a:cubicBezTo>
                    <a:pt x="120" y="117"/>
                    <a:pt x="113" y="124"/>
                    <a:pt x="104" y="124"/>
                  </a:cubicBezTo>
                  <a:cubicBezTo>
                    <a:pt x="104" y="124"/>
                    <a:pt x="104" y="124"/>
                    <a:pt x="104" y="124"/>
                  </a:cubicBezTo>
                  <a:cubicBezTo>
                    <a:pt x="72" y="124"/>
                    <a:pt x="72" y="124"/>
                    <a:pt x="72" y="124"/>
                  </a:cubicBezTo>
                  <a:cubicBezTo>
                    <a:pt x="72" y="92"/>
                    <a:pt x="72" y="92"/>
                    <a:pt x="72" y="92"/>
                  </a:cubicBezTo>
                  <a:lnTo>
                    <a:pt x="104" y="92"/>
                  </a:lnTo>
                  <a:close/>
                  <a:moveTo>
                    <a:pt x="180" y="56"/>
                  </a:moveTo>
                  <a:cubicBezTo>
                    <a:pt x="128" y="56"/>
                    <a:pt x="128" y="56"/>
                    <a:pt x="128" y="56"/>
                  </a:cubicBezTo>
                  <a:cubicBezTo>
                    <a:pt x="128" y="4"/>
                    <a:pt x="128" y="4"/>
                    <a:pt x="128" y="4"/>
                  </a:cubicBezTo>
                  <a:lnTo>
                    <a:pt x="180" y="56"/>
                  </a:lnTo>
                  <a:close/>
                </a:path>
              </a:pathLst>
            </a:custGeom>
            <a:solidFill>
              <a:schemeClr val="accent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cs typeface="+mn-ea"/>
                <a:sym typeface="+mn-lt"/>
              </a:endParaRPr>
            </a:p>
          </p:txBody>
        </p:sp>
      </p:grpSp>
      <p:grpSp>
        <p:nvGrpSpPr>
          <p:cNvPr id="71" name="组合 70">
            <a:extLst>
              <a:ext uri="{FF2B5EF4-FFF2-40B4-BE49-F238E27FC236}">
                <a16:creationId xmlns:a16="http://schemas.microsoft.com/office/drawing/2014/main" id="{8AD61D62-8E2B-4946-A428-84ABC910080C}"/>
              </a:ext>
            </a:extLst>
          </p:cNvPr>
          <p:cNvGrpSpPr/>
          <p:nvPr/>
        </p:nvGrpSpPr>
        <p:grpSpPr>
          <a:xfrm>
            <a:off x="8711747" y="2308509"/>
            <a:ext cx="538226" cy="538674"/>
            <a:chOff x="2022983" y="3536475"/>
            <a:chExt cx="538226" cy="538674"/>
          </a:xfrm>
        </p:grpSpPr>
        <p:sp>
          <p:nvSpPr>
            <p:cNvPr id="98" name="椭圆 97">
              <a:extLst>
                <a:ext uri="{FF2B5EF4-FFF2-40B4-BE49-F238E27FC236}">
                  <a16:creationId xmlns:a16="http://schemas.microsoft.com/office/drawing/2014/main" id="{E0D4C12B-0A96-4892-9BC4-40B7217EBC5B}"/>
                </a:ext>
              </a:extLst>
            </p:cNvPr>
            <p:cNvSpPr/>
            <p:nvPr/>
          </p:nvSpPr>
          <p:spPr>
            <a:xfrm>
              <a:off x="2022983" y="3536475"/>
              <a:ext cx="538226" cy="538674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14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DBD2834F-E1A7-4B7E-AC32-303509467B28}"/>
                </a:ext>
              </a:extLst>
            </p:cNvPr>
            <p:cNvSpPr/>
            <p:nvPr/>
          </p:nvSpPr>
          <p:spPr bwMode="auto">
            <a:xfrm>
              <a:off x="2151888" y="3666386"/>
              <a:ext cx="280416" cy="278849"/>
            </a:xfrm>
            <a:custGeom>
              <a:avLst/>
              <a:gdLst>
                <a:gd name="T0" fmla="*/ 156 w 224"/>
                <a:gd name="T1" fmla="*/ 116 h 220"/>
                <a:gd name="T2" fmla="*/ 156 w 224"/>
                <a:gd name="T3" fmla="*/ 220 h 220"/>
                <a:gd name="T4" fmla="*/ 68 w 224"/>
                <a:gd name="T5" fmla="*/ 220 h 220"/>
                <a:gd name="T6" fmla="*/ 68 w 224"/>
                <a:gd name="T7" fmla="*/ 116 h 220"/>
                <a:gd name="T8" fmla="*/ 156 w 224"/>
                <a:gd name="T9" fmla="*/ 116 h 220"/>
                <a:gd name="T10" fmla="*/ 60 w 224"/>
                <a:gd name="T11" fmla="*/ 48 h 220"/>
                <a:gd name="T12" fmla="*/ 60 w 224"/>
                <a:gd name="T13" fmla="*/ 64 h 220"/>
                <a:gd name="T14" fmla="*/ 164 w 224"/>
                <a:gd name="T15" fmla="*/ 64 h 220"/>
                <a:gd name="T16" fmla="*/ 164 w 224"/>
                <a:gd name="T17" fmla="*/ 48 h 220"/>
                <a:gd name="T18" fmla="*/ 224 w 224"/>
                <a:gd name="T19" fmla="*/ 48 h 220"/>
                <a:gd name="T20" fmla="*/ 224 w 224"/>
                <a:gd name="T21" fmla="*/ 172 h 220"/>
                <a:gd name="T22" fmla="*/ 164 w 224"/>
                <a:gd name="T23" fmla="*/ 172 h 220"/>
                <a:gd name="T24" fmla="*/ 164 w 224"/>
                <a:gd name="T25" fmla="*/ 108 h 220"/>
                <a:gd name="T26" fmla="*/ 60 w 224"/>
                <a:gd name="T27" fmla="*/ 108 h 220"/>
                <a:gd name="T28" fmla="*/ 60 w 224"/>
                <a:gd name="T29" fmla="*/ 172 h 220"/>
                <a:gd name="T30" fmla="*/ 0 w 224"/>
                <a:gd name="T31" fmla="*/ 172 h 220"/>
                <a:gd name="T32" fmla="*/ 0 w 224"/>
                <a:gd name="T33" fmla="*/ 78 h 220"/>
                <a:gd name="T34" fmla="*/ 28 w 224"/>
                <a:gd name="T35" fmla="*/ 48 h 220"/>
                <a:gd name="T36" fmla="*/ 60 w 224"/>
                <a:gd name="T37" fmla="*/ 48 h 220"/>
                <a:gd name="T38" fmla="*/ 194 w 224"/>
                <a:gd name="T39" fmla="*/ 72 h 220"/>
                <a:gd name="T40" fmla="*/ 188 w 224"/>
                <a:gd name="T41" fmla="*/ 78 h 220"/>
                <a:gd name="T42" fmla="*/ 194 w 224"/>
                <a:gd name="T43" fmla="*/ 84 h 220"/>
                <a:gd name="T44" fmla="*/ 200 w 224"/>
                <a:gd name="T45" fmla="*/ 78 h 220"/>
                <a:gd name="T46" fmla="*/ 194 w 224"/>
                <a:gd name="T47" fmla="*/ 72 h 220"/>
                <a:gd name="T48" fmla="*/ 156 w 224"/>
                <a:gd name="T49" fmla="*/ 0 h 220"/>
                <a:gd name="T50" fmla="*/ 156 w 224"/>
                <a:gd name="T51" fmla="*/ 56 h 220"/>
                <a:gd name="T52" fmla="*/ 68 w 224"/>
                <a:gd name="T53" fmla="*/ 56 h 220"/>
                <a:gd name="T54" fmla="*/ 68 w 224"/>
                <a:gd name="T55" fmla="*/ 0 h 220"/>
                <a:gd name="T56" fmla="*/ 156 w 224"/>
                <a:gd name="T57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24" h="220">
                  <a:moveTo>
                    <a:pt x="156" y="116"/>
                  </a:moveTo>
                  <a:cubicBezTo>
                    <a:pt x="156" y="220"/>
                    <a:pt x="156" y="220"/>
                    <a:pt x="156" y="220"/>
                  </a:cubicBezTo>
                  <a:cubicBezTo>
                    <a:pt x="68" y="220"/>
                    <a:pt x="68" y="220"/>
                    <a:pt x="68" y="220"/>
                  </a:cubicBezTo>
                  <a:cubicBezTo>
                    <a:pt x="68" y="116"/>
                    <a:pt x="68" y="116"/>
                    <a:pt x="68" y="116"/>
                  </a:cubicBezTo>
                  <a:lnTo>
                    <a:pt x="156" y="116"/>
                  </a:lnTo>
                  <a:close/>
                  <a:moveTo>
                    <a:pt x="60" y="48"/>
                  </a:moveTo>
                  <a:cubicBezTo>
                    <a:pt x="60" y="64"/>
                    <a:pt x="60" y="64"/>
                    <a:pt x="60" y="64"/>
                  </a:cubicBezTo>
                  <a:cubicBezTo>
                    <a:pt x="164" y="64"/>
                    <a:pt x="164" y="64"/>
                    <a:pt x="164" y="64"/>
                  </a:cubicBezTo>
                  <a:cubicBezTo>
                    <a:pt x="164" y="48"/>
                    <a:pt x="164" y="48"/>
                    <a:pt x="164" y="48"/>
                  </a:cubicBezTo>
                  <a:cubicBezTo>
                    <a:pt x="224" y="48"/>
                    <a:pt x="224" y="48"/>
                    <a:pt x="224" y="48"/>
                  </a:cubicBezTo>
                  <a:cubicBezTo>
                    <a:pt x="224" y="172"/>
                    <a:pt x="224" y="172"/>
                    <a:pt x="224" y="172"/>
                  </a:cubicBezTo>
                  <a:cubicBezTo>
                    <a:pt x="164" y="172"/>
                    <a:pt x="164" y="172"/>
                    <a:pt x="164" y="172"/>
                  </a:cubicBezTo>
                  <a:cubicBezTo>
                    <a:pt x="164" y="108"/>
                    <a:pt x="164" y="108"/>
                    <a:pt x="164" y="108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78"/>
                    <a:pt x="0" y="78"/>
                    <a:pt x="0" y="78"/>
                  </a:cubicBezTo>
                  <a:cubicBezTo>
                    <a:pt x="28" y="48"/>
                    <a:pt x="28" y="48"/>
                    <a:pt x="28" y="48"/>
                  </a:cubicBezTo>
                  <a:lnTo>
                    <a:pt x="60" y="48"/>
                  </a:lnTo>
                  <a:close/>
                  <a:moveTo>
                    <a:pt x="194" y="72"/>
                  </a:moveTo>
                  <a:cubicBezTo>
                    <a:pt x="191" y="72"/>
                    <a:pt x="188" y="75"/>
                    <a:pt x="188" y="78"/>
                  </a:cubicBezTo>
                  <a:cubicBezTo>
                    <a:pt x="188" y="81"/>
                    <a:pt x="191" y="84"/>
                    <a:pt x="194" y="84"/>
                  </a:cubicBezTo>
                  <a:cubicBezTo>
                    <a:pt x="197" y="84"/>
                    <a:pt x="200" y="81"/>
                    <a:pt x="200" y="78"/>
                  </a:cubicBezTo>
                  <a:cubicBezTo>
                    <a:pt x="200" y="75"/>
                    <a:pt x="197" y="72"/>
                    <a:pt x="194" y="72"/>
                  </a:cubicBezTo>
                  <a:close/>
                  <a:moveTo>
                    <a:pt x="156" y="0"/>
                  </a:moveTo>
                  <a:cubicBezTo>
                    <a:pt x="156" y="56"/>
                    <a:pt x="156" y="56"/>
                    <a:pt x="156" y="56"/>
                  </a:cubicBezTo>
                  <a:cubicBezTo>
                    <a:pt x="68" y="56"/>
                    <a:pt x="68" y="56"/>
                    <a:pt x="68" y="56"/>
                  </a:cubicBezTo>
                  <a:cubicBezTo>
                    <a:pt x="68" y="0"/>
                    <a:pt x="68" y="0"/>
                    <a:pt x="68" y="0"/>
                  </a:cubicBezTo>
                  <a:lnTo>
                    <a:pt x="156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rmAutofit fontScale="85000" lnSpcReduction="20000"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>
                <a:cs typeface="+mn-ea"/>
                <a:sym typeface="+mn-lt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0236912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07C3B4D-0BBC-4C36-8AAB-1A94C3B38C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74D8D79-A051-49C2-9DC0-5318540DB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CD02EB9-E132-4095-AD57-2AACC4931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椭圆 5">
            <a:extLst>
              <a:ext uri="{FF2B5EF4-FFF2-40B4-BE49-F238E27FC236}">
                <a16:creationId xmlns:a16="http://schemas.microsoft.com/office/drawing/2014/main" id="{50217584-E5D0-4988-9816-CB3BC4950F72}"/>
              </a:ext>
            </a:extLst>
          </p:cNvPr>
          <p:cNvSpPr/>
          <p:nvPr/>
        </p:nvSpPr>
        <p:spPr bwMode="auto">
          <a:xfrm>
            <a:off x="4232561" y="1597981"/>
            <a:ext cx="3704174" cy="3704174"/>
          </a:xfrm>
          <a:prstGeom prst="ellipse">
            <a:avLst/>
          </a:prstGeom>
          <a:noFill/>
          <a:ln w="7620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F0D34C2-0330-43C6-A89B-539CE0B983BA}"/>
              </a:ext>
            </a:extLst>
          </p:cNvPr>
          <p:cNvSpPr txBox="1"/>
          <p:nvPr/>
        </p:nvSpPr>
        <p:spPr bwMode="auto">
          <a:xfrm>
            <a:off x="4783833" y="2982893"/>
            <a:ext cx="2581084" cy="371513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algn="ctr" latinLnBrk="0"/>
            <a:r>
              <a:rPr lang="en-US" altLang="zh-CN" sz="1800" b="1" dirty="0">
                <a:solidFill>
                  <a:schemeClr val="tx1"/>
                </a:solidFill>
                <a:effectLst/>
                <a:cs typeface="+mn-ea"/>
                <a:sym typeface="+mn-lt"/>
              </a:rPr>
              <a:t>Text here</a:t>
            </a:r>
            <a:endParaRPr lang="zh-CN" altLang="en-US" sz="1800" b="1" dirty="0">
              <a:solidFill>
                <a:schemeClr val="tx1"/>
              </a:solidFill>
              <a:effectLst/>
              <a:cs typeface="+mn-ea"/>
              <a:sym typeface="+mn-lt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8A2CD798-8D74-44F1-A181-789E0D4DDC2C}"/>
              </a:ext>
            </a:extLst>
          </p:cNvPr>
          <p:cNvSpPr txBox="1"/>
          <p:nvPr/>
        </p:nvSpPr>
        <p:spPr bwMode="auto">
          <a:xfrm>
            <a:off x="4783833" y="3416700"/>
            <a:ext cx="2581084" cy="556178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en-US" altLang="zh-CN" sz="1000" dirty="0">
                <a:cs typeface="+mn-ea"/>
                <a:sym typeface="+mn-lt"/>
              </a:rPr>
              <a:t>Copy paste fonts. Choose the only option to retain text.</a:t>
            </a:r>
          </a:p>
        </p:txBody>
      </p:sp>
      <p:sp>
        <p:nvSpPr>
          <p:cNvPr id="32" name="椭圆 31">
            <a:extLst>
              <a:ext uri="{FF2B5EF4-FFF2-40B4-BE49-F238E27FC236}">
                <a16:creationId xmlns:a16="http://schemas.microsoft.com/office/drawing/2014/main" id="{2AD26581-A14D-42AC-9304-AB7A7B8FDD6F}"/>
              </a:ext>
            </a:extLst>
          </p:cNvPr>
          <p:cNvSpPr/>
          <p:nvPr/>
        </p:nvSpPr>
        <p:spPr bwMode="auto">
          <a:xfrm>
            <a:off x="7536158" y="2279686"/>
            <a:ext cx="722560" cy="722560"/>
          </a:xfrm>
          <a:prstGeom prst="ellipse">
            <a:avLst/>
          </a:prstGeom>
          <a:solidFill>
            <a:schemeClr val="accent1"/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3" name="椭圆 32">
            <a:extLst>
              <a:ext uri="{FF2B5EF4-FFF2-40B4-BE49-F238E27FC236}">
                <a16:creationId xmlns:a16="http://schemas.microsoft.com/office/drawing/2014/main" id="{16376B0B-BA01-440D-B762-8956D71E1B4E}"/>
              </a:ext>
            </a:extLst>
          </p:cNvPr>
          <p:cNvSpPr/>
          <p:nvPr/>
        </p:nvSpPr>
        <p:spPr bwMode="auto">
          <a:xfrm>
            <a:off x="7571471" y="2314999"/>
            <a:ext cx="651934" cy="651934"/>
          </a:xfrm>
          <a:prstGeom prst="ellipse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7" name="任意多边形: 形状 36">
            <a:extLst>
              <a:ext uri="{FF2B5EF4-FFF2-40B4-BE49-F238E27FC236}">
                <a16:creationId xmlns:a16="http://schemas.microsoft.com/office/drawing/2014/main" id="{FA622CC9-6C08-4075-BCEF-DCF8289B4F90}"/>
              </a:ext>
            </a:extLst>
          </p:cNvPr>
          <p:cNvSpPr/>
          <p:nvPr/>
        </p:nvSpPr>
        <p:spPr bwMode="auto">
          <a:xfrm>
            <a:off x="7719698" y="2466110"/>
            <a:ext cx="341668" cy="366366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28" name="组合 27">
            <a:extLst>
              <a:ext uri="{FF2B5EF4-FFF2-40B4-BE49-F238E27FC236}">
                <a16:creationId xmlns:a16="http://schemas.microsoft.com/office/drawing/2014/main" id="{26CEA3CC-D356-4099-B51E-9BF08AEFA1A1}"/>
              </a:ext>
            </a:extLst>
          </p:cNvPr>
          <p:cNvGrpSpPr/>
          <p:nvPr/>
        </p:nvGrpSpPr>
        <p:grpSpPr>
          <a:xfrm>
            <a:off x="3945891" y="2276872"/>
            <a:ext cx="722560" cy="722560"/>
            <a:chOff x="4038600" y="1181870"/>
            <a:chExt cx="844550" cy="844550"/>
          </a:xfrm>
        </p:grpSpPr>
        <p:sp>
          <p:nvSpPr>
            <p:cNvPr id="30" name="椭圆 29">
              <a:extLst>
                <a:ext uri="{FF2B5EF4-FFF2-40B4-BE49-F238E27FC236}">
                  <a16:creationId xmlns:a16="http://schemas.microsoft.com/office/drawing/2014/main" id="{27DBDF37-5A0C-4FD7-B724-14D9FC6D2A12}"/>
                </a:ext>
              </a:extLst>
            </p:cNvPr>
            <p:cNvSpPr/>
            <p:nvPr/>
          </p:nvSpPr>
          <p:spPr bwMode="auto">
            <a:xfrm>
              <a:off x="4038600" y="1181870"/>
              <a:ext cx="844550" cy="844550"/>
            </a:xfrm>
            <a:prstGeom prst="ellipse">
              <a:avLst/>
            </a:prstGeom>
            <a:solidFill>
              <a:schemeClr val="accent2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31" name="椭圆 30">
              <a:extLst>
                <a:ext uri="{FF2B5EF4-FFF2-40B4-BE49-F238E27FC236}">
                  <a16:creationId xmlns:a16="http://schemas.microsoft.com/office/drawing/2014/main" id="{211CB84C-B644-491F-B274-64CE66762C20}"/>
                </a:ext>
              </a:extLst>
            </p:cNvPr>
            <p:cNvSpPr/>
            <p:nvPr/>
          </p:nvSpPr>
          <p:spPr bwMode="auto">
            <a:xfrm>
              <a:off x="4079875" y="1223145"/>
              <a:ext cx="762000" cy="762000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38" name="任意多边形: 形状 37">
            <a:extLst>
              <a:ext uri="{FF2B5EF4-FFF2-40B4-BE49-F238E27FC236}">
                <a16:creationId xmlns:a16="http://schemas.microsoft.com/office/drawing/2014/main" id="{43A46088-29EB-4301-88AB-D63628F17C43}"/>
              </a:ext>
            </a:extLst>
          </p:cNvPr>
          <p:cNvSpPr/>
          <p:nvPr/>
        </p:nvSpPr>
        <p:spPr bwMode="auto">
          <a:xfrm>
            <a:off x="4123988" y="2455993"/>
            <a:ext cx="366368" cy="364320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24" name="组合 23">
            <a:extLst>
              <a:ext uri="{FF2B5EF4-FFF2-40B4-BE49-F238E27FC236}">
                <a16:creationId xmlns:a16="http://schemas.microsoft.com/office/drawing/2014/main" id="{93A68C69-A0D6-4FFF-978A-B4B777C4C4D0}"/>
              </a:ext>
            </a:extLst>
          </p:cNvPr>
          <p:cNvGrpSpPr/>
          <p:nvPr/>
        </p:nvGrpSpPr>
        <p:grpSpPr>
          <a:xfrm>
            <a:off x="7543376" y="3894110"/>
            <a:ext cx="722560" cy="722560"/>
            <a:chOff x="4038600" y="1181870"/>
            <a:chExt cx="844550" cy="844550"/>
          </a:xfrm>
        </p:grpSpPr>
        <p:sp>
          <p:nvSpPr>
            <p:cNvPr id="26" name="椭圆 25">
              <a:extLst>
                <a:ext uri="{FF2B5EF4-FFF2-40B4-BE49-F238E27FC236}">
                  <a16:creationId xmlns:a16="http://schemas.microsoft.com/office/drawing/2014/main" id="{9BF96911-DC06-49BC-BA67-58B65741558B}"/>
                </a:ext>
              </a:extLst>
            </p:cNvPr>
            <p:cNvSpPr/>
            <p:nvPr/>
          </p:nvSpPr>
          <p:spPr bwMode="auto">
            <a:xfrm>
              <a:off x="4038600" y="1181870"/>
              <a:ext cx="844550" cy="84455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7" name="椭圆 26">
              <a:extLst>
                <a:ext uri="{FF2B5EF4-FFF2-40B4-BE49-F238E27FC236}">
                  <a16:creationId xmlns:a16="http://schemas.microsoft.com/office/drawing/2014/main" id="{B5E3A01B-BFEC-408E-A2BD-4175803598DB}"/>
                </a:ext>
              </a:extLst>
            </p:cNvPr>
            <p:cNvSpPr/>
            <p:nvPr/>
          </p:nvSpPr>
          <p:spPr bwMode="auto">
            <a:xfrm>
              <a:off x="4079875" y="1223145"/>
              <a:ext cx="762000" cy="762000"/>
            </a:xfrm>
            <a:prstGeom prst="ellipse">
              <a:avLst/>
            </a:prstGeom>
            <a:solidFill>
              <a:schemeClr val="bg1"/>
            </a:solidFill>
            <a:ln w="19050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BBB5D9B3-BB05-4097-9042-B916D10F885F}"/>
              </a:ext>
            </a:extLst>
          </p:cNvPr>
          <p:cNvSpPr/>
          <p:nvPr/>
        </p:nvSpPr>
        <p:spPr bwMode="auto">
          <a:xfrm>
            <a:off x="7771193" y="4072208"/>
            <a:ext cx="266926" cy="366366"/>
          </a:xfrm>
          <a:custGeom>
            <a:avLst/>
            <a:gdLst>
              <a:gd name="T0" fmla="*/ 57 w 255"/>
              <a:gd name="T1" fmla="*/ 26 h 350"/>
              <a:gd name="T2" fmla="*/ 57 w 255"/>
              <a:gd name="T3" fmla="*/ 65 h 350"/>
              <a:gd name="T4" fmla="*/ 198 w 255"/>
              <a:gd name="T5" fmla="*/ 65 h 350"/>
              <a:gd name="T6" fmla="*/ 198 w 255"/>
              <a:gd name="T7" fmla="*/ 26 h 350"/>
              <a:gd name="T8" fmla="*/ 255 w 255"/>
              <a:gd name="T9" fmla="*/ 26 h 350"/>
              <a:gd name="T10" fmla="*/ 255 w 255"/>
              <a:gd name="T11" fmla="*/ 350 h 350"/>
              <a:gd name="T12" fmla="*/ 0 w 255"/>
              <a:gd name="T13" fmla="*/ 350 h 350"/>
              <a:gd name="T14" fmla="*/ 0 w 255"/>
              <a:gd name="T15" fmla="*/ 26 h 350"/>
              <a:gd name="T16" fmla="*/ 57 w 255"/>
              <a:gd name="T17" fmla="*/ 26 h 350"/>
              <a:gd name="T18" fmla="*/ 128 w 255"/>
              <a:gd name="T19" fmla="*/ 227 h 350"/>
              <a:gd name="T20" fmla="*/ 51 w 255"/>
              <a:gd name="T21" fmla="*/ 227 h 350"/>
              <a:gd name="T22" fmla="*/ 51 w 255"/>
              <a:gd name="T23" fmla="*/ 240 h 350"/>
              <a:gd name="T24" fmla="*/ 128 w 255"/>
              <a:gd name="T25" fmla="*/ 240 h 350"/>
              <a:gd name="T26" fmla="*/ 128 w 255"/>
              <a:gd name="T27" fmla="*/ 227 h 350"/>
              <a:gd name="T28" fmla="*/ 204 w 255"/>
              <a:gd name="T29" fmla="*/ 175 h 350"/>
              <a:gd name="T30" fmla="*/ 51 w 255"/>
              <a:gd name="T31" fmla="*/ 175 h 350"/>
              <a:gd name="T32" fmla="*/ 51 w 255"/>
              <a:gd name="T33" fmla="*/ 188 h 350"/>
              <a:gd name="T34" fmla="*/ 204 w 255"/>
              <a:gd name="T35" fmla="*/ 188 h 350"/>
              <a:gd name="T36" fmla="*/ 204 w 255"/>
              <a:gd name="T37" fmla="*/ 175 h 350"/>
              <a:gd name="T38" fmla="*/ 204 w 255"/>
              <a:gd name="T39" fmla="*/ 123 h 350"/>
              <a:gd name="T40" fmla="*/ 51 w 255"/>
              <a:gd name="T41" fmla="*/ 123 h 350"/>
              <a:gd name="T42" fmla="*/ 51 w 255"/>
              <a:gd name="T43" fmla="*/ 136 h 350"/>
              <a:gd name="T44" fmla="*/ 204 w 255"/>
              <a:gd name="T45" fmla="*/ 136 h 350"/>
              <a:gd name="T46" fmla="*/ 204 w 255"/>
              <a:gd name="T47" fmla="*/ 123 h 350"/>
              <a:gd name="T48" fmla="*/ 185 w 255"/>
              <a:gd name="T49" fmla="*/ 0 h 350"/>
              <a:gd name="T50" fmla="*/ 185 w 255"/>
              <a:gd name="T51" fmla="*/ 52 h 350"/>
              <a:gd name="T52" fmla="*/ 70 w 255"/>
              <a:gd name="T53" fmla="*/ 52 h 350"/>
              <a:gd name="T54" fmla="*/ 70 w 255"/>
              <a:gd name="T55" fmla="*/ 0 h 350"/>
              <a:gd name="T56" fmla="*/ 185 w 255"/>
              <a:gd name="T57" fmla="*/ 0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55" h="350">
                <a:moveTo>
                  <a:pt x="57" y="26"/>
                </a:moveTo>
                <a:lnTo>
                  <a:pt x="57" y="65"/>
                </a:lnTo>
                <a:lnTo>
                  <a:pt x="198" y="65"/>
                </a:lnTo>
                <a:lnTo>
                  <a:pt x="198" y="26"/>
                </a:lnTo>
                <a:lnTo>
                  <a:pt x="255" y="26"/>
                </a:lnTo>
                <a:lnTo>
                  <a:pt x="255" y="350"/>
                </a:lnTo>
                <a:lnTo>
                  <a:pt x="0" y="350"/>
                </a:lnTo>
                <a:lnTo>
                  <a:pt x="0" y="26"/>
                </a:lnTo>
                <a:lnTo>
                  <a:pt x="57" y="26"/>
                </a:lnTo>
                <a:close/>
                <a:moveTo>
                  <a:pt x="128" y="227"/>
                </a:moveTo>
                <a:lnTo>
                  <a:pt x="51" y="227"/>
                </a:lnTo>
                <a:lnTo>
                  <a:pt x="51" y="240"/>
                </a:lnTo>
                <a:lnTo>
                  <a:pt x="128" y="240"/>
                </a:lnTo>
                <a:lnTo>
                  <a:pt x="128" y="227"/>
                </a:lnTo>
                <a:close/>
                <a:moveTo>
                  <a:pt x="204" y="175"/>
                </a:moveTo>
                <a:lnTo>
                  <a:pt x="51" y="175"/>
                </a:lnTo>
                <a:lnTo>
                  <a:pt x="51" y="188"/>
                </a:lnTo>
                <a:lnTo>
                  <a:pt x="204" y="188"/>
                </a:lnTo>
                <a:lnTo>
                  <a:pt x="204" y="175"/>
                </a:lnTo>
                <a:close/>
                <a:moveTo>
                  <a:pt x="204" y="123"/>
                </a:moveTo>
                <a:lnTo>
                  <a:pt x="51" y="123"/>
                </a:lnTo>
                <a:lnTo>
                  <a:pt x="51" y="136"/>
                </a:lnTo>
                <a:lnTo>
                  <a:pt x="204" y="136"/>
                </a:lnTo>
                <a:lnTo>
                  <a:pt x="204" y="123"/>
                </a:lnTo>
                <a:close/>
                <a:moveTo>
                  <a:pt x="185" y="0"/>
                </a:moveTo>
                <a:lnTo>
                  <a:pt x="185" y="52"/>
                </a:lnTo>
                <a:lnTo>
                  <a:pt x="70" y="52"/>
                </a:lnTo>
                <a:lnTo>
                  <a:pt x="70" y="0"/>
                </a:lnTo>
                <a:lnTo>
                  <a:pt x="185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1" name="椭圆 20">
            <a:extLst>
              <a:ext uri="{FF2B5EF4-FFF2-40B4-BE49-F238E27FC236}">
                <a16:creationId xmlns:a16="http://schemas.microsoft.com/office/drawing/2014/main" id="{BFDBF25F-C5E2-4898-8FB3-3AED1C237F0D}"/>
              </a:ext>
            </a:extLst>
          </p:cNvPr>
          <p:cNvSpPr/>
          <p:nvPr/>
        </p:nvSpPr>
        <p:spPr bwMode="auto">
          <a:xfrm>
            <a:off x="3945891" y="3895732"/>
            <a:ext cx="722560" cy="722560"/>
          </a:xfrm>
          <a:prstGeom prst="ellipse">
            <a:avLst/>
          </a:prstGeom>
          <a:solidFill>
            <a:schemeClr val="accent3"/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22" name="椭圆 21">
            <a:extLst>
              <a:ext uri="{FF2B5EF4-FFF2-40B4-BE49-F238E27FC236}">
                <a16:creationId xmlns:a16="http://schemas.microsoft.com/office/drawing/2014/main" id="{D7BEEA43-25CD-4FDC-8E99-DC5A6677FAF0}"/>
              </a:ext>
            </a:extLst>
          </p:cNvPr>
          <p:cNvSpPr/>
          <p:nvPr/>
        </p:nvSpPr>
        <p:spPr bwMode="auto">
          <a:xfrm>
            <a:off x="3981204" y="3931045"/>
            <a:ext cx="651934" cy="651934"/>
          </a:xfrm>
          <a:prstGeom prst="ellipse">
            <a:avLst/>
          </a:prstGeom>
          <a:solidFill>
            <a:schemeClr val="bg1"/>
          </a:solidFill>
          <a:ln w="19050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39" name="任意多边形: 形状 38">
            <a:extLst>
              <a:ext uri="{FF2B5EF4-FFF2-40B4-BE49-F238E27FC236}">
                <a16:creationId xmlns:a16="http://schemas.microsoft.com/office/drawing/2014/main" id="{FC761302-6903-4F4B-A3BE-3A66812854B3}"/>
              </a:ext>
            </a:extLst>
          </p:cNvPr>
          <p:cNvSpPr/>
          <p:nvPr/>
        </p:nvSpPr>
        <p:spPr bwMode="auto">
          <a:xfrm>
            <a:off x="4142357" y="4073830"/>
            <a:ext cx="329630" cy="366366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957E303F-276E-46C9-A59A-2C0C6E237909}"/>
              </a:ext>
            </a:extLst>
          </p:cNvPr>
          <p:cNvSpPr txBox="1"/>
          <p:nvPr/>
        </p:nvSpPr>
        <p:spPr bwMode="auto">
          <a:xfrm>
            <a:off x="8265941" y="3892454"/>
            <a:ext cx="2980800" cy="340735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algn="l" latinLnBrk="0"/>
            <a:r>
              <a:rPr lang="en-US" altLang="zh-CN" sz="1600" b="1" dirty="0">
                <a:effectLst/>
                <a:cs typeface="+mn-ea"/>
                <a:sym typeface="+mn-lt"/>
              </a:rPr>
              <a:t>Text here</a:t>
            </a:r>
            <a:endParaRPr lang="zh-CN" altLang="en-US" sz="1600" b="1" dirty="0">
              <a:effectLst/>
              <a:cs typeface="+mn-ea"/>
              <a:sym typeface="+mn-lt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B4F47B8A-8100-468C-A691-5098E1C1247C}"/>
              </a:ext>
            </a:extLst>
          </p:cNvPr>
          <p:cNvSpPr txBox="1"/>
          <p:nvPr/>
        </p:nvSpPr>
        <p:spPr bwMode="auto">
          <a:xfrm>
            <a:off x="8265939" y="4233187"/>
            <a:ext cx="2980800" cy="89280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  <a:endParaRPr lang="zh-CN" altLang="en-US" sz="1000" dirty="0">
              <a:cs typeface="+mn-ea"/>
              <a:sym typeface="+mn-lt"/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When you copy &amp; paste, choose "keep text only" option.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2B8BAAAB-2C47-4894-BC7A-D8A2315A7728}"/>
              </a:ext>
            </a:extLst>
          </p:cNvPr>
          <p:cNvSpPr txBox="1"/>
          <p:nvPr/>
        </p:nvSpPr>
        <p:spPr bwMode="auto">
          <a:xfrm>
            <a:off x="8258724" y="2276872"/>
            <a:ext cx="2980800" cy="340735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algn="l" latinLnBrk="0"/>
            <a:r>
              <a:rPr lang="en-US" altLang="zh-CN" sz="1600" b="1" dirty="0">
                <a:effectLst/>
                <a:cs typeface="+mn-ea"/>
                <a:sym typeface="+mn-lt"/>
              </a:rPr>
              <a:t>Text here</a:t>
            </a:r>
            <a:endParaRPr lang="zh-CN" altLang="en-US" sz="1600" b="1" dirty="0">
              <a:effectLst/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0D6FAA4D-FD74-4AA3-A5A6-BA90FB8F03E3}"/>
              </a:ext>
            </a:extLst>
          </p:cNvPr>
          <p:cNvSpPr txBox="1"/>
          <p:nvPr/>
        </p:nvSpPr>
        <p:spPr bwMode="auto">
          <a:xfrm>
            <a:off x="8258722" y="2617605"/>
            <a:ext cx="2980800" cy="892800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  <a:endParaRPr lang="zh-CN" altLang="en-US" sz="1000" dirty="0">
              <a:cs typeface="+mn-ea"/>
              <a:sym typeface="+mn-lt"/>
            </a:endParaRPr>
          </a:p>
          <a:p>
            <a:pPr marL="171450" indent="-171450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When you copy &amp; paste, choose "keep text only" option.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32D93DB6-29D0-4F01-8C38-AF03B2384D1A}"/>
              </a:ext>
            </a:extLst>
          </p:cNvPr>
          <p:cNvSpPr txBox="1"/>
          <p:nvPr/>
        </p:nvSpPr>
        <p:spPr bwMode="auto">
          <a:xfrm>
            <a:off x="966000" y="3892454"/>
            <a:ext cx="2979889" cy="340735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algn="r" latinLnBrk="0"/>
            <a:r>
              <a:rPr lang="en-US" altLang="zh-CN" sz="1600" b="1" dirty="0">
                <a:effectLst/>
                <a:cs typeface="+mn-ea"/>
                <a:sym typeface="+mn-lt"/>
              </a:rPr>
              <a:t>Text here</a:t>
            </a:r>
            <a:endParaRPr lang="zh-CN" altLang="en-US" sz="1600" b="1" dirty="0">
              <a:effectLst/>
              <a:cs typeface="+mn-ea"/>
              <a:sym typeface="+mn-lt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623386A0-38A5-4F1C-8AB9-00D4E6D5915A}"/>
              </a:ext>
            </a:extLst>
          </p:cNvPr>
          <p:cNvSpPr txBox="1"/>
          <p:nvPr/>
        </p:nvSpPr>
        <p:spPr bwMode="auto">
          <a:xfrm>
            <a:off x="966000" y="4233188"/>
            <a:ext cx="2979888" cy="893023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1450" indent="-171450" algn="r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  <a:endParaRPr lang="zh-CN" altLang="en-US" sz="1000" dirty="0">
              <a:cs typeface="+mn-ea"/>
              <a:sym typeface="+mn-lt"/>
            </a:endParaRPr>
          </a:p>
          <a:p>
            <a:pPr marL="171450" indent="-171450" algn="r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When you copy &amp; paste, choose "keep text only" option.</a:t>
            </a:r>
            <a:endParaRPr lang="zh-CN" altLang="en-US" sz="1000" dirty="0">
              <a:cs typeface="+mn-ea"/>
              <a:sym typeface="+mn-lt"/>
            </a:endParaRP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331C2BC9-0027-4BC8-AA50-09E08540F3C0}"/>
              </a:ext>
            </a:extLst>
          </p:cNvPr>
          <p:cNvSpPr txBox="1"/>
          <p:nvPr/>
        </p:nvSpPr>
        <p:spPr bwMode="auto">
          <a:xfrm>
            <a:off x="966000" y="2276872"/>
            <a:ext cx="2979889" cy="340735"/>
          </a:xfrm>
          <a:prstGeom prst="rect">
            <a:avLst/>
          </a:prstGeom>
          <a:noFill/>
        </p:spPr>
        <p:txBody>
          <a:bodyPr wrap="none" lIns="90000" tIns="46800" rIns="90000" bIns="46800">
            <a:normAutofit/>
          </a:bodyPr>
          <a:lstStyle/>
          <a:p>
            <a:pPr algn="r" latinLnBrk="0"/>
            <a:r>
              <a:rPr lang="en-US" altLang="zh-CN" sz="1600" b="1" dirty="0">
                <a:effectLst/>
                <a:cs typeface="+mn-ea"/>
                <a:sym typeface="+mn-lt"/>
              </a:rPr>
              <a:t>Text here</a:t>
            </a:r>
            <a:endParaRPr lang="zh-CN" altLang="en-US" sz="1600" b="1" dirty="0">
              <a:effectLst/>
              <a:cs typeface="+mn-ea"/>
              <a:sym typeface="+mn-lt"/>
            </a:endParaRP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B023FE87-501F-4069-8AFD-F6C01184E8E6}"/>
              </a:ext>
            </a:extLst>
          </p:cNvPr>
          <p:cNvSpPr txBox="1"/>
          <p:nvPr/>
        </p:nvSpPr>
        <p:spPr bwMode="auto">
          <a:xfrm>
            <a:off x="966000" y="2617606"/>
            <a:ext cx="2979888" cy="893023"/>
          </a:xfrm>
          <a:prstGeom prst="rect">
            <a:avLst/>
          </a:prstGeom>
          <a:noFill/>
        </p:spPr>
        <p:txBody>
          <a:bodyPr wrap="square" lIns="90000" tIns="46800" rIns="90000" bIns="46800">
            <a:normAutofit/>
          </a:bodyPr>
          <a:lstStyle/>
          <a:p>
            <a:pPr marL="171450" indent="-171450" algn="r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Supporting text here.</a:t>
            </a:r>
            <a:endParaRPr lang="zh-CN" altLang="en-US" sz="1000" dirty="0">
              <a:cs typeface="+mn-ea"/>
              <a:sym typeface="+mn-lt"/>
            </a:endParaRPr>
          </a:p>
          <a:p>
            <a:pPr marL="171450" indent="-171450" algn="r">
              <a:lnSpc>
                <a:spcPct val="170000"/>
              </a:lnSpc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altLang="zh-CN" sz="1000" dirty="0">
                <a:cs typeface="+mn-ea"/>
                <a:sym typeface="+mn-lt"/>
              </a:rPr>
              <a:t>When you copy &amp; paste, choose "keep text only" option.</a:t>
            </a:r>
            <a:endParaRPr lang="zh-CN" altLang="en-US" sz="1000" dirty="0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11748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122E099-845B-4D3E-8836-436C99BE39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F462E94-0010-4E33-8849-792BA25815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BF9426A-EC08-4D1C-BC03-B635DDB3F5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3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箭头: 右 5">
            <a:extLst>
              <a:ext uri="{FF2B5EF4-FFF2-40B4-BE49-F238E27FC236}">
                <a16:creationId xmlns:a16="http://schemas.microsoft.com/office/drawing/2014/main" id="{9815EAFC-4729-47C6-9153-5BEBAB5C4B45}"/>
              </a:ext>
            </a:extLst>
          </p:cNvPr>
          <p:cNvSpPr/>
          <p:nvPr/>
        </p:nvSpPr>
        <p:spPr>
          <a:xfrm rot="20400000">
            <a:off x="660400" y="3450808"/>
            <a:ext cx="10858500" cy="362785"/>
          </a:xfrm>
          <a:prstGeom prst="rightArrow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lumMod val="85000"/>
                </a:schemeClr>
              </a:gs>
            </a:gsLst>
            <a:lin ang="0" scaled="1"/>
            <a:tileRect/>
          </a:gra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325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17187819-3A56-48D2-BDB5-BAF0F98C9928}"/>
              </a:ext>
            </a:extLst>
          </p:cNvPr>
          <p:cNvSpPr/>
          <p:nvPr/>
        </p:nvSpPr>
        <p:spPr>
          <a:xfrm>
            <a:off x="6033446" y="3575997"/>
            <a:ext cx="112406" cy="112406"/>
          </a:xfrm>
          <a:prstGeom prst="ellipse">
            <a:avLst/>
          </a:prstGeom>
          <a:solidFill>
            <a:schemeClr val="bg1">
              <a:lumMod val="65000"/>
            </a:schemeClr>
          </a:solidFill>
          <a:ln w="127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" name="椭圆 7">
            <a:extLst>
              <a:ext uri="{FF2B5EF4-FFF2-40B4-BE49-F238E27FC236}">
                <a16:creationId xmlns:a16="http://schemas.microsoft.com/office/drawing/2014/main" id="{20DB230E-FA93-4835-B765-CE8A7394475A}"/>
              </a:ext>
            </a:extLst>
          </p:cNvPr>
          <p:cNvSpPr/>
          <p:nvPr/>
        </p:nvSpPr>
        <p:spPr>
          <a:xfrm>
            <a:off x="2060989" y="5023423"/>
            <a:ext cx="112406" cy="112406"/>
          </a:xfrm>
          <a:prstGeom prst="ellipse">
            <a:avLst/>
          </a:prstGeom>
          <a:solidFill>
            <a:schemeClr val="bg1">
              <a:lumMod val="85000"/>
            </a:schemeClr>
          </a:solidFill>
          <a:ln w="127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椭圆 8">
            <a:extLst>
              <a:ext uri="{FF2B5EF4-FFF2-40B4-BE49-F238E27FC236}">
                <a16:creationId xmlns:a16="http://schemas.microsoft.com/office/drawing/2014/main" id="{9D96596A-16F6-492D-BCB2-B07D90F8818C}"/>
              </a:ext>
            </a:extLst>
          </p:cNvPr>
          <p:cNvSpPr/>
          <p:nvPr/>
        </p:nvSpPr>
        <p:spPr>
          <a:xfrm>
            <a:off x="4047218" y="4299710"/>
            <a:ext cx="112406" cy="112406"/>
          </a:xfrm>
          <a:prstGeom prst="ellipse">
            <a:avLst/>
          </a:prstGeom>
          <a:solidFill>
            <a:schemeClr val="bg1">
              <a:lumMod val="75000"/>
            </a:schemeClr>
          </a:solidFill>
          <a:ln w="127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0" name="椭圆 9">
            <a:extLst>
              <a:ext uri="{FF2B5EF4-FFF2-40B4-BE49-F238E27FC236}">
                <a16:creationId xmlns:a16="http://schemas.microsoft.com/office/drawing/2014/main" id="{5AF37D46-821F-4A00-AF24-5F67B842FB91}"/>
              </a:ext>
            </a:extLst>
          </p:cNvPr>
          <p:cNvSpPr/>
          <p:nvPr/>
        </p:nvSpPr>
        <p:spPr>
          <a:xfrm>
            <a:off x="8019674" y="2852284"/>
            <a:ext cx="112406" cy="11240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1" name="椭圆 10">
            <a:extLst>
              <a:ext uri="{FF2B5EF4-FFF2-40B4-BE49-F238E27FC236}">
                <a16:creationId xmlns:a16="http://schemas.microsoft.com/office/drawing/2014/main" id="{A94DA412-CED2-462B-B248-97C6C9026493}"/>
              </a:ext>
            </a:extLst>
          </p:cNvPr>
          <p:cNvSpPr/>
          <p:nvPr/>
        </p:nvSpPr>
        <p:spPr>
          <a:xfrm>
            <a:off x="10005902" y="2128571"/>
            <a:ext cx="112406" cy="112406"/>
          </a:xfrm>
          <a:prstGeom prst="ellipse">
            <a:avLst/>
          </a:prstGeom>
          <a:solidFill>
            <a:schemeClr val="accent1"/>
          </a:solidFill>
          <a:ln w="12700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25000" lnSpcReduction="20000"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0" name="任意多边形: 形状 29">
            <a:extLst>
              <a:ext uri="{FF2B5EF4-FFF2-40B4-BE49-F238E27FC236}">
                <a16:creationId xmlns:a16="http://schemas.microsoft.com/office/drawing/2014/main" id="{DE4D0125-19C2-47C6-A886-AF9B177BB74D}"/>
              </a:ext>
            </a:extLst>
          </p:cNvPr>
          <p:cNvSpPr/>
          <p:nvPr/>
        </p:nvSpPr>
        <p:spPr>
          <a:xfrm>
            <a:off x="1892258" y="4277280"/>
            <a:ext cx="449869" cy="555811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1" name="任意多边形: 形状 30">
            <a:extLst>
              <a:ext uri="{FF2B5EF4-FFF2-40B4-BE49-F238E27FC236}">
                <a16:creationId xmlns:a16="http://schemas.microsoft.com/office/drawing/2014/main" id="{B047E816-4DC5-4610-BC75-9ACDEFF794A8}"/>
              </a:ext>
            </a:extLst>
          </p:cNvPr>
          <p:cNvSpPr/>
          <p:nvPr/>
        </p:nvSpPr>
        <p:spPr>
          <a:xfrm>
            <a:off x="3825516" y="3620327"/>
            <a:ext cx="555811" cy="422291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8 w 224"/>
              <a:gd name="T11" fmla="*/ 72 h 168"/>
              <a:gd name="T12" fmla="*/ 104 w 224"/>
              <a:gd name="T13" fmla="*/ 143 h 168"/>
              <a:gd name="T14" fmla="*/ 58 w 224"/>
              <a:gd name="T15" fmla="*/ 99 h 168"/>
              <a:gd name="T16" fmla="*/ 8 w 224"/>
              <a:gd name="T17" fmla="*/ 160 h 168"/>
              <a:gd name="T18" fmla="*/ 216 w 224"/>
              <a:gd name="T19" fmla="*/ 160 h 168"/>
              <a:gd name="T20" fmla="*/ 158 w 224"/>
              <a:gd name="T21" fmla="*/ 72 h 168"/>
              <a:gd name="T22" fmla="*/ 40 w 224"/>
              <a:gd name="T23" fmla="*/ 24 h 168"/>
              <a:gd name="T24" fmla="*/ 24 w 224"/>
              <a:gd name="T25" fmla="*/ 40 h 168"/>
              <a:gd name="T26" fmla="*/ 40 w 224"/>
              <a:gd name="T27" fmla="*/ 56 h 168"/>
              <a:gd name="T28" fmla="*/ 56 w 224"/>
              <a:gd name="T29" fmla="*/ 40 h 168"/>
              <a:gd name="T30" fmla="*/ 40 w 224"/>
              <a:gd name="T31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8" y="72"/>
                </a:moveTo>
                <a:cubicBezTo>
                  <a:pt x="104" y="143"/>
                  <a:pt x="104" y="143"/>
                  <a:pt x="104" y="143"/>
                </a:cubicBezTo>
                <a:cubicBezTo>
                  <a:pt x="58" y="99"/>
                  <a:pt x="58" y="99"/>
                  <a:pt x="58" y="9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lnTo>
                  <a:pt x="158" y="72"/>
                </a:ln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2" name="任意多边形: 形状 31">
            <a:extLst>
              <a:ext uri="{FF2B5EF4-FFF2-40B4-BE49-F238E27FC236}">
                <a16:creationId xmlns:a16="http://schemas.microsoft.com/office/drawing/2014/main" id="{A8CA0C2E-4E19-473F-9A0A-53D94C6FF374}"/>
              </a:ext>
            </a:extLst>
          </p:cNvPr>
          <p:cNvSpPr/>
          <p:nvPr/>
        </p:nvSpPr>
        <p:spPr>
          <a:xfrm>
            <a:off x="5830480" y="2829854"/>
            <a:ext cx="518340" cy="555811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bg1">
              <a:lumMod val="65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9CD842EC-A7E1-43DC-8689-3B2F261ADE35}"/>
              </a:ext>
            </a:extLst>
          </p:cNvPr>
          <p:cNvSpPr/>
          <p:nvPr/>
        </p:nvSpPr>
        <p:spPr>
          <a:xfrm>
            <a:off x="7816707" y="2106142"/>
            <a:ext cx="518340" cy="555811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1FA4578C-0C84-434E-BB9D-BB9BDBEE6BE3}"/>
              </a:ext>
            </a:extLst>
          </p:cNvPr>
          <p:cNvSpPr/>
          <p:nvPr/>
        </p:nvSpPr>
        <p:spPr>
          <a:xfrm>
            <a:off x="9784200" y="1383981"/>
            <a:ext cx="555811" cy="552705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7" name="矩形 16">
            <a:extLst>
              <a:ext uri="{FF2B5EF4-FFF2-40B4-BE49-F238E27FC236}">
                <a16:creationId xmlns:a16="http://schemas.microsoft.com/office/drawing/2014/main" id="{3903BE27-62D1-4315-9E07-DA512F639555}"/>
              </a:ext>
            </a:extLst>
          </p:cNvPr>
          <p:cNvSpPr/>
          <p:nvPr/>
        </p:nvSpPr>
        <p:spPr>
          <a:xfrm>
            <a:off x="1436718" y="5719254"/>
            <a:ext cx="1360948" cy="414846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3903BE27-62D1-4315-9E07-DA512F639555}"/>
              </a:ext>
            </a:extLst>
          </p:cNvPr>
          <p:cNvSpPr/>
          <p:nvPr/>
        </p:nvSpPr>
        <p:spPr>
          <a:xfrm>
            <a:off x="3422946" y="5719254"/>
            <a:ext cx="1360948" cy="414846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3903BE27-62D1-4315-9E07-DA512F639555}"/>
              </a:ext>
            </a:extLst>
          </p:cNvPr>
          <p:cNvSpPr/>
          <p:nvPr/>
        </p:nvSpPr>
        <p:spPr>
          <a:xfrm>
            <a:off x="5409174" y="5719254"/>
            <a:ext cx="1360948" cy="414846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3903BE27-62D1-4315-9E07-DA512F639555}"/>
              </a:ext>
            </a:extLst>
          </p:cNvPr>
          <p:cNvSpPr/>
          <p:nvPr/>
        </p:nvSpPr>
        <p:spPr>
          <a:xfrm>
            <a:off x="7395402" y="5719254"/>
            <a:ext cx="1360948" cy="414846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3903BE27-62D1-4315-9E07-DA512F639555}"/>
              </a:ext>
            </a:extLst>
          </p:cNvPr>
          <p:cNvSpPr/>
          <p:nvPr/>
        </p:nvSpPr>
        <p:spPr>
          <a:xfrm>
            <a:off x="9381631" y="5719254"/>
            <a:ext cx="1360948" cy="414846"/>
          </a:xfrm>
          <a:prstGeom prst="rect">
            <a:avLst/>
          </a:prstGeom>
          <a:noFill/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cxnSp>
        <p:nvCxnSpPr>
          <p:cNvPr id="22" name="直接连接符 21">
            <a:extLst>
              <a:ext uri="{FF2B5EF4-FFF2-40B4-BE49-F238E27FC236}">
                <a16:creationId xmlns:a16="http://schemas.microsoft.com/office/drawing/2014/main" id="{9D1CB2F0-223C-41CF-88FF-9EDFC56A358C}"/>
              </a:ext>
            </a:extLst>
          </p:cNvPr>
          <p:cNvCxnSpPr>
            <a:stCxn id="8" idx="4"/>
            <a:endCxn id="17" idx="0"/>
          </p:cNvCxnSpPr>
          <p:nvPr/>
        </p:nvCxnSpPr>
        <p:spPr>
          <a:xfrm>
            <a:off x="2117192" y="5170745"/>
            <a:ext cx="0" cy="548509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直接连接符 22">
            <a:extLst>
              <a:ext uri="{FF2B5EF4-FFF2-40B4-BE49-F238E27FC236}">
                <a16:creationId xmlns:a16="http://schemas.microsoft.com/office/drawing/2014/main" id="{25070097-70D1-4613-A157-5FBA37604781}"/>
              </a:ext>
            </a:extLst>
          </p:cNvPr>
          <p:cNvCxnSpPr>
            <a:stCxn id="11" idx="4"/>
            <a:endCxn id="21" idx="0"/>
          </p:cNvCxnSpPr>
          <p:nvPr/>
        </p:nvCxnSpPr>
        <p:spPr>
          <a:xfrm>
            <a:off x="10062105" y="2449141"/>
            <a:ext cx="0" cy="3270113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>
            <a:extLst>
              <a:ext uri="{FF2B5EF4-FFF2-40B4-BE49-F238E27FC236}">
                <a16:creationId xmlns:a16="http://schemas.microsoft.com/office/drawing/2014/main" id="{8F5DFC3E-C1B0-4FDD-84B5-B70AE2E80174}"/>
              </a:ext>
            </a:extLst>
          </p:cNvPr>
          <p:cNvCxnSpPr>
            <a:stCxn id="10" idx="4"/>
            <a:endCxn id="20" idx="0"/>
          </p:cNvCxnSpPr>
          <p:nvPr/>
        </p:nvCxnSpPr>
        <p:spPr>
          <a:xfrm flipH="1">
            <a:off x="8075876" y="3129542"/>
            <a:ext cx="1" cy="2589712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直接连接符 24">
            <a:extLst>
              <a:ext uri="{FF2B5EF4-FFF2-40B4-BE49-F238E27FC236}">
                <a16:creationId xmlns:a16="http://schemas.microsoft.com/office/drawing/2014/main" id="{F8DC03E0-0EE4-4A0C-B807-AD5619F7E378}"/>
              </a:ext>
            </a:extLst>
          </p:cNvPr>
          <p:cNvCxnSpPr>
            <a:stCxn id="7" idx="4"/>
            <a:endCxn id="19" idx="0"/>
          </p:cNvCxnSpPr>
          <p:nvPr/>
        </p:nvCxnSpPr>
        <p:spPr>
          <a:xfrm flipH="1">
            <a:off x="6089648" y="3809943"/>
            <a:ext cx="1" cy="1909311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直接连接符 25">
            <a:extLst>
              <a:ext uri="{FF2B5EF4-FFF2-40B4-BE49-F238E27FC236}">
                <a16:creationId xmlns:a16="http://schemas.microsoft.com/office/drawing/2014/main" id="{A71679EE-BB37-4D05-A3EA-30AD52A58285}"/>
              </a:ext>
            </a:extLst>
          </p:cNvPr>
          <p:cNvCxnSpPr>
            <a:stCxn id="9" idx="4"/>
            <a:endCxn id="18" idx="0"/>
          </p:cNvCxnSpPr>
          <p:nvPr/>
        </p:nvCxnSpPr>
        <p:spPr>
          <a:xfrm flipH="1">
            <a:off x="4103420" y="4490344"/>
            <a:ext cx="1" cy="122891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文本框 27">
            <a:extLst>
              <a:ext uri="{FF2B5EF4-FFF2-40B4-BE49-F238E27FC236}">
                <a16:creationId xmlns:a16="http://schemas.microsoft.com/office/drawing/2014/main" id="{F6C0B8BD-8162-4FCA-B7AC-235FD87189C5}"/>
              </a:ext>
            </a:extLst>
          </p:cNvPr>
          <p:cNvSpPr txBox="1"/>
          <p:nvPr/>
        </p:nvSpPr>
        <p:spPr>
          <a:xfrm>
            <a:off x="660400" y="1210893"/>
            <a:ext cx="4368800" cy="109428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Unified fonts make reading</a:t>
            </a:r>
          </a:p>
          <a:p>
            <a:pPr>
              <a:buSzPct val="25000"/>
            </a:pPr>
            <a:r>
              <a:rPr lang="en-US" sz="2400" b="1" dirty="0">
                <a:cs typeface="+mn-ea"/>
                <a:sym typeface="+mn-lt"/>
              </a:rPr>
              <a:t>more fluent.</a:t>
            </a:r>
          </a:p>
        </p:txBody>
      </p:sp>
      <p:sp>
        <p:nvSpPr>
          <p:cNvPr id="29" name="文本框 28">
            <a:extLst>
              <a:ext uri="{FF2B5EF4-FFF2-40B4-BE49-F238E27FC236}">
                <a16:creationId xmlns:a16="http://schemas.microsoft.com/office/drawing/2014/main" id="{4526A6D4-3938-483E-AE04-387A4D4F50AE}"/>
              </a:ext>
            </a:extLst>
          </p:cNvPr>
          <p:cNvSpPr txBox="1"/>
          <p:nvPr/>
        </p:nvSpPr>
        <p:spPr>
          <a:xfrm>
            <a:off x="660400" y="2305181"/>
            <a:ext cx="4368800" cy="914133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Theme color makes PPT more convenient to change.</a:t>
            </a:r>
          </a:p>
          <a:p>
            <a:pPr>
              <a:lnSpc>
                <a:spcPct val="150000"/>
              </a:lnSpc>
              <a:buSzPct val="25000"/>
            </a:pPr>
            <a:r>
              <a:rPr lang="en-US" altLang="zh-CN" sz="1100" dirty="0">
                <a:cs typeface="+mn-ea"/>
                <a:sym typeface="+mn-lt"/>
              </a:rPr>
              <a:t>Adjust the spacing to adapt to Chinese typesetting, use the reference line in PPT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997397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3A970FA-9077-4D83-8A16-B47BE18B1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3C463041-E5AD-4D4F-A76D-7FFEBAE6C3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BAC3C971-F1F8-432E-A751-D0A0222D13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4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: 形状 5">
            <a:extLst>
              <a:ext uri="{FF2B5EF4-FFF2-40B4-BE49-F238E27FC236}">
                <a16:creationId xmlns:a16="http://schemas.microsoft.com/office/drawing/2014/main" id="{14F6C7F7-79D8-42C5-B8CF-C9E890FDE19A}"/>
              </a:ext>
            </a:extLst>
          </p:cNvPr>
          <p:cNvSpPr/>
          <p:nvPr/>
        </p:nvSpPr>
        <p:spPr>
          <a:xfrm>
            <a:off x="4627778" y="1674782"/>
            <a:ext cx="2941206" cy="2941205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19679" h="19679" extrusionOk="0">
                <a:moveTo>
                  <a:pt x="16796" y="2882"/>
                </a:moveTo>
                <a:cubicBezTo>
                  <a:pt x="20639" y="6724"/>
                  <a:pt x="20639" y="12954"/>
                  <a:pt x="16796" y="16796"/>
                </a:cubicBezTo>
                <a:cubicBezTo>
                  <a:pt x="12954" y="20639"/>
                  <a:pt x="6724" y="20639"/>
                  <a:pt x="2882" y="16796"/>
                </a:cubicBezTo>
                <a:cubicBezTo>
                  <a:pt x="-961" y="12954"/>
                  <a:pt x="-961" y="6724"/>
                  <a:pt x="2882" y="2882"/>
                </a:cubicBezTo>
                <a:cubicBezTo>
                  <a:pt x="6724" y="-961"/>
                  <a:pt x="12954" y="-961"/>
                  <a:pt x="16796" y="288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12700">
            <a:miter lim="400000"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/>
            <a:endParaRPr>
              <a:cs typeface="+mn-ea"/>
              <a:sym typeface="+mn-lt"/>
            </a:endParaRPr>
          </a:p>
        </p:txBody>
      </p:sp>
      <p:sp>
        <p:nvSpPr>
          <p:cNvPr id="25" name="矩形 24">
            <a:extLst>
              <a:ext uri="{FF2B5EF4-FFF2-40B4-BE49-F238E27FC236}">
                <a16:creationId xmlns:a16="http://schemas.microsoft.com/office/drawing/2014/main" id="{CE8FB92D-27B0-49A1-BCA6-DB92F5D49307}"/>
              </a:ext>
            </a:extLst>
          </p:cNvPr>
          <p:cNvSpPr/>
          <p:nvPr/>
        </p:nvSpPr>
        <p:spPr bwMode="auto">
          <a:xfrm>
            <a:off x="673893" y="2369729"/>
            <a:ext cx="3489325" cy="61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6" name="文本框 25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673893" y="1828036"/>
            <a:ext cx="3489325" cy="5416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EA055427-1358-4EB6-B4EE-8D932B86FC01}"/>
              </a:ext>
            </a:extLst>
          </p:cNvPr>
          <p:cNvCxnSpPr/>
          <p:nvPr/>
        </p:nvCxnSpPr>
        <p:spPr>
          <a:xfrm flipH="1">
            <a:off x="670718" y="2980045"/>
            <a:ext cx="542766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390CE853-477B-499B-8A4A-A566A105C908}"/>
              </a:ext>
            </a:extLst>
          </p:cNvPr>
          <p:cNvCxnSpPr/>
          <p:nvPr/>
        </p:nvCxnSpPr>
        <p:spPr>
          <a:xfrm flipH="1">
            <a:off x="670718" y="3715177"/>
            <a:ext cx="4707833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C174C7DA-D8D4-4216-A8CE-43408041151B}"/>
              </a:ext>
            </a:extLst>
          </p:cNvPr>
          <p:cNvCxnSpPr/>
          <p:nvPr/>
        </p:nvCxnSpPr>
        <p:spPr>
          <a:xfrm>
            <a:off x="6098381" y="4450309"/>
            <a:ext cx="5422900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B7895407-C929-49CA-A17A-3A0994DAC4A2}"/>
              </a:ext>
            </a:extLst>
          </p:cNvPr>
          <p:cNvCxnSpPr/>
          <p:nvPr/>
        </p:nvCxnSpPr>
        <p:spPr>
          <a:xfrm>
            <a:off x="6833513" y="3715177"/>
            <a:ext cx="4687768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椭圆 11">
            <a:extLst>
              <a:ext uri="{FF2B5EF4-FFF2-40B4-BE49-F238E27FC236}">
                <a16:creationId xmlns:a16="http://schemas.microsoft.com/office/drawing/2014/main" id="{872F3BC0-6880-4374-8048-59B47A53ADA1}"/>
              </a:ext>
            </a:extLst>
          </p:cNvPr>
          <p:cNvSpPr/>
          <p:nvPr/>
        </p:nvSpPr>
        <p:spPr>
          <a:xfrm>
            <a:off x="5528588" y="1840459"/>
            <a:ext cx="1139586" cy="1139586"/>
          </a:xfrm>
          <a:prstGeom prst="ellipse">
            <a:avLst/>
          </a:prstGeom>
          <a:solidFill>
            <a:schemeClr val="accent1"/>
          </a:solidFill>
          <a:ln w="19050" cap="flat">
            <a:solidFill>
              <a:srgbClr val="FFFFFF"/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sz="2800" b="1" i="1" dirty="0">
                <a:solidFill>
                  <a:schemeClr val="bg1"/>
                </a:solidFill>
                <a:cs typeface="+mn-ea"/>
                <a:sym typeface="+mn-lt"/>
              </a:rPr>
              <a:t>S</a:t>
            </a:r>
            <a:endParaRPr sz="28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3" name="椭圆 12">
            <a:extLst>
              <a:ext uri="{FF2B5EF4-FFF2-40B4-BE49-F238E27FC236}">
                <a16:creationId xmlns:a16="http://schemas.microsoft.com/office/drawing/2014/main" id="{1CAFCE7D-F465-4C91-AFD5-9EFC3BF7CF66}"/>
              </a:ext>
            </a:extLst>
          </p:cNvPr>
          <p:cNvSpPr/>
          <p:nvPr/>
        </p:nvSpPr>
        <p:spPr>
          <a:xfrm>
            <a:off x="6263720" y="2575591"/>
            <a:ext cx="1139586" cy="1139586"/>
          </a:xfrm>
          <a:prstGeom prst="ellipse">
            <a:avLst/>
          </a:prstGeom>
          <a:solidFill>
            <a:schemeClr val="accent2"/>
          </a:solidFill>
          <a:ln w="19050" cap="flat">
            <a:solidFill>
              <a:srgbClr val="FFFFFF"/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sz="2800" b="1" i="1" dirty="0">
                <a:solidFill>
                  <a:schemeClr val="bg1"/>
                </a:solidFill>
                <a:cs typeface="+mn-ea"/>
                <a:sym typeface="+mn-lt"/>
              </a:rPr>
              <a:t>W</a:t>
            </a:r>
            <a:endParaRPr sz="28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4" name="椭圆 13">
            <a:extLst>
              <a:ext uri="{FF2B5EF4-FFF2-40B4-BE49-F238E27FC236}">
                <a16:creationId xmlns:a16="http://schemas.microsoft.com/office/drawing/2014/main" id="{A9C918AF-765F-432D-8B87-50FEDBB9C002}"/>
              </a:ext>
            </a:extLst>
          </p:cNvPr>
          <p:cNvSpPr/>
          <p:nvPr/>
        </p:nvSpPr>
        <p:spPr>
          <a:xfrm>
            <a:off x="5528588" y="3310723"/>
            <a:ext cx="1139586" cy="1139586"/>
          </a:xfrm>
          <a:prstGeom prst="ellipse">
            <a:avLst/>
          </a:prstGeom>
          <a:solidFill>
            <a:schemeClr val="accent3"/>
          </a:solidFill>
          <a:ln w="19050" cap="flat">
            <a:solidFill>
              <a:srgbClr val="FFFFFF"/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sz="2800" b="1" i="1" dirty="0">
                <a:solidFill>
                  <a:schemeClr val="bg1"/>
                </a:solidFill>
                <a:cs typeface="+mn-ea"/>
                <a:sym typeface="+mn-lt"/>
              </a:rPr>
              <a:t>O</a:t>
            </a:r>
            <a:endParaRPr sz="28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2FFAB06C-084C-4077-9117-CDEB2A117C35}"/>
              </a:ext>
            </a:extLst>
          </p:cNvPr>
          <p:cNvSpPr/>
          <p:nvPr/>
        </p:nvSpPr>
        <p:spPr>
          <a:xfrm>
            <a:off x="4793456" y="2575591"/>
            <a:ext cx="1139586" cy="1139586"/>
          </a:xfrm>
          <a:prstGeom prst="ellipse">
            <a:avLst/>
          </a:prstGeom>
          <a:solidFill>
            <a:schemeClr val="accent4"/>
          </a:solidFill>
          <a:ln w="19050" cap="flat">
            <a:solidFill>
              <a:srgbClr val="FFFFFF"/>
            </a:solidFill>
            <a:prstDash val="solid"/>
            <a:miter lim="400000"/>
          </a:ln>
          <a:effectLst/>
        </p:spPr>
        <p:txBody>
          <a:bodyPr wrap="square" lIns="91440" tIns="45720" rIns="91440" bIns="45720" numCol="1" anchor="ctr">
            <a:norm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lvl="0" algn="ctr"/>
            <a:r>
              <a:rPr lang="en-US" sz="2800" b="1" i="1" dirty="0">
                <a:solidFill>
                  <a:schemeClr val="bg1"/>
                </a:solidFill>
                <a:cs typeface="+mn-ea"/>
                <a:sym typeface="+mn-lt"/>
              </a:rPr>
              <a:t>T</a:t>
            </a:r>
            <a:endParaRPr sz="2800" b="1" i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3" name="矩形 22">
            <a:extLst>
              <a:ext uri="{FF2B5EF4-FFF2-40B4-BE49-F238E27FC236}">
                <a16:creationId xmlns:a16="http://schemas.microsoft.com/office/drawing/2014/main" id="{CE8FB92D-27B0-49A1-BCA6-DB92F5D49307}"/>
              </a:ext>
            </a:extLst>
          </p:cNvPr>
          <p:cNvSpPr/>
          <p:nvPr/>
        </p:nvSpPr>
        <p:spPr bwMode="auto">
          <a:xfrm>
            <a:off x="673893" y="4256870"/>
            <a:ext cx="3489325" cy="61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673893" y="3715177"/>
            <a:ext cx="3489325" cy="5416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21" name="矩形 20">
            <a:extLst>
              <a:ext uri="{FF2B5EF4-FFF2-40B4-BE49-F238E27FC236}">
                <a16:creationId xmlns:a16="http://schemas.microsoft.com/office/drawing/2014/main" id="{CE8FB92D-27B0-49A1-BCA6-DB92F5D49307}"/>
              </a:ext>
            </a:extLst>
          </p:cNvPr>
          <p:cNvSpPr/>
          <p:nvPr/>
        </p:nvSpPr>
        <p:spPr bwMode="auto">
          <a:xfrm>
            <a:off x="8030368" y="3104861"/>
            <a:ext cx="3489325" cy="61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2" name="文本框 21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030368" y="2563168"/>
            <a:ext cx="3489325" cy="5416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9" name="矩形 18">
            <a:extLst>
              <a:ext uri="{FF2B5EF4-FFF2-40B4-BE49-F238E27FC236}">
                <a16:creationId xmlns:a16="http://schemas.microsoft.com/office/drawing/2014/main" id="{CE8FB92D-27B0-49A1-BCA6-DB92F5D49307}"/>
              </a:ext>
            </a:extLst>
          </p:cNvPr>
          <p:cNvSpPr/>
          <p:nvPr/>
        </p:nvSpPr>
        <p:spPr bwMode="auto">
          <a:xfrm>
            <a:off x="8030368" y="4992002"/>
            <a:ext cx="3489325" cy="6103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0" name="文本框 19">
            <a:extLst>
              <a:ext uri="{FF2B5EF4-FFF2-40B4-BE49-F238E27FC236}">
                <a16:creationId xmlns:a16="http://schemas.microsoft.com/office/drawing/2014/main" id="{295FEF84-B090-45B0-B505-6C095F5B9C79}"/>
              </a:ext>
            </a:extLst>
          </p:cNvPr>
          <p:cNvSpPr txBox="1"/>
          <p:nvPr/>
        </p:nvSpPr>
        <p:spPr bwMode="auto">
          <a:xfrm>
            <a:off x="8030368" y="4450309"/>
            <a:ext cx="3489325" cy="541692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</p:spTree>
    <p:extLst>
      <p:ext uri="{BB962C8B-B14F-4D97-AF65-F5344CB8AC3E}">
        <p14:creationId xmlns:p14="http://schemas.microsoft.com/office/powerpoint/2010/main" val="119403694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529116C-5F0C-4CA0-9AE7-8A419C8452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C783308-4746-44A4-B28D-3F0A30F9E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795E441-6A15-46EA-8435-DE0803595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D30EFFF4-161E-48A2-AAAC-20F3EBB4FAEB}"/>
              </a:ext>
            </a:extLst>
          </p:cNvPr>
          <p:cNvSpPr/>
          <p:nvPr/>
        </p:nvSpPr>
        <p:spPr>
          <a:xfrm>
            <a:off x="669923" y="2608388"/>
            <a:ext cx="3428834" cy="215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1500ED12-E538-4508-AEAA-C7FEA9CF69AF}"/>
              </a:ext>
            </a:extLst>
          </p:cNvPr>
          <p:cNvSpPr/>
          <p:nvPr/>
        </p:nvSpPr>
        <p:spPr>
          <a:xfrm>
            <a:off x="8091656" y="2608388"/>
            <a:ext cx="3428834" cy="2153323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anchor="ctr">
            <a:normAutofit/>
          </a:bodyPr>
          <a:lstStyle/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011F09BA-3ED9-4EDA-A868-358970FD1F7F}"/>
              </a:ext>
            </a:extLst>
          </p:cNvPr>
          <p:cNvSpPr txBox="1"/>
          <p:nvPr/>
        </p:nvSpPr>
        <p:spPr>
          <a:xfrm>
            <a:off x="4456917" y="3059588"/>
            <a:ext cx="3277384" cy="49247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DF3FC734-AF0C-43C6-9DD6-E7FE23EE04CB}"/>
              </a:ext>
            </a:extLst>
          </p:cNvPr>
          <p:cNvSpPr txBox="1"/>
          <p:nvPr/>
        </p:nvSpPr>
        <p:spPr>
          <a:xfrm>
            <a:off x="5155416" y="3552066"/>
            <a:ext cx="1880384" cy="1348955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200" dirty="0">
                <a:cs typeface="+mn-ea"/>
                <a:sym typeface="+mn-lt"/>
              </a:rPr>
              <a:t>……</a:t>
            </a:r>
          </a:p>
        </p:txBody>
      </p:sp>
      <p:grpSp>
        <p:nvGrpSpPr>
          <p:cNvPr id="12" name="组合 11">
            <a:extLst>
              <a:ext uri="{FF2B5EF4-FFF2-40B4-BE49-F238E27FC236}">
                <a16:creationId xmlns:a16="http://schemas.microsoft.com/office/drawing/2014/main" id="{FC2875B9-4FF8-47E3-AE99-C833C511EA68}"/>
              </a:ext>
            </a:extLst>
          </p:cNvPr>
          <p:cNvGrpSpPr/>
          <p:nvPr/>
        </p:nvGrpSpPr>
        <p:grpSpPr>
          <a:xfrm>
            <a:off x="3920317" y="3371782"/>
            <a:ext cx="520700" cy="520700"/>
            <a:chOff x="3683000" y="444500"/>
            <a:chExt cx="520700" cy="520700"/>
          </a:xfrm>
        </p:grpSpPr>
        <p:sp>
          <p:nvSpPr>
            <p:cNvPr id="20" name="椭圆 19">
              <a:extLst>
                <a:ext uri="{FF2B5EF4-FFF2-40B4-BE49-F238E27FC236}">
                  <a16:creationId xmlns:a16="http://schemas.microsoft.com/office/drawing/2014/main" id="{3AFDA68B-9B89-4BC7-AD24-DF96F51F1AE7}"/>
                </a:ext>
              </a:extLst>
            </p:cNvPr>
            <p:cNvSpPr/>
            <p:nvPr/>
          </p:nvSpPr>
          <p:spPr>
            <a:xfrm>
              <a:off x="3683000" y="444500"/>
              <a:ext cx="520700" cy="520700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箭头: 右 20">
              <a:extLst>
                <a:ext uri="{FF2B5EF4-FFF2-40B4-BE49-F238E27FC236}">
                  <a16:creationId xmlns:a16="http://schemas.microsoft.com/office/drawing/2014/main" id="{2B9282CE-EAB8-4E16-BD85-8864FFDB62F2}"/>
                </a:ext>
              </a:extLst>
            </p:cNvPr>
            <p:cNvSpPr/>
            <p:nvPr/>
          </p:nvSpPr>
          <p:spPr>
            <a:xfrm flipH="1">
              <a:off x="3812062" y="590550"/>
              <a:ext cx="262576" cy="228600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0CBB88D5-029F-4B70-9DCC-3899AF932138}"/>
              </a:ext>
            </a:extLst>
          </p:cNvPr>
          <p:cNvGrpSpPr/>
          <p:nvPr/>
        </p:nvGrpSpPr>
        <p:grpSpPr>
          <a:xfrm flipH="1">
            <a:off x="7784443" y="3371782"/>
            <a:ext cx="520700" cy="520700"/>
            <a:chOff x="3683000" y="444500"/>
            <a:chExt cx="520700" cy="520700"/>
          </a:xfrm>
        </p:grpSpPr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C54D7726-DB42-4F4A-930F-DBC39FDCD513}"/>
                </a:ext>
              </a:extLst>
            </p:cNvPr>
            <p:cNvSpPr/>
            <p:nvPr/>
          </p:nvSpPr>
          <p:spPr>
            <a:xfrm>
              <a:off x="3683000" y="444500"/>
              <a:ext cx="520700" cy="520700"/>
            </a:xfrm>
            <a:prstGeom prst="ellipse">
              <a:avLst/>
            </a:prstGeom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9" name="箭头: 右 18">
              <a:extLst>
                <a:ext uri="{FF2B5EF4-FFF2-40B4-BE49-F238E27FC236}">
                  <a16:creationId xmlns:a16="http://schemas.microsoft.com/office/drawing/2014/main" id="{DC7D8136-95FE-474C-A0BD-672FC840BDA5}"/>
                </a:ext>
              </a:extLst>
            </p:cNvPr>
            <p:cNvSpPr/>
            <p:nvPr/>
          </p:nvSpPr>
          <p:spPr>
            <a:xfrm flipH="1">
              <a:off x="3812062" y="590550"/>
              <a:ext cx="262576" cy="228600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 fontScale="25000" lnSpcReduction="20000"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sp>
        <p:nvSpPr>
          <p:cNvPr id="14" name="文本框 13">
            <a:extLst>
              <a:ext uri="{FF2B5EF4-FFF2-40B4-BE49-F238E27FC236}">
                <a16:creationId xmlns:a16="http://schemas.microsoft.com/office/drawing/2014/main" id="{76419D07-9C2E-4932-9FB6-5F115519A347}"/>
              </a:ext>
            </a:extLst>
          </p:cNvPr>
          <p:cNvSpPr txBox="1"/>
          <p:nvPr/>
        </p:nvSpPr>
        <p:spPr>
          <a:xfrm>
            <a:off x="925629" y="3025355"/>
            <a:ext cx="2917422" cy="49247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5" name="文本框 14">
            <a:extLst>
              <a:ext uri="{FF2B5EF4-FFF2-40B4-BE49-F238E27FC236}">
                <a16:creationId xmlns:a16="http://schemas.microsoft.com/office/drawing/2014/main" id="{B7C41A70-BDAE-4D54-B224-C33CC470B1AA}"/>
              </a:ext>
            </a:extLst>
          </p:cNvPr>
          <p:cNvSpPr txBox="1"/>
          <p:nvPr/>
        </p:nvSpPr>
        <p:spPr>
          <a:xfrm>
            <a:off x="925629" y="3517834"/>
            <a:ext cx="2917422" cy="962100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BBB5AA41-298D-4BFC-A41F-B689328F3734}"/>
              </a:ext>
            </a:extLst>
          </p:cNvPr>
          <p:cNvSpPr txBox="1"/>
          <p:nvPr/>
        </p:nvSpPr>
        <p:spPr>
          <a:xfrm>
            <a:off x="8347362" y="3025355"/>
            <a:ext cx="2917422" cy="492477"/>
          </a:xfrm>
          <a:prstGeom prst="rect">
            <a:avLst/>
          </a:prstGeom>
          <a:noFill/>
        </p:spPr>
        <p:txBody>
          <a:bodyPr wrap="square" lIns="91440" tIns="45720" rIns="91440" bIns="45720" rtlCol="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7" name="文本框 16">
            <a:extLst>
              <a:ext uri="{FF2B5EF4-FFF2-40B4-BE49-F238E27FC236}">
                <a16:creationId xmlns:a16="http://schemas.microsoft.com/office/drawing/2014/main" id="{4F84740B-BDE6-41F7-8B92-74F5E8AC78F8}"/>
              </a:ext>
            </a:extLst>
          </p:cNvPr>
          <p:cNvSpPr txBox="1"/>
          <p:nvPr/>
        </p:nvSpPr>
        <p:spPr>
          <a:xfrm>
            <a:off x="8347362" y="3517834"/>
            <a:ext cx="2917422" cy="962100"/>
          </a:xfrm>
          <a:prstGeom prst="rect">
            <a:avLst/>
          </a:prstGeom>
          <a:noFill/>
        </p:spPr>
        <p:txBody>
          <a:bodyPr wrap="square" lIns="91440" tIns="45720" rIns="91440" bIns="45720" rtlCol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>
                <a:cs typeface="+mn-ea"/>
                <a:sym typeface="+mn-lt"/>
              </a:rPr>
              <a:t>……</a:t>
            </a:r>
            <a:endParaRPr lang="en-US" altLang="zh-CN" sz="1100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081672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110217" y="2383435"/>
            <a:ext cx="10845798" cy="1621509"/>
          </a:xfrm>
        </p:spPr>
        <p:txBody>
          <a:bodyPr>
            <a:normAutofit/>
          </a:bodyPr>
          <a:lstStyle/>
          <a:p>
            <a:pPr algn="l"/>
            <a:r>
              <a:rPr lang="en-US" altLang="zh-CN" sz="9600" spc="-300" dirty="0">
                <a:solidFill>
                  <a:schemeClr val="accent2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endParaRPr lang="zh-CN" altLang="en-US" b="0" dirty="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8698247" y="5796468"/>
            <a:ext cx="2908165" cy="310871"/>
          </a:xfrm>
        </p:spPr>
        <p:txBody>
          <a:bodyPr/>
          <a:lstStyle/>
          <a:p>
            <a:pPr algn="r"/>
            <a:r>
              <a:rPr lang="en-US" altLang="zh-CN">
                <a:solidFill>
                  <a:schemeClr val="accent5"/>
                </a:solidFill>
                <a:cs typeface="+mn-ea"/>
                <a:sym typeface="+mn-lt"/>
              </a:rPr>
              <a:t>OfficePLUS</a:t>
            </a:r>
            <a:endParaRPr lang="en-US" altLang="zh-CN" dirty="0">
              <a:solidFill>
                <a:schemeClr val="accent5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8666183" y="1015007"/>
            <a:ext cx="2908165" cy="296271"/>
          </a:xfrm>
        </p:spPr>
        <p:txBody>
          <a:bodyPr/>
          <a:lstStyle/>
          <a:p>
            <a:pPr algn="r"/>
            <a:r>
              <a:rPr lang="en-US" altLang="zh-CN" dirty="0">
                <a:solidFill>
                  <a:schemeClr val="accent5"/>
                </a:solidFill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4" name="文本框 3">
            <a:extLst>
              <a:ext uri="{FF2B5EF4-FFF2-40B4-BE49-F238E27FC236}">
                <a16:creationId xmlns:a16="http://schemas.microsoft.com/office/drawing/2014/main" id="{36C0DB80-D88D-4E22-9FE0-650043022873}"/>
              </a:ext>
            </a:extLst>
          </p:cNvPr>
          <p:cNvSpPr txBox="1">
            <a:spLocks/>
          </p:cNvSpPr>
          <p:nvPr/>
        </p:nvSpPr>
        <p:spPr>
          <a:xfrm>
            <a:off x="8744731" y="529086"/>
            <a:ext cx="3797085" cy="5053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"/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尊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师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重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道    敬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业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乐</a:t>
            </a:r>
            <a:r>
              <a:rPr lang="en-US" altLang="zh-CN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accent5"/>
                </a:solidFill>
                <a:latin typeface="+mn-lt"/>
                <a:ea typeface="+mn-ea"/>
                <a:cs typeface="+mn-ea"/>
                <a:sym typeface="+mn-lt"/>
              </a:rPr>
              <a:t>群</a:t>
            </a:r>
          </a:p>
        </p:txBody>
      </p:sp>
      <p:sp>
        <p:nvSpPr>
          <p:cNvPr id="56" name="文本框 55">
            <a:extLst>
              <a:ext uri="{FF2B5EF4-FFF2-40B4-BE49-F238E27FC236}">
                <a16:creationId xmlns:a16="http://schemas.microsoft.com/office/drawing/2014/main" id="{0276F98C-70F4-40FD-82C8-EEAEAAB27001}"/>
              </a:ext>
            </a:extLst>
          </p:cNvPr>
          <p:cNvSpPr txBox="1"/>
          <p:nvPr/>
        </p:nvSpPr>
        <p:spPr>
          <a:xfrm>
            <a:off x="1184358" y="3771085"/>
            <a:ext cx="686525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1800" b="0" dirty="0">
                <a:solidFill>
                  <a:schemeClr val="accent1"/>
                </a:solidFill>
                <a:cs typeface="+mn-ea"/>
                <a:sym typeface="+mn-lt"/>
              </a:rPr>
              <a:t>And Your Slogan Here //////////////////</a:t>
            </a:r>
            <a:endParaRPr lang="zh-CN" altLang="en-US" dirty="0">
              <a:cs typeface="+mn-ea"/>
              <a:sym typeface="+mn-lt"/>
            </a:endParaRPr>
          </a:p>
        </p:txBody>
      </p:sp>
      <p:grpSp>
        <p:nvGrpSpPr>
          <p:cNvPr id="58" name="组合 57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E1F2ADC-E5C4-40D1-BBD6-5C1A9709C8A6}"/>
              </a:ext>
            </a:extLst>
          </p:cNvPr>
          <p:cNvGrpSpPr>
            <a:grpSpLocks noChangeAspect="1"/>
          </p:cNvGrpSpPr>
          <p:nvPr>
            <p:custDataLst>
              <p:tags r:id="rId4"/>
            </p:custDataLst>
          </p:nvPr>
        </p:nvGrpSpPr>
        <p:grpSpPr>
          <a:xfrm>
            <a:off x="1210910" y="5688796"/>
            <a:ext cx="1756001" cy="418543"/>
            <a:chOff x="2246313" y="2511425"/>
            <a:chExt cx="7699375" cy="1835150"/>
          </a:xfrm>
          <a:solidFill>
            <a:schemeClr val="accent2"/>
          </a:solidFill>
        </p:grpSpPr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E057BE88-9A38-4BBA-899C-6FE3ED7D08FB}"/>
                </a:ext>
              </a:extLst>
            </p:cNvPr>
            <p:cNvSpPr/>
            <p:nvPr/>
          </p:nvSpPr>
          <p:spPr bwMode="auto">
            <a:xfrm>
              <a:off x="5649913" y="3900488"/>
              <a:ext cx="219075" cy="223838"/>
            </a:xfrm>
            <a:custGeom>
              <a:avLst/>
              <a:gdLst>
                <a:gd name="T0" fmla="*/ 143 w 283"/>
                <a:gd name="T1" fmla="*/ 170 h 288"/>
                <a:gd name="T2" fmla="*/ 209 w 283"/>
                <a:gd name="T3" fmla="*/ 170 h 288"/>
                <a:gd name="T4" fmla="*/ 209 w 283"/>
                <a:gd name="T5" fmla="*/ 216 h 288"/>
                <a:gd name="T6" fmla="*/ 98 w 283"/>
                <a:gd name="T7" fmla="*/ 216 h 288"/>
                <a:gd name="T8" fmla="*/ 69 w 283"/>
                <a:gd name="T9" fmla="*/ 185 h 288"/>
                <a:gd name="T10" fmla="*/ 69 w 283"/>
                <a:gd name="T11" fmla="*/ 96 h 288"/>
                <a:gd name="T12" fmla="*/ 98 w 283"/>
                <a:gd name="T13" fmla="*/ 67 h 288"/>
                <a:gd name="T14" fmla="*/ 269 w 283"/>
                <a:gd name="T15" fmla="*/ 67 h 288"/>
                <a:gd name="T16" fmla="*/ 269 w 283"/>
                <a:gd name="T17" fmla="*/ 0 h 288"/>
                <a:gd name="T18" fmla="*/ 76 w 283"/>
                <a:gd name="T19" fmla="*/ 0 h 288"/>
                <a:gd name="T20" fmla="*/ 0 w 283"/>
                <a:gd name="T21" fmla="*/ 89 h 288"/>
                <a:gd name="T22" fmla="*/ 0 w 283"/>
                <a:gd name="T23" fmla="*/ 177 h 288"/>
                <a:gd name="T24" fmla="*/ 106 w 283"/>
                <a:gd name="T25" fmla="*/ 288 h 288"/>
                <a:gd name="T26" fmla="*/ 283 w 283"/>
                <a:gd name="T27" fmla="*/ 288 h 288"/>
                <a:gd name="T28" fmla="*/ 283 w 283"/>
                <a:gd name="T29" fmla="*/ 115 h 288"/>
                <a:gd name="T30" fmla="*/ 143 w 283"/>
                <a:gd name="T31" fmla="*/ 115 h 288"/>
                <a:gd name="T32" fmla="*/ 143 w 283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3" h="288">
                  <a:moveTo>
                    <a:pt x="143" y="170"/>
                  </a:moveTo>
                  <a:cubicBezTo>
                    <a:pt x="209" y="170"/>
                    <a:pt x="209" y="170"/>
                    <a:pt x="209" y="170"/>
                  </a:cubicBezTo>
                  <a:cubicBezTo>
                    <a:pt x="209" y="216"/>
                    <a:pt x="209" y="216"/>
                    <a:pt x="209" y="216"/>
                  </a:cubicBezTo>
                  <a:cubicBezTo>
                    <a:pt x="98" y="216"/>
                    <a:pt x="98" y="216"/>
                    <a:pt x="98" y="216"/>
                  </a:cubicBezTo>
                  <a:cubicBezTo>
                    <a:pt x="81" y="216"/>
                    <a:pt x="69" y="202"/>
                    <a:pt x="69" y="185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79"/>
                    <a:pt x="81" y="67"/>
                    <a:pt x="98" y="67"/>
                  </a:cubicBezTo>
                  <a:cubicBezTo>
                    <a:pt x="269" y="67"/>
                    <a:pt x="269" y="67"/>
                    <a:pt x="269" y="6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5" y="0"/>
                    <a:pt x="0" y="49"/>
                    <a:pt x="0" y="89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8"/>
                    <a:pt x="35" y="288"/>
                    <a:pt x="106" y="288"/>
                  </a:cubicBezTo>
                  <a:cubicBezTo>
                    <a:pt x="283" y="288"/>
                    <a:pt x="283" y="288"/>
                    <a:pt x="283" y="288"/>
                  </a:cubicBezTo>
                  <a:cubicBezTo>
                    <a:pt x="283" y="115"/>
                    <a:pt x="283" y="115"/>
                    <a:pt x="283" y="115"/>
                  </a:cubicBezTo>
                  <a:cubicBezTo>
                    <a:pt x="143" y="115"/>
                    <a:pt x="143" y="115"/>
                    <a:pt x="143" y="115"/>
                  </a:cubicBezTo>
                  <a:lnTo>
                    <a:pt x="14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0" name="矩形 59">
              <a:extLst>
                <a:ext uri="{FF2B5EF4-FFF2-40B4-BE49-F238E27FC236}">
                  <a16:creationId xmlns:a16="http://schemas.microsoft.com/office/drawing/2014/main" id="{A6ACCD82-A5B6-40F9-B562-19CCE3EB8056}"/>
                </a:ext>
              </a:extLst>
            </p:cNvPr>
            <p:cNvSpPr/>
            <p:nvPr/>
          </p:nvSpPr>
          <p:spPr bwMode="auto">
            <a:xfrm>
              <a:off x="6121401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BC1096BE-591E-47C0-9551-2C1A1DAC19F7}"/>
                </a:ext>
              </a:extLst>
            </p:cNvPr>
            <p:cNvSpPr/>
            <p:nvPr/>
          </p:nvSpPr>
          <p:spPr bwMode="auto">
            <a:xfrm>
              <a:off x="9520238" y="3900488"/>
              <a:ext cx="195263" cy="223838"/>
            </a:xfrm>
            <a:custGeom>
              <a:avLst/>
              <a:gdLst>
                <a:gd name="T0" fmla="*/ 0 w 123"/>
                <a:gd name="T1" fmla="*/ 37 h 141"/>
                <a:gd name="T2" fmla="*/ 43 w 123"/>
                <a:gd name="T3" fmla="*/ 37 h 141"/>
                <a:gd name="T4" fmla="*/ 43 w 123"/>
                <a:gd name="T5" fmla="*/ 141 h 141"/>
                <a:gd name="T6" fmla="*/ 79 w 123"/>
                <a:gd name="T7" fmla="*/ 141 h 141"/>
                <a:gd name="T8" fmla="*/ 79 w 123"/>
                <a:gd name="T9" fmla="*/ 37 h 141"/>
                <a:gd name="T10" fmla="*/ 123 w 123"/>
                <a:gd name="T11" fmla="*/ 37 h 141"/>
                <a:gd name="T12" fmla="*/ 123 w 123"/>
                <a:gd name="T13" fmla="*/ 0 h 141"/>
                <a:gd name="T14" fmla="*/ 0 w 123"/>
                <a:gd name="T15" fmla="*/ 0 h 141"/>
                <a:gd name="T16" fmla="*/ 0 w 123"/>
                <a:gd name="T17" fmla="*/ 3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141">
                  <a:moveTo>
                    <a:pt x="0" y="37"/>
                  </a:moveTo>
                  <a:lnTo>
                    <a:pt x="43" y="37"/>
                  </a:lnTo>
                  <a:lnTo>
                    <a:pt x="43" y="141"/>
                  </a:lnTo>
                  <a:lnTo>
                    <a:pt x="79" y="141"/>
                  </a:lnTo>
                  <a:lnTo>
                    <a:pt x="79" y="37"/>
                  </a:lnTo>
                  <a:lnTo>
                    <a:pt x="123" y="37"/>
                  </a:lnTo>
                  <a:lnTo>
                    <a:pt x="123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2" name="矩形 61">
              <a:extLst>
                <a:ext uri="{FF2B5EF4-FFF2-40B4-BE49-F238E27FC236}">
                  <a16:creationId xmlns:a16="http://schemas.microsoft.com/office/drawing/2014/main" id="{7EB5FC04-D0BC-4AE6-AA8F-B941239B97A2}"/>
                </a:ext>
              </a:extLst>
            </p:cNvPr>
            <p:cNvSpPr/>
            <p:nvPr/>
          </p:nvSpPr>
          <p:spPr bwMode="auto">
            <a:xfrm>
              <a:off x="8416926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3620AC5E-8182-4121-84DB-6582350738E1}"/>
                </a:ext>
              </a:extLst>
            </p:cNvPr>
            <p:cNvSpPr/>
            <p:nvPr/>
          </p:nvSpPr>
          <p:spPr bwMode="auto">
            <a:xfrm>
              <a:off x="5880101" y="3900488"/>
              <a:ext cx="225425" cy="223838"/>
            </a:xfrm>
            <a:custGeom>
              <a:avLst/>
              <a:gdLst>
                <a:gd name="T0" fmla="*/ 281 w 289"/>
                <a:gd name="T1" fmla="*/ 0 h 288"/>
                <a:gd name="T2" fmla="*/ 197 w 289"/>
                <a:gd name="T3" fmla="*/ 0 h 288"/>
                <a:gd name="T4" fmla="*/ 145 w 289"/>
                <a:gd name="T5" fmla="*/ 85 h 288"/>
                <a:gd name="T6" fmla="*/ 91 w 289"/>
                <a:gd name="T7" fmla="*/ 0 h 288"/>
                <a:gd name="T8" fmla="*/ 1 w 289"/>
                <a:gd name="T9" fmla="*/ 0 h 288"/>
                <a:gd name="T10" fmla="*/ 97 w 289"/>
                <a:gd name="T11" fmla="*/ 140 h 288"/>
                <a:gd name="T12" fmla="*/ 0 w 289"/>
                <a:gd name="T13" fmla="*/ 288 h 288"/>
                <a:gd name="T14" fmla="*/ 89 w 289"/>
                <a:gd name="T15" fmla="*/ 288 h 288"/>
                <a:gd name="T16" fmla="*/ 137 w 289"/>
                <a:gd name="T17" fmla="*/ 209 h 288"/>
                <a:gd name="T18" fmla="*/ 148 w 289"/>
                <a:gd name="T19" fmla="*/ 207 h 288"/>
                <a:gd name="T20" fmla="*/ 193 w 289"/>
                <a:gd name="T21" fmla="*/ 288 h 288"/>
                <a:gd name="T22" fmla="*/ 289 w 289"/>
                <a:gd name="T23" fmla="*/ 288 h 288"/>
                <a:gd name="T24" fmla="*/ 192 w 289"/>
                <a:gd name="T25" fmla="*/ 148 h 288"/>
                <a:gd name="T26" fmla="*/ 281 w 289"/>
                <a:gd name="T2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288">
                  <a:moveTo>
                    <a:pt x="281" y="0"/>
                  </a:moveTo>
                  <a:cubicBezTo>
                    <a:pt x="197" y="0"/>
                    <a:pt x="197" y="0"/>
                    <a:pt x="197" y="0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89" y="288"/>
                    <a:pt x="89" y="288"/>
                    <a:pt x="89" y="288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48" y="207"/>
                    <a:pt x="148" y="207"/>
                    <a:pt x="148" y="207"/>
                  </a:cubicBezTo>
                  <a:cubicBezTo>
                    <a:pt x="193" y="288"/>
                    <a:pt x="193" y="288"/>
                    <a:pt x="193" y="288"/>
                  </a:cubicBezTo>
                  <a:cubicBezTo>
                    <a:pt x="289" y="288"/>
                    <a:pt x="289" y="288"/>
                    <a:pt x="289" y="288"/>
                  </a:cubicBezTo>
                  <a:cubicBezTo>
                    <a:pt x="280" y="275"/>
                    <a:pt x="192" y="150"/>
                    <a:pt x="192" y="148"/>
                  </a:cubicBezTo>
                  <a:cubicBezTo>
                    <a:pt x="192" y="115"/>
                    <a:pt x="270" y="42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CFC093B2-259E-4598-825B-4BF7059100D9}"/>
                </a:ext>
              </a:extLst>
            </p:cNvPr>
            <p:cNvSpPr/>
            <p:nvPr/>
          </p:nvSpPr>
          <p:spPr bwMode="auto">
            <a:xfrm>
              <a:off x="6810376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63 w 289"/>
                <a:gd name="T11" fmla="*/ 288 h 288"/>
                <a:gd name="T12" fmla="*/ 259 w 289"/>
                <a:gd name="T13" fmla="*/ 288 h 288"/>
                <a:gd name="T14" fmla="*/ 178 w 289"/>
                <a:gd name="T15" fmla="*/ 221 h 288"/>
                <a:gd name="T16" fmla="*/ 289 w 289"/>
                <a:gd name="T17" fmla="*/ 110 h 288"/>
                <a:gd name="T18" fmla="*/ 289 w 289"/>
                <a:gd name="T19" fmla="*/ 103 h 288"/>
                <a:gd name="T20" fmla="*/ 178 w 289"/>
                <a:gd name="T21" fmla="*/ 0 h 288"/>
                <a:gd name="T22" fmla="*/ 215 w 289"/>
                <a:gd name="T23" fmla="*/ 110 h 288"/>
                <a:gd name="T24" fmla="*/ 207 w 289"/>
                <a:gd name="T25" fmla="*/ 147 h 288"/>
                <a:gd name="T26" fmla="*/ 67 w 289"/>
                <a:gd name="T27" fmla="*/ 147 h 288"/>
                <a:gd name="T28" fmla="*/ 67 w 289"/>
                <a:gd name="T29" fmla="*/ 73 h 288"/>
                <a:gd name="T30" fmla="*/ 193 w 289"/>
                <a:gd name="T31" fmla="*/ 73 h 288"/>
                <a:gd name="T32" fmla="*/ 215 w 289"/>
                <a:gd name="T33" fmla="*/ 95 h 288"/>
                <a:gd name="T34" fmla="*/ 215 w 289"/>
                <a:gd name="T35" fmla="*/ 1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63" y="288"/>
                    <a:pt x="163" y="288"/>
                    <a:pt x="163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47" y="221"/>
                    <a:pt x="289" y="178"/>
                    <a:pt x="289" y="110"/>
                  </a:cubicBezTo>
                  <a:cubicBezTo>
                    <a:pt x="289" y="103"/>
                    <a:pt x="289" y="103"/>
                    <a:pt x="289" y="103"/>
                  </a:cubicBezTo>
                  <a:cubicBezTo>
                    <a:pt x="289" y="32"/>
                    <a:pt x="250" y="0"/>
                    <a:pt x="178" y="0"/>
                  </a:cubicBezTo>
                  <a:close/>
                  <a:moveTo>
                    <a:pt x="215" y="110"/>
                  </a:moveTo>
                  <a:cubicBezTo>
                    <a:pt x="215" y="130"/>
                    <a:pt x="211" y="131"/>
                    <a:pt x="207" y="147"/>
                  </a:cubicBezTo>
                  <a:cubicBezTo>
                    <a:pt x="67" y="147"/>
                    <a:pt x="67" y="147"/>
                    <a:pt x="67" y="147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210" y="73"/>
                    <a:pt x="215" y="78"/>
                    <a:pt x="215" y="95"/>
                  </a:cubicBezTo>
                  <a:lnTo>
                    <a:pt x="2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895650AC-235B-4398-8BFE-4E8C844BD912}"/>
                </a:ext>
              </a:extLst>
            </p:cNvPr>
            <p:cNvSpPr/>
            <p:nvPr/>
          </p:nvSpPr>
          <p:spPr bwMode="auto">
            <a:xfrm>
              <a:off x="4887913" y="3900488"/>
              <a:ext cx="223838" cy="223838"/>
            </a:xfrm>
            <a:custGeom>
              <a:avLst/>
              <a:gdLst>
                <a:gd name="T0" fmla="*/ 214 w 288"/>
                <a:gd name="T1" fmla="*/ 192 h 288"/>
                <a:gd name="T2" fmla="*/ 192 w 288"/>
                <a:gd name="T3" fmla="*/ 214 h 288"/>
                <a:gd name="T4" fmla="*/ 110 w 288"/>
                <a:gd name="T5" fmla="*/ 214 h 288"/>
                <a:gd name="T6" fmla="*/ 73 w 288"/>
                <a:gd name="T7" fmla="*/ 207 h 288"/>
                <a:gd name="T8" fmla="*/ 73 w 288"/>
                <a:gd name="T9" fmla="*/ 0 h 288"/>
                <a:gd name="T10" fmla="*/ 0 w 288"/>
                <a:gd name="T11" fmla="*/ 0 h 288"/>
                <a:gd name="T12" fmla="*/ 0 w 288"/>
                <a:gd name="T13" fmla="*/ 185 h 288"/>
                <a:gd name="T14" fmla="*/ 81 w 288"/>
                <a:gd name="T15" fmla="*/ 288 h 288"/>
                <a:gd name="T16" fmla="*/ 199 w 288"/>
                <a:gd name="T17" fmla="*/ 288 h 288"/>
                <a:gd name="T18" fmla="*/ 288 w 288"/>
                <a:gd name="T19" fmla="*/ 192 h 288"/>
                <a:gd name="T20" fmla="*/ 288 w 288"/>
                <a:gd name="T21" fmla="*/ 0 h 288"/>
                <a:gd name="T22" fmla="*/ 214 w 288"/>
                <a:gd name="T23" fmla="*/ 0 h 288"/>
                <a:gd name="T24" fmla="*/ 214 w 288"/>
                <a:gd name="T25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14" y="192"/>
                  </a:moveTo>
                  <a:cubicBezTo>
                    <a:pt x="214" y="209"/>
                    <a:pt x="209" y="214"/>
                    <a:pt x="192" y="214"/>
                  </a:cubicBezTo>
                  <a:cubicBezTo>
                    <a:pt x="110" y="214"/>
                    <a:pt x="110" y="214"/>
                    <a:pt x="110" y="214"/>
                  </a:cubicBezTo>
                  <a:cubicBezTo>
                    <a:pt x="90" y="214"/>
                    <a:pt x="90" y="211"/>
                    <a:pt x="73" y="20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235"/>
                    <a:pt x="42" y="288"/>
                    <a:pt x="81" y="288"/>
                  </a:cubicBezTo>
                  <a:cubicBezTo>
                    <a:pt x="199" y="288"/>
                    <a:pt x="199" y="288"/>
                    <a:pt x="199" y="288"/>
                  </a:cubicBezTo>
                  <a:cubicBezTo>
                    <a:pt x="249" y="288"/>
                    <a:pt x="288" y="245"/>
                    <a:pt x="288" y="19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21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C1ABAA90-3231-4409-9BC9-CFADACACB56E}"/>
                </a:ext>
              </a:extLst>
            </p:cNvPr>
            <p:cNvSpPr/>
            <p:nvPr/>
          </p:nvSpPr>
          <p:spPr bwMode="auto">
            <a:xfrm>
              <a:off x="8951913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70 w 289"/>
                <a:gd name="T11" fmla="*/ 288 h 288"/>
                <a:gd name="T12" fmla="*/ 267 w 289"/>
                <a:gd name="T13" fmla="*/ 288 h 288"/>
                <a:gd name="T14" fmla="*/ 178 w 289"/>
                <a:gd name="T15" fmla="*/ 214 h 288"/>
                <a:gd name="T16" fmla="*/ 289 w 289"/>
                <a:gd name="T17" fmla="*/ 133 h 288"/>
                <a:gd name="T18" fmla="*/ 289 w 289"/>
                <a:gd name="T19" fmla="*/ 74 h 288"/>
                <a:gd name="T20" fmla="*/ 178 w 289"/>
                <a:gd name="T21" fmla="*/ 0 h 288"/>
                <a:gd name="T22" fmla="*/ 222 w 289"/>
                <a:gd name="T23" fmla="*/ 111 h 288"/>
                <a:gd name="T24" fmla="*/ 193 w 289"/>
                <a:gd name="T25" fmla="*/ 140 h 288"/>
                <a:gd name="T26" fmla="*/ 74 w 289"/>
                <a:gd name="T27" fmla="*/ 140 h 288"/>
                <a:gd name="T28" fmla="*/ 74 w 289"/>
                <a:gd name="T29" fmla="*/ 66 h 288"/>
                <a:gd name="T30" fmla="*/ 163 w 289"/>
                <a:gd name="T31" fmla="*/ 66 h 288"/>
                <a:gd name="T32" fmla="*/ 222 w 289"/>
                <a:gd name="T33" fmla="*/ 96 h 288"/>
                <a:gd name="T34" fmla="*/ 222 w 289"/>
                <a:gd name="T35" fmla="*/ 11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267" y="288"/>
                    <a:pt x="267" y="288"/>
                    <a:pt x="267" y="288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239" y="214"/>
                    <a:pt x="289" y="190"/>
                    <a:pt x="289" y="133"/>
                  </a:cubicBezTo>
                  <a:cubicBezTo>
                    <a:pt x="289" y="74"/>
                    <a:pt x="289" y="74"/>
                    <a:pt x="289" y="74"/>
                  </a:cubicBezTo>
                  <a:cubicBezTo>
                    <a:pt x="289" y="17"/>
                    <a:pt x="236" y="0"/>
                    <a:pt x="178" y="0"/>
                  </a:cubicBezTo>
                  <a:close/>
                  <a:moveTo>
                    <a:pt x="222" y="111"/>
                  </a:moveTo>
                  <a:cubicBezTo>
                    <a:pt x="222" y="128"/>
                    <a:pt x="210" y="140"/>
                    <a:pt x="193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89" y="66"/>
                    <a:pt x="222" y="70"/>
                    <a:pt x="222" y="96"/>
                  </a:cubicBezTo>
                  <a:lnTo>
                    <a:pt x="222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7CFA23FB-8E67-4127-A42A-0626DBA24D06}"/>
                </a:ext>
              </a:extLst>
            </p:cNvPr>
            <p:cNvSpPr/>
            <p:nvPr/>
          </p:nvSpPr>
          <p:spPr bwMode="auto">
            <a:xfrm>
              <a:off x="4646613" y="3900488"/>
              <a:ext cx="217488" cy="223838"/>
            </a:xfrm>
            <a:custGeom>
              <a:avLst/>
              <a:gdLst>
                <a:gd name="T0" fmla="*/ 133 w 281"/>
                <a:gd name="T1" fmla="*/ 170 h 288"/>
                <a:gd name="T2" fmla="*/ 207 w 281"/>
                <a:gd name="T3" fmla="*/ 170 h 288"/>
                <a:gd name="T4" fmla="*/ 207 w 281"/>
                <a:gd name="T5" fmla="*/ 214 h 288"/>
                <a:gd name="T6" fmla="*/ 96 w 281"/>
                <a:gd name="T7" fmla="*/ 214 h 288"/>
                <a:gd name="T8" fmla="*/ 66 w 281"/>
                <a:gd name="T9" fmla="*/ 185 h 288"/>
                <a:gd name="T10" fmla="*/ 66 w 281"/>
                <a:gd name="T11" fmla="*/ 96 h 288"/>
                <a:gd name="T12" fmla="*/ 96 w 281"/>
                <a:gd name="T13" fmla="*/ 67 h 288"/>
                <a:gd name="T14" fmla="*/ 259 w 281"/>
                <a:gd name="T15" fmla="*/ 67 h 288"/>
                <a:gd name="T16" fmla="*/ 259 w 281"/>
                <a:gd name="T17" fmla="*/ 0 h 288"/>
                <a:gd name="T18" fmla="*/ 74 w 281"/>
                <a:gd name="T19" fmla="*/ 0 h 288"/>
                <a:gd name="T20" fmla="*/ 0 w 281"/>
                <a:gd name="T21" fmla="*/ 74 h 288"/>
                <a:gd name="T22" fmla="*/ 0 w 281"/>
                <a:gd name="T23" fmla="*/ 192 h 288"/>
                <a:gd name="T24" fmla="*/ 74 w 281"/>
                <a:gd name="T25" fmla="*/ 288 h 288"/>
                <a:gd name="T26" fmla="*/ 281 w 281"/>
                <a:gd name="T27" fmla="*/ 288 h 288"/>
                <a:gd name="T28" fmla="*/ 281 w 281"/>
                <a:gd name="T29" fmla="*/ 111 h 288"/>
                <a:gd name="T30" fmla="*/ 133 w 281"/>
                <a:gd name="T31" fmla="*/ 111 h 288"/>
                <a:gd name="T32" fmla="*/ 133 w 281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" h="288">
                  <a:moveTo>
                    <a:pt x="133" y="170"/>
                  </a:moveTo>
                  <a:cubicBezTo>
                    <a:pt x="207" y="170"/>
                    <a:pt x="207" y="170"/>
                    <a:pt x="207" y="170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66" y="202"/>
                    <a:pt x="66" y="185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79"/>
                    <a:pt x="79" y="67"/>
                    <a:pt x="96" y="67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7" y="0"/>
                    <a:pt x="0" y="37"/>
                    <a:pt x="0" y="7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40"/>
                    <a:pt x="37" y="288"/>
                    <a:pt x="74" y="288"/>
                  </a:cubicBezTo>
                  <a:cubicBezTo>
                    <a:pt x="281" y="288"/>
                    <a:pt x="281" y="288"/>
                    <a:pt x="281" y="288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133" y="111"/>
                    <a:pt x="133" y="111"/>
                    <a:pt x="133" y="111"/>
                  </a:cubicBezTo>
                  <a:lnTo>
                    <a:pt x="13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1AE26CCC-ED1A-4FB9-AD5B-BF04F7FE7D55}"/>
                </a:ext>
              </a:extLst>
            </p:cNvPr>
            <p:cNvSpPr/>
            <p:nvPr/>
          </p:nvSpPr>
          <p:spPr bwMode="auto">
            <a:xfrm>
              <a:off x="8497888" y="3900488"/>
              <a:ext cx="220663" cy="223838"/>
            </a:xfrm>
            <a:custGeom>
              <a:avLst/>
              <a:gdLst>
                <a:gd name="T0" fmla="*/ 70 w 139"/>
                <a:gd name="T1" fmla="*/ 103 h 141"/>
                <a:gd name="T2" fmla="*/ 38 w 139"/>
                <a:gd name="T3" fmla="*/ 0 h 141"/>
                <a:gd name="T4" fmla="*/ 0 w 139"/>
                <a:gd name="T5" fmla="*/ 0 h 141"/>
                <a:gd name="T6" fmla="*/ 49 w 139"/>
                <a:gd name="T7" fmla="*/ 141 h 141"/>
                <a:gd name="T8" fmla="*/ 91 w 139"/>
                <a:gd name="T9" fmla="*/ 141 h 141"/>
                <a:gd name="T10" fmla="*/ 139 w 139"/>
                <a:gd name="T11" fmla="*/ 0 h 141"/>
                <a:gd name="T12" fmla="*/ 101 w 139"/>
                <a:gd name="T13" fmla="*/ 0 h 141"/>
                <a:gd name="T14" fmla="*/ 70 w 139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141">
                  <a:moveTo>
                    <a:pt x="70" y="103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49" y="141"/>
                  </a:lnTo>
                  <a:lnTo>
                    <a:pt x="91" y="141"/>
                  </a:lnTo>
                  <a:lnTo>
                    <a:pt x="139" y="0"/>
                  </a:lnTo>
                  <a:lnTo>
                    <a:pt x="101" y="0"/>
                  </a:lnTo>
                  <a:lnTo>
                    <a:pt x="7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010E6604-20C2-43EB-9709-62E3C10BF97E}"/>
                </a:ext>
              </a:extLst>
            </p:cNvPr>
            <p:cNvSpPr/>
            <p:nvPr/>
          </p:nvSpPr>
          <p:spPr bwMode="auto">
            <a:xfrm>
              <a:off x="5389563" y="3900488"/>
              <a:ext cx="233363" cy="223838"/>
            </a:xfrm>
            <a:custGeom>
              <a:avLst/>
              <a:gdLst>
                <a:gd name="T0" fmla="*/ 114 w 147"/>
                <a:gd name="T1" fmla="*/ 110 h 141"/>
                <a:gd name="T2" fmla="*/ 51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3 w 147"/>
                <a:gd name="T9" fmla="*/ 141 h 141"/>
                <a:gd name="T10" fmla="*/ 33 w 147"/>
                <a:gd name="T11" fmla="*/ 26 h 141"/>
                <a:gd name="T12" fmla="*/ 97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4 w 147"/>
                <a:gd name="T19" fmla="*/ 0 h 141"/>
                <a:gd name="T20" fmla="*/ 114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313931C2-DD6C-4B5C-8F3D-D18053E33281}"/>
                </a:ext>
              </a:extLst>
            </p:cNvPr>
            <p:cNvSpPr/>
            <p:nvPr/>
          </p:nvSpPr>
          <p:spPr bwMode="auto">
            <a:xfrm>
              <a:off x="6569076" y="3900488"/>
              <a:ext cx="223838" cy="223838"/>
            </a:xfrm>
            <a:custGeom>
              <a:avLst/>
              <a:gdLst>
                <a:gd name="T0" fmla="*/ 214 w 287"/>
                <a:gd name="T1" fmla="*/ 0 h 288"/>
                <a:gd name="T2" fmla="*/ 66 w 287"/>
                <a:gd name="T3" fmla="*/ 0 h 288"/>
                <a:gd name="T4" fmla="*/ 0 w 287"/>
                <a:gd name="T5" fmla="*/ 67 h 288"/>
                <a:gd name="T6" fmla="*/ 0 w 287"/>
                <a:gd name="T7" fmla="*/ 207 h 288"/>
                <a:gd name="T8" fmla="*/ 66 w 287"/>
                <a:gd name="T9" fmla="*/ 288 h 288"/>
                <a:gd name="T10" fmla="*/ 207 w 287"/>
                <a:gd name="T11" fmla="*/ 288 h 288"/>
                <a:gd name="T12" fmla="*/ 287 w 287"/>
                <a:gd name="T13" fmla="*/ 185 h 288"/>
                <a:gd name="T14" fmla="*/ 287 w 287"/>
                <a:gd name="T15" fmla="*/ 81 h 288"/>
                <a:gd name="T16" fmla="*/ 214 w 287"/>
                <a:gd name="T17" fmla="*/ 0 h 288"/>
                <a:gd name="T18" fmla="*/ 214 w 287"/>
                <a:gd name="T19" fmla="*/ 177 h 288"/>
                <a:gd name="T20" fmla="*/ 207 w 287"/>
                <a:gd name="T21" fmla="*/ 214 h 288"/>
                <a:gd name="T22" fmla="*/ 88 w 287"/>
                <a:gd name="T23" fmla="*/ 214 h 288"/>
                <a:gd name="T24" fmla="*/ 66 w 287"/>
                <a:gd name="T25" fmla="*/ 192 h 288"/>
                <a:gd name="T26" fmla="*/ 66 w 287"/>
                <a:gd name="T27" fmla="*/ 81 h 288"/>
                <a:gd name="T28" fmla="*/ 103 w 287"/>
                <a:gd name="T29" fmla="*/ 74 h 288"/>
                <a:gd name="T30" fmla="*/ 192 w 287"/>
                <a:gd name="T31" fmla="*/ 74 h 288"/>
                <a:gd name="T32" fmla="*/ 214 w 287"/>
                <a:gd name="T33" fmla="*/ 96 h 288"/>
                <a:gd name="T34" fmla="*/ 214 w 287"/>
                <a:gd name="T3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7" h="288">
                  <a:moveTo>
                    <a:pt x="214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7" y="0"/>
                    <a:pt x="0" y="44"/>
                    <a:pt x="0" y="6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0"/>
                    <a:pt x="38" y="288"/>
                    <a:pt x="66" y="288"/>
                  </a:cubicBezTo>
                  <a:cubicBezTo>
                    <a:pt x="207" y="288"/>
                    <a:pt x="207" y="288"/>
                    <a:pt x="207" y="288"/>
                  </a:cubicBezTo>
                  <a:cubicBezTo>
                    <a:pt x="254" y="288"/>
                    <a:pt x="287" y="233"/>
                    <a:pt x="287" y="185"/>
                  </a:cubicBezTo>
                  <a:cubicBezTo>
                    <a:pt x="287" y="81"/>
                    <a:pt x="287" y="81"/>
                    <a:pt x="287" y="81"/>
                  </a:cubicBezTo>
                  <a:cubicBezTo>
                    <a:pt x="287" y="55"/>
                    <a:pt x="243" y="0"/>
                    <a:pt x="214" y="0"/>
                  </a:cubicBezTo>
                  <a:close/>
                  <a:moveTo>
                    <a:pt x="214" y="177"/>
                  </a:moveTo>
                  <a:cubicBezTo>
                    <a:pt x="214" y="197"/>
                    <a:pt x="211" y="198"/>
                    <a:pt x="207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71" y="214"/>
                    <a:pt x="66" y="209"/>
                    <a:pt x="66" y="192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75" y="78"/>
                    <a:pt x="92" y="74"/>
                    <a:pt x="103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209" y="74"/>
                    <a:pt x="214" y="79"/>
                    <a:pt x="214" y="96"/>
                  </a:cubicBezTo>
                  <a:lnTo>
                    <a:pt x="21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B1DBE47E-B06F-4462-8720-65DFE2DE43F0}"/>
                </a:ext>
              </a:extLst>
            </p:cNvPr>
            <p:cNvSpPr/>
            <p:nvPr/>
          </p:nvSpPr>
          <p:spPr bwMode="auto">
            <a:xfrm>
              <a:off x="7051676" y="3900488"/>
              <a:ext cx="276225" cy="223838"/>
            </a:xfrm>
            <a:custGeom>
              <a:avLst/>
              <a:gdLst>
                <a:gd name="T0" fmla="*/ 87 w 174"/>
                <a:gd name="T1" fmla="*/ 105 h 141"/>
                <a:gd name="T2" fmla="*/ 57 w 174"/>
                <a:gd name="T3" fmla="*/ 0 h 141"/>
                <a:gd name="T4" fmla="*/ 0 w 174"/>
                <a:gd name="T5" fmla="*/ 0 h 141"/>
                <a:gd name="T6" fmla="*/ 0 w 174"/>
                <a:gd name="T7" fmla="*/ 141 h 141"/>
                <a:gd name="T8" fmla="*/ 33 w 174"/>
                <a:gd name="T9" fmla="*/ 141 h 141"/>
                <a:gd name="T10" fmla="*/ 33 w 174"/>
                <a:gd name="T11" fmla="*/ 29 h 141"/>
                <a:gd name="T12" fmla="*/ 71 w 174"/>
                <a:gd name="T13" fmla="*/ 141 h 141"/>
                <a:gd name="T14" fmla="*/ 104 w 174"/>
                <a:gd name="T15" fmla="*/ 141 h 141"/>
                <a:gd name="T16" fmla="*/ 143 w 174"/>
                <a:gd name="T17" fmla="*/ 25 h 141"/>
                <a:gd name="T18" fmla="*/ 145 w 174"/>
                <a:gd name="T19" fmla="*/ 141 h 141"/>
                <a:gd name="T20" fmla="*/ 174 w 174"/>
                <a:gd name="T21" fmla="*/ 141 h 141"/>
                <a:gd name="T22" fmla="*/ 174 w 174"/>
                <a:gd name="T23" fmla="*/ 0 h 141"/>
                <a:gd name="T24" fmla="*/ 118 w 174"/>
                <a:gd name="T25" fmla="*/ 0 h 141"/>
                <a:gd name="T26" fmla="*/ 87 w 174"/>
                <a:gd name="T27" fmla="*/ 10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141">
                  <a:moveTo>
                    <a:pt x="87" y="105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9"/>
                  </a:lnTo>
                  <a:lnTo>
                    <a:pt x="71" y="141"/>
                  </a:lnTo>
                  <a:lnTo>
                    <a:pt x="104" y="141"/>
                  </a:lnTo>
                  <a:lnTo>
                    <a:pt x="143" y="25"/>
                  </a:lnTo>
                  <a:lnTo>
                    <a:pt x="145" y="141"/>
                  </a:lnTo>
                  <a:lnTo>
                    <a:pt x="174" y="141"/>
                  </a:lnTo>
                  <a:lnTo>
                    <a:pt x="174" y="0"/>
                  </a:lnTo>
                  <a:lnTo>
                    <a:pt x="118" y="0"/>
                  </a:lnTo>
                  <a:lnTo>
                    <a:pt x="87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78FB8B5E-92CA-4C82-A735-86D2CF6AC292}"/>
                </a:ext>
              </a:extLst>
            </p:cNvPr>
            <p:cNvSpPr/>
            <p:nvPr/>
          </p:nvSpPr>
          <p:spPr bwMode="auto">
            <a:xfrm>
              <a:off x="9193213" y="3900488"/>
              <a:ext cx="223838" cy="223838"/>
            </a:xfrm>
            <a:custGeom>
              <a:avLst/>
              <a:gdLst>
                <a:gd name="T0" fmla="*/ 74 w 288"/>
                <a:gd name="T1" fmla="*/ 89 h 288"/>
                <a:gd name="T2" fmla="*/ 96 w 288"/>
                <a:gd name="T3" fmla="*/ 67 h 288"/>
                <a:gd name="T4" fmla="*/ 274 w 288"/>
                <a:gd name="T5" fmla="*/ 67 h 288"/>
                <a:gd name="T6" fmla="*/ 274 w 288"/>
                <a:gd name="T7" fmla="*/ 0 h 288"/>
                <a:gd name="T8" fmla="*/ 89 w 288"/>
                <a:gd name="T9" fmla="*/ 0 h 288"/>
                <a:gd name="T10" fmla="*/ 0 w 288"/>
                <a:gd name="T11" fmla="*/ 81 h 288"/>
                <a:gd name="T12" fmla="*/ 214 w 288"/>
                <a:gd name="T13" fmla="*/ 177 h 288"/>
                <a:gd name="T14" fmla="*/ 207 w 288"/>
                <a:gd name="T15" fmla="*/ 214 h 288"/>
                <a:gd name="T16" fmla="*/ 15 w 288"/>
                <a:gd name="T17" fmla="*/ 214 h 288"/>
                <a:gd name="T18" fmla="*/ 15 w 288"/>
                <a:gd name="T19" fmla="*/ 288 h 288"/>
                <a:gd name="T20" fmla="*/ 192 w 288"/>
                <a:gd name="T21" fmla="*/ 288 h 288"/>
                <a:gd name="T22" fmla="*/ 288 w 288"/>
                <a:gd name="T23" fmla="*/ 200 h 288"/>
                <a:gd name="T24" fmla="*/ 74 w 288"/>
                <a:gd name="T25" fmla="*/ 8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74" y="89"/>
                  </a:moveTo>
                  <a:cubicBezTo>
                    <a:pt x="74" y="72"/>
                    <a:pt x="79" y="67"/>
                    <a:pt x="96" y="67"/>
                  </a:cubicBezTo>
                  <a:cubicBezTo>
                    <a:pt x="274" y="67"/>
                    <a:pt x="274" y="67"/>
                    <a:pt x="274" y="67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44" y="0"/>
                    <a:pt x="0" y="37"/>
                    <a:pt x="0" y="81"/>
                  </a:cubicBezTo>
                  <a:cubicBezTo>
                    <a:pt x="0" y="199"/>
                    <a:pt x="120" y="155"/>
                    <a:pt x="214" y="177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46" y="288"/>
                    <a:pt x="288" y="252"/>
                    <a:pt x="288" y="200"/>
                  </a:cubicBezTo>
                  <a:cubicBezTo>
                    <a:pt x="288" y="57"/>
                    <a:pt x="74" y="145"/>
                    <a:pt x="74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3" name="任意多边形: 形状 72">
              <a:extLst>
                <a:ext uri="{FF2B5EF4-FFF2-40B4-BE49-F238E27FC236}">
                  <a16:creationId xmlns:a16="http://schemas.microsoft.com/office/drawing/2014/main" id="{9D1B704D-1D54-4BB0-B7A7-045C7C1F18C6}"/>
                </a:ext>
              </a:extLst>
            </p:cNvPr>
            <p:cNvSpPr/>
            <p:nvPr/>
          </p:nvSpPr>
          <p:spPr bwMode="auto">
            <a:xfrm>
              <a:off x="9720263" y="3900488"/>
              <a:ext cx="219075" cy="223838"/>
            </a:xfrm>
            <a:custGeom>
              <a:avLst/>
              <a:gdLst>
                <a:gd name="T0" fmla="*/ 193 w 281"/>
                <a:gd name="T1" fmla="*/ 0 h 288"/>
                <a:gd name="T2" fmla="*/ 144 w 281"/>
                <a:gd name="T3" fmla="*/ 109 h 288"/>
                <a:gd name="T4" fmla="*/ 92 w 281"/>
                <a:gd name="T5" fmla="*/ 0 h 288"/>
                <a:gd name="T6" fmla="*/ 0 w 281"/>
                <a:gd name="T7" fmla="*/ 0 h 288"/>
                <a:gd name="T8" fmla="*/ 104 w 281"/>
                <a:gd name="T9" fmla="*/ 192 h 288"/>
                <a:gd name="T10" fmla="*/ 104 w 281"/>
                <a:gd name="T11" fmla="*/ 288 h 288"/>
                <a:gd name="T12" fmla="*/ 178 w 281"/>
                <a:gd name="T13" fmla="*/ 288 h 288"/>
                <a:gd name="T14" fmla="*/ 178 w 281"/>
                <a:gd name="T15" fmla="*/ 200 h 288"/>
                <a:gd name="T16" fmla="*/ 281 w 281"/>
                <a:gd name="T17" fmla="*/ 0 h 288"/>
                <a:gd name="T18" fmla="*/ 193 w 281"/>
                <a:gd name="T1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8">
                  <a:moveTo>
                    <a:pt x="193" y="0"/>
                  </a:moveTo>
                  <a:cubicBezTo>
                    <a:pt x="144" y="109"/>
                    <a:pt x="144" y="109"/>
                    <a:pt x="144" y="109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29"/>
                    <a:pt x="104" y="171"/>
                    <a:pt x="104" y="192"/>
                  </a:cubicBezTo>
                  <a:cubicBezTo>
                    <a:pt x="104" y="288"/>
                    <a:pt x="104" y="288"/>
                    <a:pt x="104" y="288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78" y="151"/>
                    <a:pt x="269" y="52"/>
                    <a:pt x="281" y="0"/>
                  </a:cubicBezTo>
                  <a:lnTo>
                    <a:pt x="1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AD61961F-1F63-4D3F-B537-A4748061417F}"/>
                </a:ext>
              </a:extLst>
            </p:cNvPr>
            <p:cNvSpPr/>
            <p:nvPr/>
          </p:nvSpPr>
          <p:spPr bwMode="auto">
            <a:xfrm>
              <a:off x="7608888" y="3900488"/>
              <a:ext cx="182563" cy="223838"/>
            </a:xfrm>
            <a:custGeom>
              <a:avLst/>
              <a:gdLst>
                <a:gd name="T0" fmla="*/ 36 w 115"/>
                <a:gd name="T1" fmla="*/ 0 h 141"/>
                <a:gd name="T2" fmla="*/ 0 w 115"/>
                <a:gd name="T3" fmla="*/ 0 h 141"/>
                <a:gd name="T4" fmla="*/ 0 w 115"/>
                <a:gd name="T5" fmla="*/ 141 h 141"/>
                <a:gd name="T6" fmla="*/ 115 w 115"/>
                <a:gd name="T7" fmla="*/ 141 h 141"/>
                <a:gd name="T8" fmla="*/ 115 w 115"/>
                <a:gd name="T9" fmla="*/ 105 h 141"/>
                <a:gd name="T10" fmla="*/ 36 w 115"/>
                <a:gd name="T11" fmla="*/ 105 h 141"/>
                <a:gd name="T12" fmla="*/ 36 w 115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41">
                  <a:moveTo>
                    <a:pt x="36" y="0"/>
                  </a:moveTo>
                  <a:lnTo>
                    <a:pt x="0" y="0"/>
                  </a:lnTo>
                  <a:lnTo>
                    <a:pt x="0" y="141"/>
                  </a:lnTo>
                  <a:lnTo>
                    <a:pt x="115" y="141"/>
                  </a:lnTo>
                  <a:lnTo>
                    <a:pt x="115" y="105"/>
                  </a:lnTo>
                  <a:lnTo>
                    <a:pt x="36" y="105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3C237472-9D84-49E5-B95E-7CE0273DC572}"/>
                </a:ext>
              </a:extLst>
            </p:cNvPr>
            <p:cNvSpPr/>
            <p:nvPr/>
          </p:nvSpPr>
          <p:spPr bwMode="auto">
            <a:xfrm>
              <a:off x="7907338" y="3900488"/>
              <a:ext cx="223838" cy="223838"/>
            </a:xfrm>
            <a:custGeom>
              <a:avLst/>
              <a:gdLst>
                <a:gd name="T0" fmla="*/ 215 w 289"/>
                <a:gd name="T1" fmla="*/ 177 h 288"/>
                <a:gd name="T2" fmla="*/ 207 w 289"/>
                <a:gd name="T3" fmla="*/ 214 h 288"/>
                <a:gd name="T4" fmla="*/ 96 w 289"/>
                <a:gd name="T5" fmla="*/ 214 h 288"/>
                <a:gd name="T6" fmla="*/ 74 w 289"/>
                <a:gd name="T7" fmla="*/ 192 h 288"/>
                <a:gd name="T8" fmla="*/ 74 w 289"/>
                <a:gd name="T9" fmla="*/ 0 h 288"/>
                <a:gd name="T10" fmla="*/ 0 w 289"/>
                <a:gd name="T11" fmla="*/ 0 h 288"/>
                <a:gd name="T12" fmla="*/ 0 w 289"/>
                <a:gd name="T13" fmla="*/ 207 h 288"/>
                <a:gd name="T14" fmla="*/ 96 w 289"/>
                <a:gd name="T15" fmla="*/ 288 h 288"/>
                <a:gd name="T16" fmla="*/ 200 w 289"/>
                <a:gd name="T17" fmla="*/ 288 h 288"/>
                <a:gd name="T18" fmla="*/ 289 w 289"/>
                <a:gd name="T19" fmla="*/ 200 h 288"/>
                <a:gd name="T20" fmla="*/ 289 w 289"/>
                <a:gd name="T21" fmla="*/ 0 h 288"/>
                <a:gd name="T22" fmla="*/ 215 w 289"/>
                <a:gd name="T23" fmla="*/ 0 h 288"/>
                <a:gd name="T24" fmla="*/ 215 w 289"/>
                <a:gd name="T2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288">
                  <a:moveTo>
                    <a:pt x="215" y="177"/>
                  </a:moveTo>
                  <a:cubicBezTo>
                    <a:pt x="215" y="197"/>
                    <a:pt x="211" y="198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74" y="209"/>
                    <a:pt x="74" y="19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54"/>
                    <a:pt x="47" y="288"/>
                    <a:pt x="96" y="288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44" y="288"/>
                    <a:pt x="289" y="241"/>
                    <a:pt x="289" y="20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15" y="0"/>
                    <a:pt x="215" y="0"/>
                    <a:pt x="215" y="0"/>
                  </a:cubicBezTo>
                  <a:lnTo>
                    <a:pt x="21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3328D853-3FB2-4120-8372-ACAE265256B2}"/>
                </a:ext>
              </a:extLst>
            </p:cNvPr>
            <p:cNvSpPr/>
            <p:nvPr/>
          </p:nvSpPr>
          <p:spPr bwMode="auto">
            <a:xfrm>
              <a:off x="8732838" y="3900488"/>
              <a:ext cx="196850" cy="223838"/>
            </a:xfrm>
            <a:custGeom>
              <a:avLst/>
              <a:gdLst>
                <a:gd name="T0" fmla="*/ 37 w 124"/>
                <a:gd name="T1" fmla="*/ 84 h 141"/>
                <a:gd name="T2" fmla="*/ 106 w 124"/>
                <a:gd name="T3" fmla="*/ 84 h 141"/>
                <a:gd name="T4" fmla="*/ 106 w 124"/>
                <a:gd name="T5" fmla="*/ 55 h 141"/>
                <a:gd name="T6" fmla="*/ 37 w 124"/>
                <a:gd name="T7" fmla="*/ 55 h 141"/>
                <a:gd name="T8" fmla="*/ 37 w 124"/>
                <a:gd name="T9" fmla="*/ 33 h 141"/>
                <a:gd name="T10" fmla="*/ 116 w 124"/>
                <a:gd name="T11" fmla="*/ 33 h 141"/>
                <a:gd name="T12" fmla="*/ 116 w 124"/>
                <a:gd name="T13" fmla="*/ 0 h 141"/>
                <a:gd name="T14" fmla="*/ 0 w 124"/>
                <a:gd name="T15" fmla="*/ 0 h 141"/>
                <a:gd name="T16" fmla="*/ 0 w 124"/>
                <a:gd name="T17" fmla="*/ 141 h 141"/>
                <a:gd name="T18" fmla="*/ 124 w 124"/>
                <a:gd name="T19" fmla="*/ 141 h 141"/>
                <a:gd name="T20" fmla="*/ 124 w 124"/>
                <a:gd name="T21" fmla="*/ 105 h 141"/>
                <a:gd name="T22" fmla="*/ 37 w 124"/>
                <a:gd name="T23" fmla="*/ 105 h 141"/>
                <a:gd name="T24" fmla="*/ 37 w 124"/>
                <a:gd name="T25" fmla="*/ 8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41">
                  <a:moveTo>
                    <a:pt x="37" y="84"/>
                  </a:moveTo>
                  <a:lnTo>
                    <a:pt x="106" y="84"/>
                  </a:lnTo>
                  <a:lnTo>
                    <a:pt x="106" y="55"/>
                  </a:lnTo>
                  <a:lnTo>
                    <a:pt x="37" y="55"/>
                  </a:lnTo>
                  <a:lnTo>
                    <a:pt x="37" y="33"/>
                  </a:lnTo>
                  <a:lnTo>
                    <a:pt x="116" y="33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124" y="141"/>
                  </a:lnTo>
                  <a:lnTo>
                    <a:pt x="124" y="105"/>
                  </a:lnTo>
                  <a:lnTo>
                    <a:pt x="37" y="105"/>
                  </a:lnTo>
                  <a:lnTo>
                    <a:pt x="37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7" name="矩形 76">
              <a:extLst>
                <a:ext uri="{FF2B5EF4-FFF2-40B4-BE49-F238E27FC236}">
                  <a16:creationId xmlns:a16="http://schemas.microsoft.com/office/drawing/2014/main" id="{9BA12641-1829-40CD-AE84-9D516AA83280}"/>
                </a:ext>
              </a:extLst>
            </p:cNvPr>
            <p:cNvSpPr/>
            <p:nvPr/>
          </p:nvSpPr>
          <p:spPr bwMode="auto">
            <a:xfrm>
              <a:off x="9439276" y="3900488"/>
              <a:ext cx="5238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6446883D-AD09-4B06-B260-2E82B840CB52}"/>
                </a:ext>
              </a:extLst>
            </p:cNvPr>
            <p:cNvSpPr/>
            <p:nvPr/>
          </p:nvSpPr>
          <p:spPr bwMode="auto">
            <a:xfrm>
              <a:off x="6315076" y="3900488"/>
              <a:ext cx="231775" cy="223838"/>
            </a:xfrm>
            <a:custGeom>
              <a:avLst/>
              <a:gdLst>
                <a:gd name="T0" fmla="*/ 114 w 146"/>
                <a:gd name="T1" fmla="*/ 110 h 141"/>
                <a:gd name="T2" fmla="*/ 51 w 146"/>
                <a:gd name="T3" fmla="*/ 0 h 141"/>
                <a:gd name="T4" fmla="*/ 0 w 146"/>
                <a:gd name="T5" fmla="*/ 0 h 141"/>
                <a:gd name="T6" fmla="*/ 0 w 146"/>
                <a:gd name="T7" fmla="*/ 141 h 141"/>
                <a:gd name="T8" fmla="*/ 33 w 146"/>
                <a:gd name="T9" fmla="*/ 141 h 141"/>
                <a:gd name="T10" fmla="*/ 33 w 146"/>
                <a:gd name="T11" fmla="*/ 26 h 141"/>
                <a:gd name="T12" fmla="*/ 97 w 146"/>
                <a:gd name="T13" fmla="*/ 141 h 141"/>
                <a:gd name="T14" fmla="*/ 146 w 146"/>
                <a:gd name="T15" fmla="*/ 141 h 141"/>
                <a:gd name="T16" fmla="*/ 146 w 146"/>
                <a:gd name="T17" fmla="*/ 0 h 141"/>
                <a:gd name="T18" fmla="*/ 114 w 146"/>
                <a:gd name="T19" fmla="*/ 0 h 141"/>
                <a:gd name="T20" fmla="*/ 114 w 146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6" y="141"/>
                  </a:lnTo>
                  <a:lnTo>
                    <a:pt x="146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E17083C0-199C-4D97-A764-39A1F09340AB}"/>
                </a:ext>
              </a:extLst>
            </p:cNvPr>
            <p:cNvSpPr/>
            <p:nvPr/>
          </p:nvSpPr>
          <p:spPr bwMode="auto">
            <a:xfrm>
              <a:off x="5113338" y="3900488"/>
              <a:ext cx="263525" cy="223838"/>
            </a:xfrm>
            <a:custGeom>
              <a:avLst/>
              <a:gdLst>
                <a:gd name="T0" fmla="*/ 62 w 166"/>
                <a:gd name="T1" fmla="*/ 0 h 141"/>
                <a:gd name="T2" fmla="*/ 0 w 166"/>
                <a:gd name="T3" fmla="*/ 141 h 141"/>
                <a:gd name="T4" fmla="*/ 34 w 166"/>
                <a:gd name="T5" fmla="*/ 141 h 141"/>
                <a:gd name="T6" fmla="*/ 47 w 166"/>
                <a:gd name="T7" fmla="*/ 110 h 141"/>
                <a:gd name="T8" fmla="*/ 115 w 166"/>
                <a:gd name="T9" fmla="*/ 110 h 141"/>
                <a:gd name="T10" fmla="*/ 129 w 166"/>
                <a:gd name="T11" fmla="*/ 141 h 141"/>
                <a:gd name="T12" fmla="*/ 166 w 166"/>
                <a:gd name="T13" fmla="*/ 141 h 141"/>
                <a:gd name="T14" fmla="*/ 104 w 166"/>
                <a:gd name="T15" fmla="*/ 0 h 141"/>
                <a:gd name="T16" fmla="*/ 62 w 166"/>
                <a:gd name="T17" fmla="*/ 0 h 141"/>
                <a:gd name="T18" fmla="*/ 56 w 166"/>
                <a:gd name="T19" fmla="*/ 89 h 141"/>
                <a:gd name="T20" fmla="*/ 82 w 166"/>
                <a:gd name="T21" fmla="*/ 26 h 141"/>
                <a:gd name="T22" fmla="*/ 106 w 166"/>
                <a:gd name="T23" fmla="*/ 89 h 141"/>
                <a:gd name="T24" fmla="*/ 56 w 166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41">
                  <a:moveTo>
                    <a:pt x="62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5" y="110"/>
                  </a:lnTo>
                  <a:lnTo>
                    <a:pt x="129" y="141"/>
                  </a:lnTo>
                  <a:lnTo>
                    <a:pt x="166" y="141"/>
                  </a:lnTo>
                  <a:lnTo>
                    <a:pt x="104" y="0"/>
                  </a:lnTo>
                  <a:lnTo>
                    <a:pt x="62" y="0"/>
                  </a:lnTo>
                  <a:close/>
                  <a:moveTo>
                    <a:pt x="56" y="89"/>
                  </a:moveTo>
                  <a:lnTo>
                    <a:pt x="82" y="26"/>
                  </a:lnTo>
                  <a:lnTo>
                    <a:pt x="106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D1E29656-7475-41ED-8188-CB46994490A2}"/>
                </a:ext>
              </a:extLst>
            </p:cNvPr>
            <p:cNvSpPr/>
            <p:nvPr/>
          </p:nvSpPr>
          <p:spPr bwMode="auto">
            <a:xfrm>
              <a:off x="7337426" y="3900488"/>
              <a:ext cx="265113" cy="223838"/>
            </a:xfrm>
            <a:custGeom>
              <a:avLst/>
              <a:gdLst>
                <a:gd name="T0" fmla="*/ 63 w 167"/>
                <a:gd name="T1" fmla="*/ 0 h 141"/>
                <a:gd name="T2" fmla="*/ 0 w 167"/>
                <a:gd name="T3" fmla="*/ 141 h 141"/>
                <a:gd name="T4" fmla="*/ 34 w 167"/>
                <a:gd name="T5" fmla="*/ 141 h 141"/>
                <a:gd name="T6" fmla="*/ 47 w 167"/>
                <a:gd name="T7" fmla="*/ 110 h 141"/>
                <a:gd name="T8" fmla="*/ 116 w 167"/>
                <a:gd name="T9" fmla="*/ 110 h 141"/>
                <a:gd name="T10" fmla="*/ 130 w 167"/>
                <a:gd name="T11" fmla="*/ 141 h 141"/>
                <a:gd name="T12" fmla="*/ 167 w 167"/>
                <a:gd name="T13" fmla="*/ 141 h 141"/>
                <a:gd name="T14" fmla="*/ 105 w 167"/>
                <a:gd name="T15" fmla="*/ 0 h 141"/>
                <a:gd name="T16" fmla="*/ 63 w 167"/>
                <a:gd name="T17" fmla="*/ 0 h 141"/>
                <a:gd name="T18" fmla="*/ 56 w 167"/>
                <a:gd name="T19" fmla="*/ 89 h 141"/>
                <a:gd name="T20" fmla="*/ 83 w 167"/>
                <a:gd name="T21" fmla="*/ 26 h 141"/>
                <a:gd name="T22" fmla="*/ 107 w 167"/>
                <a:gd name="T23" fmla="*/ 89 h 141"/>
                <a:gd name="T24" fmla="*/ 56 w 167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41">
                  <a:moveTo>
                    <a:pt x="63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6" y="110"/>
                  </a:lnTo>
                  <a:lnTo>
                    <a:pt x="130" y="141"/>
                  </a:lnTo>
                  <a:lnTo>
                    <a:pt x="167" y="141"/>
                  </a:lnTo>
                  <a:lnTo>
                    <a:pt x="105" y="0"/>
                  </a:lnTo>
                  <a:lnTo>
                    <a:pt x="63" y="0"/>
                  </a:lnTo>
                  <a:close/>
                  <a:moveTo>
                    <a:pt x="56" y="89"/>
                  </a:moveTo>
                  <a:lnTo>
                    <a:pt x="83" y="26"/>
                  </a:lnTo>
                  <a:lnTo>
                    <a:pt x="107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2F3963AA-72F9-4472-95D2-5E780A522BEB}"/>
                </a:ext>
              </a:extLst>
            </p:cNvPr>
            <p:cNvSpPr/>
            <p:nvPr/>
          </p:nvSpPr>
          <p:spPr bwMode="auto">
            <a:xfrm>
              <a:off x="8153401" y="3900488"/>
              <a:ext cx="233363" cy="223838"/>
            </a:xfrm>
            <a:custGeom>
              <a:avLst/>
              <a:gdLst>
                <a:gd name="T0" fmla="*/ 115 w 147"/>
                <a:gd name="T1" fmla="*/ 110 h 141"/>
                <a:gd name="T2" fmla="*/ 52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4 w 147"/>
                <a:gd name="T9" fmla="*/ 141 h 141"/>
                <a:gd name="T10" fmla="*/ 34 w 147"/>
                <a:gd name="T11" fmla="*/ 26 h 141"/>
                <a:gd name="T12" fmla="*/ 98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5 w 147"/>
                <a:gd name="T19" fmla="*/ 0 h 141"/>
                <a:gd name="T20" fmla="*/ 115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5" y="110"/>
                  </a:moveTo>
                  <a:lnTo>
                    <a:pt x="52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4" y="141"/>
                  </a:lnTo>
                  <a:lnTo>
                    <a:pt x="34" y="26"/>
                  </a:lnTo>
                  <a:lnTo>
                    <a:pt x="98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5" y="0"/>
                  </a:lnTo>
                  <a:lnTo>
                    <a:pt x="1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2A9A1189-9687-457E-A0EB-58BFC32CBED0}"/>
                </a:ext>
              </a:extLst>
            </p:cNvPr>
            <p:cNvSpPr/>
            <p:nvPr/>
          </p:nvSpPr>
          <p:spPr bwMode="auto">
            <a:xfrm>
              <a:off x="6000751" y="3154363"/>
              <a:ext cx="139700" cy="80963"/>
            </a:xfrm>
            <a:custGeom>
              <a:avLst/>
              <a:gdLst>
                <a:gd name="T0" fmla="*/ 0 w 180"/>
                <a:gd name="T1" fmla="*/ 15 h 103"/>
                <a:gd name="T2" fmla="*/ 0 w 180"/>
                <a:gd name="T3" fmla="*/ 29 h 103"/>
                <a:gd name="T4" fmla="*/ 104 w 180"/>
                <a:gd name="T5" fmla="*/ 103 h 103"/>
                <a:gd name="T6" fmla="*/ 126 w 180"/>
                <a:gd name="T7" fmla="*/ 103 h 103"/>
                <a:gd name="T8" fmla="*/ 176 w 180"/>
                <a:gd name="T9" fmla="*/ 88 h 103"/>
                <a:gd name="T10" fmla="*/ 180 w 180"/>
                <a:gd name="T11" fmla="*/ 52 h 103"/>
                <a:gd name="T12" fmla="*/ 97 w 180"/>
                <a:gd name="T13" fmla="*/ 0 h 103"/>
                <a:gd name="T14" fmla="*/ 0 w 180"/>
                <a:gd name="T15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103">
                  <a:moveTo>
                    <a:pt x="0" y="15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32" y="41"/>
                    <a:pt x="74" y="103"/>
                    <a:pt x="104" y="103"/>
                  </a:cubicBezTo>
                  <a:cubicBezTo>
                    <a:pt x="126" y="103"/>
                    <a:pt x="126" y="103"/>
                    <a:pt x="126" y="103"/>
                  </a:cubicBezTo>
                  <a:cubicBezTo>
                    <a:pt x="153" y="103"/>
                    <a:pt x="152" y="95"/>
                    <a:pt x="176" y="88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63" y="33"/>
                    <a:pt x="115" y="0"/>
                    <a:pt x="97" y="0"/>
                  </a:cubicBezTo>
                  <a:cubicBezTo>
                    <a:pt x="46" y="0"/>
                    <a:pt x="34" y="6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4C44AD09-B9B9-48ED-A5BD-580C7521561E}"/>
                </a:ext>
              </a:extLst>
            </p:cNvPr>
            <p:cNvSpPr/>
            <p:nvPr/>
          </p:nvSpPr>
          <p:spPr bwMode="auto">
            <a:xfrm>
              <a:off x="8475663" y="3167063"/>
              <a:ext cx="298450" cy="377825"/>
            </a:xfrm>
            <a:custGeom>
              <a:avLst/>
              <a:gdLst>
                <a:gd name="T0" fmla="*/ 0 w 386"/>
                <a:gd name="T1" fmla="*/ 458 h 488"/>
                <a:gd name="T2" fmla="*/ 52 w 386"/>
                <a:gd name="T3" fmla="*/ 488 h 488"/>
                <a:gd name="T4" fmla="*/ 170 w 386"/>
                <a:gd name="T5" fmla="*/ 428 h 488"/>
                <a:gd name="T6" fmla="*/ 189 w 386"/>
                <a:gd name="T7" fmla="*/ 359 h 488"/>
                <a:gd name="T8" fmla="*/ 225 w 386"/>
                <a:gd name="T9" fmla="*/ 284 h 488"/>
                <a:gd name="T10" fmla="*/ 326 w 386"/>
                <a:gd name="T11" fmla="*/ 184 h 488"/>
                <a:gd name="T12" fmla="*/ 375 w 386"/>
                <a:gd name="T13" fmla="*/ 71 h 488"/>
                <a:gd name="T14" fmla="*/ 326 w 386"/>
                <a:gd name="T15" fmla="*/ 36 h 488"/>
                <a:gd name="T16" fmla="*/ 231 w 386"/>
                <a:gd name="T17" fmla="*/ 68 h 488"/>
                <a:gd name="T18" fmla="*/ 170 w 386"/>
                <a:gd name="T19" fmla="*/ 0 h 488"/>
                <a:gd name="T20" fmla="*/ 139 w 386"/>
                <a:gd name="T21" fmla="*/ 112 h 488"/>
                <a:gd name="T22" fmla="*/ 15 w 386"/>
                <a:gd name="T23" fmla="*/ 155 h 488"/>
                <a:gd name="T24" fmla="*/ 97 w 386"/>
                <a:gd name="T25" fmla="*/ 236 h 488"/>
                <a:gd name="T26" fmla="*/ 0 w 386"/>
                <a:gd name="T27" fmla="*/ 377 h 488"/>
                <a:gd name="T28" fmla="*/ 0 w 386"/>
                <a:gd name="T29" fmla="*/ 45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6" h="488">
                  <a:moveTo>
                    <a:pt x="0" y="458"/>
                  </a:moveTo>
                  <a:cubicBezTo>
                    <a:pt x="0" y="449"/>
                    <a:pt x="25" y="488"/>
                    <a:pt x="52" y="488"/>
                  </a:cubicBezTo>
                  <a:cubicBezTo>
                    <a:pt x="75" y="488"/>
                    <a:pt x="151" y="434"/>
                    <a:pt x="170" y="428"/>
                  </a:cubicBezTo>
                  <a:cubicBezTo>
                    <a:pt x="181" y="406"/>
                    <a:pt x="184" y="378"/>
                    <a:pt x="189" y="359"/>
                  </a:cubicBezTo>
                  <a:cubicBezTo>
                    <a:pt x="196" y="334"/>
                    <a:pt x="205" y="317"/>
                    <a:pt x="225" y="284"/>
                  </a:cubicBezTo>
                  <a:cubicBezTo>
                    <a:pt x="252" y="237"/>
                    <a:pt x="253" y="184"/>
                    <a:pt x="326" y="184"/>
                  </a:cubicBezTo>
                  <a:cubicBezTo>
                    <a:pt x="386" y="144"/>
                    <a:pt x="377" y="149"/>
                    <a:pt x="375" y="71"/>
                  </a:cubicBezTo>
                  <a:cubicBezTo>
                    <a:pt x="375" y="49"/>
                    <a:pt x="346" y="46"/>
                    <a:pt x="326" y="36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27" y="27"/>
                    <a:pt x="209" y="0"/>
                    <a:pt x="170" y="0"/>
                  </a:cubicBezTo>
                  <a:cubicBezTo>
                    <a:pt x="136" y="0"/>
                    <a:pt x="162" y="77"/>
                    <a:pt x="139" y="112"/>
                  </a:cubicBezTo>
                  <a:cubicBezTo>
                    <a:pt x="130" y="126"/>
                    <a:pt x="84" y="149"/>
                    <a:pt x="15" y="155"/>
                  </a:cubicBezTo>
                  <a:cubicBezTo>
                    <a:pt x="21" y="223"/>
                    <a:pt x="97" y="211"/>
                    <a:pt x="97" y="236"/>
                  </a:cubicBezTo>
                  <a:cubicBezTo>
                    <a:pt x="97" y="286"/>
                    <a:pt x="21" y="345"/>
                    <a:pt x="0" y="377"/>
                  </a:cubicBezTo>
                  <a:lnTo>
                    <a:pt x="0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0C56B5A4-ECE5-4F31-98BD-108A32C54DD2}"/>
                </a:ext>
              </a:extLst>
            </p:cNvPr>
            <p:cNvSpPr/>
            <p:nvPr/>
          </p:nvSpPr>
          <p:spPr bwMode="auto">
            <a:xfrm>
              <a:off x="8670926" y="3390900"/>
              <a:ext cx="150813" cy="195263"/>
            </a:xfrm>
            <a:custGeom>
              <a:avLst/>
              <a:gdLst>
                <a:gd name="T0" fmla="*/ 47 w 194"/>
                <a:gd name="T1" fmla="*/ 229 h 253"/>
                <a:gd name="T2" fmla="*/ 60 w 194"/>
                <a:gd name="T3" fmla="*/ 253 h 253"/>
                <a:gd name="T4" fmla="*/ 177 w 194"/>
                <a:gd name="T5" fmla="*/ 207 h 253"/>
                <a:gd name="T6" fmla="*/ 192 w 194"/>
                <a:gd name="T7" fmla="*/ 126 h 253"/>
                <a:gd name="T8" fmla="*/ 0 w 194"/>
                <a:gd name="T9" fmla="*/ 22 h 253"/>
                <a:gd name="T10" fmla="*/ 47 w 194"/>
                <a:gd name="T11" fmla="*/ 2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53">
                  <a:moveTo>
                    <a:pt x="47" y="229"/>
                  </a:moveTo>
                  <a:cubicBezTo>
                    <a:pt x="60" y="253"/>
                    <a:pt x="60" y="253"/>
                    <a:pt x="60" y="253"/>
                  </a:cubicBezTo>
                  <a:cubicBezTo>
                    <a:pt x="100" y="241"/>
                    <a:pt x="141" y="228"/>
                    <a:pt x="177" y="207"/>
                  </a:cubicBezTo>
                  <a:cubicBezTo>
                    <a:pt x="184" y="179"/>
                    <a:pt x="192" y="161"/>
                    <a:pt x="192" y="126"/>
                  </a:cubicBezTo>
                  <a:cubicBezTo>
                    <a:pt x="194" y="72"/>
                    <a:pt x="45" y="0"/>
                    <a:pt x="0" y="22"/>
                  </a:cubicBezTo>
                  <a:cubicBezTo>
                    <a:pt x="29" y="93"/>
                    <a:pt x="51" y="104"/>
                    <a:pt x="47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8F91CA30-9A29-4CF0-96FA-E673BF48528E}"/>
                </a:ext>
              </a:extLst>
            </p:cNvPr>
            <p:cNvSpPr/>
            <p:nvPr/>
          </p:nvSpPr>
          <p:spPr bwMode="auto">
            <a:xfrm>
              <a:off x="4613276" y="2873375"/>
              <a:ext cx="952500" cy="877888"/>
            </a:xfrm>
            <a:custGeom>
              <a:avLst/>
              <a:gdLst>
                <a:gd name="T0" fmla="*/ 812 w 1227"/>
                <a:gd name="T1" fmla="*/ 823 h 1132"/>
                <a:gd name="T2" fmla="*/ 776 w 1227"/>
                <a:gd name="T3" fmla="*/ 809 h 1132"/>
                <a:gd name="T4" fmla="*/ 821 w 1227"/>
                <a:gd name="T5" fmla="*/ 763 h 1132"/>
                <a:gd name="T6" fmla="*/ 945 w 1227"/>
                <a:gd name="T7" fmla="*/ 710 h 1132"/>
                <a:gd name="T8" fmla="*/ 990 w 1227"/>
                <a:gd name="T9" fmla="*/ 710 h 1132"/>
                <a:gd name="T10" fmla="*/ 886 w 1227"/>
                <a:gd name="T11" fmla="*/ 840 h 1132"/>
                <a:gd name="T12" fmla="*/ 819 w 1227"/>
                <a:gd name="T13" fmla="*/ 821 h 1132"/>
                <a:gd name="T14" fmla="*/ 812 w 1227"/>
                <a:gd name="T15" fmla="*/ 823 h 1132"/>
                <a:gd name="T16" fmla="*/ 257 w 1227"/>
                <a:gd name="T17" fmla="*/ 799 h 1132"/>
                <a:gd name="T18" fmla="*/ 144 w 1227"/>
                <a:gd name="T19" fmla="*/ 918 h 1132"/>
                <a:gd name="T20" fmla="*/ 117 w 1227"/>
                <a:gd name="T21" fmla="*/ 958 h 1132"/>
                <a:gd name="T22" fmla="*/ 63 w 1227"/>
                <a:gd name="T23" fmla="*/ 1015 h 1132"/>
                <a:gd name="T24" fmla="*/ 93 w 1227"/>
                <a:gd name="T25" fmla="*/ 1101 h 1132"/>
                <a:gd name="T26" fmla="*/ 161 w 1227"/>
                <a:gd name="T27" fmla="*/ 1021 h 1132"/>
                <a:gd name="T28" fmla="*/ 307 w 1227"/>
                <a:gd name="T29" fmla="*/ 864 h 1132"/>
                <a:gd name="T30" fmla="*/ 668 w 1227"/>
                <a:gd name="T31" fmla="*/ 624 h 1132"/>
                <a:gd name="T32" fmla="*/ 741 w 1227"/>
                <a:gd name="T33" fmla="*/ 578 h 1132"/>
                <a:gd name="T34" fmla="*/ 746 w 1227"/>
                <a:gd name="T35" fmla="*/ 585 h 1132"/>
                <a:gd name="T36" fmla="*/ 598 w 1227"/>
                <a:gd name="T37" fmla="*/ 769 h 1132"/>
                <a:gd name="T38" fmla="*/ 701 w 1227"/>
                <a:gd name="T39" fmla="*/ 866 h 1132"/>
                <a:gd name="T40" fmla="*/ 701 w 1227"/>
                <a:gd name="T41" fmla="*/ 888 h 1132"/>
                <a:gd name="T42" fmla="*/ 599 w 1227"/>
                <a:gd name="T43" fmla="*/ 971 h 1132"/>
                <a:gd name="T44" fmla="*/ 524 w 1227"/>
                <a:gd name="T45" fmla="*/ 1080 h 1132"/>
                <a:gd name="T46" fmla="*/ 531 w 1227"/>
                <a:gd name="T47" fmla="*/ 1117 h 1132"/>
                <a:gd name="T48" fmla="*/ 583 w 1227"/>
                <a:gd name="T49" fmla="*/ 1124 h 1132"/>
                <a:gd name="T50" fmla="*/ 620 w 1227"/>
                <a:gd name="T51" fmla="*/ 1124 h 1132"/>
                <a:gd name="T52" fmla="*/ 794 w 1227"/>
                <a:gd name="T53" fmla="*/ 951 h 1132"/>
                <a:gd name="T54" fmla="*/ 917 w 1227"/>
                <a:gd name="T55" fmla="*/ 904 h 1132"/>
                <a:gd name="T56" fmla="*/ 1034 w 1227"/>
                <a:gd name="T57" fmla="*/ 843 h 1132"/>
                <a:gd name="T58" fmla="*/ 1139 w 1227"/>
                <a:gd name="T59" fmla="*/ 682 h 1132"/>
                <a:gd name="T60" fmla="*/ 899 w 1227"/>
                <a:gd name="T61" fmla="*/ 649 h 1132"/>
                <a:gd name="T62" fmla="*/ 1017 w 1227"/>
                <a:gd name="T63" fmla="*/ 509 h 1132"/>
                <a:gd name="T64" fmla="*/ 1204 w 1227"/>
                <a:gd name="T65" fmla="*/ 459 h 1132"/>
                <a:gd name="T66" fmla="*/ 1227 w 1227"/>
                <a:gd name="T67" fmla="*/ 440 h 1132"/>
                <a:gd name="T68" fmla="*/ 1189 w 1227"/>
                <a:gd name="T69" fmla="*/ 407 h 1132"/>
                <a:gd name="T70" fmla="*/ 1167 w 1227"/>
                <a:gd name="T71" fmla="*/ 407 h 1132"/>
                <a:gd name="T72" fmla="*/ 1101 w 1227"/>
                <a:gd name="T73" fmla="*/ 422 h 1132"/>
                <a:gd name="T74" fmla="*/ 1101 w 1227"/>
                <a:gd name="T75" fmla="*/ 385 h 1132"/>
                <a:gd name="T76" fmla="*/ 1009 w 1227"/>
                <a:gd name="T77" fmla="*/ 312 h 1132"/>
                <a:gd name="T78" fmla="*/ 823 w 1227"/>
                <a:gd name="T79" fmla="*/ 366 h 1132"/>
                <a:gd name="T80" fmla="*/ 671 w 1227"/>
                <a:gd name="T81" fmla="*/ 449 h 1132"/>
                <a:gd name="T82" fmla="*/ 887 w 1227"/>
                <a:gd name="T83" fmla="*/ 410 h 1132"/>
                <a:gd name="T84" fmla="*/ 758 w 1227"/>
                <a:gd name="T85" fmla="*/ 538 h 1132"/>
                <a:gd name="T86" fmla="*/ 654 w 1227"/>
                <a:gd name="T87" fmla="*/ 559 h 1132"/>
                <a:gd name="T88" fmla="*/ 562 w 1227"/>
                <a:gd name="T89" fmla="*/ 596 h 1132"/>
                <a:gd name="T90" fmla="*/ 536 w 1227"/>
                <a:gd name="T91" fmla="*/ 598 h 1132"/>
                <a:gd name="T92" fmla="*/ 725 w 1227"/>
                <a:gd name="T93" fmla="*/ 372 h 1132"/>
                <a:gd name="T94" fmla="*/ 837 w 1227"/>
                <a:gd name="T95" fmla="*/ 277 h 1132"/>
                <a:gd name="T96" fmla="*/ 960 w 1227"/>
                <a:gd name="T97" fmla="*/ 200 h 1132"/>
                <a:gd name="T98" fmla="*/ 916 w 1227"/>
                <a:gd name="T99" fmla="*/ 171 h 1132"/>
                <a:gd name="T100" fmla="*/ 900 w 1227"/>
                <a:gd name="T101" fmla="*/ 53 h 1132"/>
                <a:gd name="T102" fmla="*/ 805 w 1227"/>
                <a:gd name="T103" fmla="*/ 23 h 1132"/>
                <a:gd name="T104" fmla="*/ 738 w 1227"/>
                <a:gd name="T105" fmla="*/ 8 h 1132"/>
                <a:gd name="T106" fmla="*/ 694 w 1227"/>
                <a:gd name="T107" fmla="*/ 45 h 1132"/>
                <a:gd name="T108" fmla="*/ 775 w 1227"/>
                <a:gd name="T109" fmla="*/ 215 h 1132"/>
                <a:gd name="T110" fmla="*/ 609 w 1227"/>
                <a:gd name="T111" fmla="*/ 257 h 1132"/>
                <a:gd name="T112" fmla="*/ 501 w 1227"/>
                <a:gd name="T113" fmla="*/ 309 h 1132"/>
                <a:gd name="T114" fmla="*/ 598 w 1227"/>
                <a:gd name="T115" fmla="*/ 341 h 1132"/>
                <a:gd name="T116" fmla="*/ 664 w 1227"/>
                <a:gd name="T117" fmla="*/ 326 h 1132"/>
                <a:gd name="T118" fmla="*/ 686 w 1227"/>
                <a:gd name="T119" fmla="*/ 326 h 1132"/>
                <a:gd name="T120" fmla="*/ 577 w 1227"/>
                <a:gd name="T121" fmla="*/ 446 h 1132"/>
                <a:gd name="T122" fmla="*/ 482 w 1227"/>
                <a:gd name="T123" fmla="*/ 573 h 1132"/>
                <a:gd name="T124" fmla="*/ 257 w 1227"/>
                <a:gd name="T125" fmla="*/ 799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7" h="1132">
                  <a:moveTo>
                    <a:pt x="812" y="823"/>
                  </a:moveTo>
                  <a:cubicBezTo>
                    <a:pt x="799" y="826"/>
                    <a:pt x="755" y="862"/>
                    <a:pt x="776" y="809"/>
                  </a:cubicBezTo>
                  <a:cubicBezTo>
                    <a:pt x="787" y="788"/>
                    <a:pt x="804" y="777"/>
                    <a:pt x="821" y="763"/>
                  </a:cubicBezTo>
                  <a:cubicBezTo>
                    <a:pt x="839" y="748"/>
                    <a:pt x="916" y="710"/>
                    <a:pt x="945" y="710"/>
                  </a:cubicBezTo>
                  <a:cubicBezTo>
                    <a:pt x="990" y="710"/>
                    <a:pt x="990" y="710"/>
                    <a:pt x="990" y="710"/>
                  </a:cubicBezTo>
                  <a:cubicBezTo>
                    <a:pt x="984" y="774"/>
                    <a:pt x="910" y="806"/>
                    <a:pt x="886" y="840"/>
                  </a:cubicBezTo>
                  <a:cubicBezTo>
                    <a:pt x="836" y="840"/>
                    <a:pt x="854" y="821"/>
                    <a:pt x="819" y="821"/>
                  </a:cubicBezTo>
                  <a:cubicBezTo>
                    <a:pt x="812" y="823"/>
                    <a:pt x="812" y="823"/>
                    <a:pt x="812" y="823"/>
                  </a:cubicBezTo>
                  <a:close/>
                  <a:moveTo>
                    <a:pt x="257" y="799"/>
                  </a:moveTo>
                  <a:cubicBezTo>
                    <a:pt x="144" y="918"/>
                    <a:pt x="144" y="918"/>
                    <a:pt x="144" y="918"/>
                  </a:cubicBezTo>
                  <a:cubicBezTo>
                    <a:pt x="141" y="922"/>
                    <a:pt x="148" y="933"/>
                    <a:pt x="117" y="958"/>
                  </a:cubicBezTo>
                  <a:cubicBezTo>
                    <a:pt x="92" y="978"/>
                    <a:pt x="68" y="986"/>
                    <a:pt x="63" y="1015"/>
                  </a:cubicBezTo>
                  <a:cubicBezTo>
                    <a:pt x="53" y="1069"/>
                    <a:pt x="0" y="1132"/>
                    <a:pt x="93" y="1101"/>
                  </a:cubicBezTo>
                  <a:cubicBezTo>
                    <a:pt x="152" y="1082"/>
                    <a:pt x="134" y="1056"/>
                    <a:pt x="161" y="1021"/>
                  </a:cubicBezTo>
                  <a:cubicBezTo>
                    <a:pt x="217" y="947"/>
                    <a:pt x="243" y="927"/>
                    <a:pt x="307" y="864"/>
                  </a:cubicBezTo>
                  <a:cubicBezTo>
                    <a:pt x="406" y="766"/>
                    <a:pt x="483" y="629"/>
                    <a:pt x="668" y="624"/>
                  </a:cubicBezTo>
                  <a:cubicBezTo>
                    <a:pt x="741" y="578"/>
                    <a:pt x="741" y="578"/>
                    <a:pt x="741" y="578"/>
                  </a:cubicBezTo>
                  <a:cubicBezTo>
                    <a:pt x="746" y="585"/>
                    <a:pt x="746" y="585"/>
                    <a:pt x="746" y="585"/>
                  </a:cubicBezTo>
                  <a:cubicBezTo>
                    <a:pt x="728" y="659"/>
                    <a:pt x="598" y="705"/>
                    <a:pt x="598" y="769"/>
                  </a:cubicBezTo>
                  <a:cubicBezTo>
                    <a:pt x="598" y="836"/>
                    <a:pt x="650" y="854"/>
                    <a:pt x="701" y="866"/>
                  </a:cubicBezTo>
                  <a:cubicBezTo>
                    <a:pt x="701" y="888"/>
                    <a:pt x="701" y="888"/>
                    <a:pt x="701" y="888"/>
                  </a:cubicBezTo>
                  <a:cubicBezTo>
                    <a:pt x="662" y="898"/>
                    <a:pt x="636" y="948"/>
                    <a:pt x="599" y="971"/>
                  </a:cubicBezTo>
                  <a:cubicBezTo>
                    <a:pt x="561" y="994"/>
                    <a:pt x="524" y="1019"/>
                    <a:pt x="524" y="1080"/>
                  </a:cubicBezTo>
                  <a:cubicBezTo>
                    <a:pt x="524" y="1100"/>
                    <a:pt x="527" y="1100"/>
                    <a:pt x="531" y="1117"/>
                  </a:cubicBezTo>
                  <a:cubicBezTo>
                    <a:pt x="554" y="1119"/>
                    <a:pt x="557" y="1124"/>
                    <a:pt x="583" y="1124"/>
                  </a:cubicBezTo>
                  <a:cubicBezTo>
                    <a:pt x="620" y="1124"/>
                    <a:pt x="620" y="1124"/>
                    <a:pt x="620" y="1124"/>
                  </a:cubicBezTo>
                  <a:cubicBezTo>
                    <a:pt x="683" y="1124"/>
                    <a:pt x="727" y="996"/>
                    <a:pt x="794" y="951"/>
                  </a:cubicBezTo>
                  <a:cubicBezTo>
                    <a:pt x="844" y="918"/>
                    <a:pt x="857" y="919"/>
                    <a:pt x="917" y="904"/>
                  </a:cubicBezTo>
                  <a:cubicBezTo>
                    <a:pt x="975" y="890"/>
                    <a:pt x="993" y="871"/>
                    <a:pt x="1034" y="843"/>
                  </a:cubicBezTo>
                  <a:cubicBezTo>
                    <a:pt x="1103" y="773"/>
                    <a:pt x="1158" y="776"/>
                    <a:pt x="1139" y="682"/>
                  </a:cubicBezTo>
                  <a:cubicBezTo>
                    <a:pt x="1128" y="626"/>
                    <a:pt x="993" y="644"/>
                    <a:pt x="899" y="649"/>
                  </a:cubicBezTo>
                  <a:cubicBezTo>
                    <a:pt x="903" y="608"/>
                    <a:pt x="988" y="536"/>
                    <a:pt x="1017" y="509"/>
                  </a:cubicBezTo>
                  <a:cubicBezTo>
                    <a:pt x="1061" y="471"/>
                    <a:pt x="1120" y="467"/>
                    <a:pt x="1204" y="459"/>
                  </a:cubicBezTo>
                  <a:cubicBezTo>
                    <a:pt x="1227" y="440"/>
                    <a:pt x="1227" y="440"/>
                    <a:pt x="1227" y="440"/>
                  </a:cubicBezTo>
                  <a:cubicBezTo>
                    <a:pt x="1218" y="427"/>
                    <a:pt x="1210" y="407"/>
                    <a:pt x="1189" y="407"/>
                  </a:cubicBezTo>
                  <a:cubicBezTo>
                    <a:pt x="1167" y="407"/>
                    <a:pt x="1167" y="407"/>
                    <a:pt x="1167" y="407"/>
                  </a:cubicBezTo>
                  <a:cubicBezTo>
                    <a:pt x="1135" y="407"/>
                    <a:pt x="1127" y="416"/>
                    <a:pt x="1101" y="422"/>
                  </a:cubicBezTo>
                  <a:cubicBezTo>
                    <a:pt x="1101" y="385"/>
                    <a:pt x="1101" y="385"/>
                    <a:pt x="1101" y="385"/>
                  </a:cubicBezTo>
                  <a:cubicBezTo>
                    <a:pt x="1105" y="344"/>
                    <a:pt x="1055" y="312"/>
                    <a:pt x="1009" y="312"/>
                  </a:cubicBezTo>
                  <a:cubicBezTo>
                    <a:pt x="1007" y="312"/>
                    <a:pt x="841" y="360"/>
                    <a:pt x="823" y="366"/>
                  </a:cubicBezTo>
                  <a:cubicBezTo>
                    <a:pt x="771" y="383"/>
                    <a:pt x="717" y="446"/>
                    <a:pt x="671" y="449"/>
                  </a:cubicBezTo>
                  <a:cubicBezTo>
                    <a:pt x="677" y="517"/>
                    <a:pt x="826" y="410"/>
                    <a:pt x="887" y="410"/>
                  </a:cubicBezTo>
                  <a:cubicBezTo>
                    <a:pt x="882" y="471"/>
                    <a:pt x="814" y="525"/>
                    <a:pt x="758" y="538"/>
                  </a:cubicBezTo>
                  <a:cubicBezTo>
                    <a:pt x="725" y="549"/>
                    <a:pt x="690" y="550"/>
                    <a:pt x="654" y="559"/>
                  </a:cubicBezTo>
                  <a:cubicBezTo>
                    <a:pt x="633" y="565"/>
                    <a:pt x="563" y="592"/>
                    <a:pt x="562" y="596"/>
                  </a:cubicBezTo>
                  <a:cubicBezTo>
                    <a:pt x="536" y="598"/>
                    <a:pt x="536" y="598"/>
                    <a:pt x="536" y="598"/>
                  </a:cubicBezTo>
                  <a:cubicBezTo>
                    <a:pt x="546" y="555"/>
                    <a:pt x="688" y="409"/>
                    <a:pt x="725" y="372"/>
                  </a:cubicBezTo>
                  <a:cubicBezTo>
                    <a:pt x="769" y="329"/>
                    <a:pt x="781" y="311"/>
                    <a:pt x="837" y="277"/>
                  </a:cubicBezTo>
                  <a:cubicBezTo>
                    <a:pt x="866" y="260"/>
                    <a:pt x="960" y="228"/>
                    <a:pt x="960" y="200"/>
                  </a:cubicBezTo>
                  <a:cubicBezTo>
                    <a:pt x="960" y="174"/>
                    <a:pt x="942" y="171"/>
                    <a:pt x="916" y="171"/>
                  </a:cubicBezTo>
                  <a:cubicBezTo>
                    <a:pt x="924" y="137"/>
                    <a:pt x="916" y="87"/>
                    <a:pt x="900" y="53"/>
                  </a:cubicBezTo>
                  <a:cubicBezTo>
                    <a:pt x="874" y="0"/>
                    <a:pt x="853" y="23"/>
                    <a:pt x="805" y="23"/>
                  </a:cubicBezTo>
                  <a:cubicBezTo>
                    <a:pt x="785" y="23"/>
                    <a:pt x="773" y="8"/>
                    <a:pt x="738" y="8"/>
                  </a:cubicBezTo>
                  <a:cubicBezTo>
                    <a:pt x="719" y="8"/>
                    <a:pt x="694" y="24"/>
                    <a:pt x="694" y="45"/>
                  </a:cubicBezTo>
                  <a:cubicBezTo>
                    <a:pt x="694" y="92"/>
                    <a:pt x="774" y="155"/>
                    <a:pt x="775" y="215"/>
                  </a:cubicBezTo>
                  <a:cubicBezTo>
                    <a:pt x="749" y="217"/>
                    <a:pt x="674" y="235"/>
                    <a:pt x="609" y="257"/>
                  </a:cubicBezTo>
                  <a:cubicBezTo>
                    <a:pt x="571" y="292"/>
                    <a:pt x="475" y="291"/>
                    <a:pt x="501" y="309"/>
                  </a:cubicBezTo>
                  <a:cubicBezTo>
                    <a:pt x="526" y="325"/>
                    <a:pt x="541" y="336"/>
                    <a:pt x="598" y="341"/>
                  </a:cubicBezTo>
                  <a:cubicBezTo>
                    <a:pt x="617" y="341"/>
                    <a:pt x="629" y="326"/>
                    <a:pt x="664" y="326"/>
                  </a:cubicBezTo>
                  <a:cubicBezTo>
                    <a:pt x="686" y="326"/>
                    <a:pt x="686" y="326"/>
                    <a:pt x="686" y="326"/>
                  </a:cubicBezTo>
                  <a:cubicBezTo>
                    <a:pt x="677" y="361"/>
                    <a:pt x="604" y="417"/>
                    <a:pt x="577" y="446"/>
                  </a:cubicBezTo>
                  <a:cubicBezTo>
                    <a:pt x="544" y="481"/>
                    <a:pt x="513" y="532"/>
                    <a:pt x="482" y="573"/>
                  </a:cubicBezTo>
                  <a:cubicBezTo>
                    <a:pt x="457" y="608"/>
                    <a:pt x="288" y="779"/>
                    <a:pt x="257" y="7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F371A682-B160-4250-9CBE-28D09C9FE339}"/>
                </a:ext>
              </a:extLst>
            </p:cNvPr>
            <p:cNvSpPr/>
            <p:nvPr/>
          </p:nvSpPr>
          <p:spPr bwMode="auto">
            <a:xfrm>
              <a:off x="5341938" y="3613150"/>
              <a:ext cx="165100" cy="138113"/>
            </a:xfrm>
            <a:custGeom>
              <a:avLst/>
              <a:gdLst>
                <a:gd name="T0" fmla="*/ 0 w 214"/>
                <a:gd name="T1" fmla="*/ 8 h 178"/>
                <a:gd name="T2" fmla="*/ 64 w 214"/>
                <a:gd name="T3" fmla="*/ 99 h 178"/>
                <a:gd name="T4" fmla="*/ 140 w 214"/>
                <a:gd name="T5" fmla="*/ 178 h 178"/>
                <a:gd name="T6" fmla="*/ 185 w 214"/>
                <a:gd name="T7" fmla="*/ 178 h 178"/>
                <a:gd name="T8" fmla="*/ 214 w 214"/>
                <a:gd name="T9" fmla="*/ 156 h 178"/>
                <a:gd name="T10" fmla="*/ 59 w 214"/>
                <a:gd name="T11" fmla="*/ 0 h 178"/>
                <a:gd name="T12" fmla="*/ 22 w 214"/>
                <a:gd name="T13" fmla="*/ 0 h 178"/>
                <a:gd name="T14" fmla="*/ 0 w 214"/>
                <a:gd name="T15" fmla="*/ 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78">
                  <a:moveTo>
                    <a:pt x="0" y="8"/>
                  </a:moveTo>
                  <a:cubicBezTo>
                    <a:pt x="5" y="28"/>
                    <a:pt x="48" y="71"/>
                    <a:pt x="64" y="99"/>
                  </a:cubicBezTo>
                  <a:cubicBezTo>
                    <a:pt x="84" y="134"/>
                    <a:pt x="87" y="178"/>
                    <a:pt x="140" y="178"/>
                  </a:cubicBezTo>
                  <a:cubicBezTo>
                    <a:pt x="185" y="178"/>
                    <a:pt x="185" y="178"/>
                    <a:pt x="185" y="178"/>
                  </a:cubicBezTo>
                  <a:cubicBezTo>
                    <a:pt x="199" y="178"/>
                    <a:pt x="214" y="165"/>
                    <a:pt x="214" y="156"/>
                  </a:cubicBezTo>
                  <a:cubicBezTo>
                    <a:pt x="214" y="88"/>
                    <a:pt x="128" y="0"/>
                    <a:pt x="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2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F3A17FD0-2D86-4954-A6DF-824FB4C35BDE}"/>
                </a:ext>
              </a:extLst>
            </p:cNvPr>
            <p:cNvSpPr/>
            <p:nvPr/>
          </p:nvSpPr>
          <p:spPr bwMode="auto">
            <a:xfrm>
              <a:off x="5818188" y="3270250"/>
              <a:ext cx="520700" cy="263525"/>
            </a:xfrm>
            <a:custGeom>
              <a:avLst/>
              <a:gdLst>
                <a:gd name="T0" fmla="*/ 355 w 671"/>
                <a:gd name="T1" fmla="*/ 222 h 340"/>
                <a:gd name="T2" fmla="*/ 421 w 671"/>
                <a:gd name="T3" fmla="*/ 81 h 340"/>
                <a:gd name="T4" fmla="*/ 547 w 671"/>
                <a:gd name="T5" fmla="*/ 90 h 340"/>
                <a:gd name="T6" fmla="*/ 577 w 671"/>
                <a:gd name="T7" fmla="*/ 88 h 340"/>
                <a:gd name="T8" fmla="*/ 497 w 671"/>
                <a:gd name="T9" fmla="*/ 192 h 340"/>
                <a:gd name="T10" fmla="*/ 370 w 671"/>
                <a:gd name="T11" fmla="*/ 257 h 340"/>
                <a:gd name="T12" fmla="*/ 355 w 671"/>
                <a:gd name="T13" fmla="*/ 222 h 340"/>
                <a:gd name="T14" fmla="*/ 268 w 671"/>
                <a:gd name="T15" fmla="*/ 155 h 340"/>
                <a:gd name="T16" fmla="*/ 299 w 671"/>
                <a:gd name="T17" fmla="*/ 211 h 340"/>
                <a:gd name="T18" fmla="*/ 268 w 671"/>
                <a:gd name="T19" fmla="*/ 155 h 340"/>
                <a:gd name="T20" fmla="*/ 44 w 671"/>
                <a:gd name="T21" fmla="*/ 273 h 340"/>
                <a:gd name="T22" fmla="*/ 177 w 671"/>
                <a:gd name="T23" fmla="*/ 177 h 340"/>
                <a:gd name="T24" fmla="*/ 198 w 671"/>
                <a:gd name="T25" fmla="*/ 253 h 340"/>
                <a:gd name="T26" fmla="*/ 236 w 671"/>
                <a:gd name="T27" fmla="*/ 288 h 340"/>
                <a:gd name="T28" fmla="*/ 236 w 671"/>
                <a:gd name="T29" fmla="*/ 325 h 340"/>
                <a:gd name="T30" fmla="*/ 266 w 671"/>
                <a:gd name="T31" fmla="*/ 340 h 340"/>
                <a:gd name="T32" fmla="*/ 398 w 671"/>
                <a:gd name="T33" fmla="*/ 325 h 340"/>
                <a:gd name="T34" fmla="*/ 430 w 671"/>
                <a:gd name="T35" fmla="*/ 312 h 340"/>
                <a:gd name="T36" fmla="*/ 540 w 671"/>
                <a:gd name="T37" fmla="*/ 222 h 340"/>
                <a:gd name="T38" fmla="*/ 671 w 671"/>
                <a:gd name="T39" fmla="*/ 90 h 340"/>
                <a:gd name="T40" fmla="*/ 584 w 671"/>
                <a:gd name="T41" fmla="*/ 51 h 340"/>
                <a:gd name="T42" fmla="*/ 482 w 671"/>
                <a:gd name="T43" fmla="*/ 53 h 340"/>
                <a:gd name="T44" fmla="*/ 429 w 671"/>
                <a:gd name="T45" fmla="*/ 59 h 340"/>
                <a:gd name="T46" fmla="*/ 412 w 671"/>
                <a:gd name="T47" fmla="*/ 0 h 340"/>
                <a:gd name="T48" fmla="*/ 330 w 671"/>
                <a:gd name="T49" fmla="*/ 86 h 340"/>
                <a:gd name="T50" fmla="*/ 259 w 671"/>
                <a:gd name="T51" fmla="*/ 29 h 340"/>
                <a:gd name="T52" fmla="*/ 250 w 671"/>
                <a:gd name="T53" fmla="*/ 27 h 340"/>
                <a:gd name="T54" fmla="*/ 217 w 671"/>
                <a:gd name="T55" fmla="*/ 131 h 340"/>
                <a:gd name="T56" fmla="*/ 84 w 671"/>
                <a:gd name="T57" fmla="*/ 181 h 340"/>
                <a:gd name="T58" fmla="*/ 25 w 671"/>
                <a:gd name="T59" fmla="*/ 51 h 340"/>
                <a:gd name="T60" fmla="*/ 0 w 671"/>
                <a:gd name="T61" fmla="*/ 162 h 340"/>
                <a:gd name="T62" fmla="*/ 0 w 671"/>
                <a:gd name="T63" fmla="*/ 214 h 340"/>
                <a:gd name="T64" fmla="*/ 22 w 671"/>
                <a:gd name="T65" fmla="*/ 273 h 340"/>
                <a:gd name="T66" fmla="*/ 44 w 671"/>
                <a:gd name="T67" fmla="*/ 27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340">
                  <a:moveTo>
                    <a:pt x="355" y="222"/>
                  </a:moveTo>
                  <a:cubicBezTo>
                    <a:pt x="355" y="209"/>
                    <a:pt x="415" y="106"/>
                    <a:pt x="421" y="81"/>
                  </a:cubicBezTo>
                  <a:cubicBezTo>
                    <a:pt x="547" y="90"/>
                    <a:pt x="547" y="90"/>
                    <a:pt x="547" y="9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74" y="123"/>
                    <a:pt x="521" y="173"/>
                    <a:pt x="497" y="192"/>
                  </a:cubicBezTo>
                  <a:cubicBezTo>
                    <a:pt x="423" y="250"/>
                    <a:pt x="441" y="234"/>
                    <a:pt x="370" y="257"/>
                  </a:cubicBezTo>
                  <a:cubicBezTo>
                    <a:pt x="361" y="243"/>
                    <a:pt x="355" y="238"/>
                    <a:pt x="355" y="222"/>
                  </a:cubicBezTo>
                  <a:close/>
                  <a:moveTo>
                    <a:pt x="268" y="155"/>
                  </a:moveTo>
                  <a:cubicBezTo>
                    <a:pt x="333" y="102"/>
                    <a:pt x="342" y="120"/>
                    <a:pt x="299" y="211"/>
                  </a:cubicBezTo>
                  <a:cubicBezTo>
                    <a:pt x="276" y="256"/>
                    <a:pt x="271" y="212"/>
                    <a:pt x="268" y="155"/>
                  </a:cubicBezTo>
                  <a:close/>
                  <a:moveTo>
                    <a:pt x="44" y="273"/>
                  </a:moveTo>
                  <a:cubicBezTo>
                    <a:pt x="62" y="261"/>
                    <a:pt x="161" y="177"/>
                    <a:pt x="177" y="177"/>
                  </a:cubicBezTo>
                  <a:cubicBezTo>
                    <a:pt x="210" y="177"/>
                    <a:pt x="199" y="217"/>
                    <a:pt x="198" y="253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39" y="327"/>
                    <a:pt x="265" y="340"/>
                    <a:pt x="266" y="340"/>
                  </a:cubicBezTo>
                  <a:cubicBezTo>
                    <a:pt x="265" y="331"/>
                    <a:pt x="335" y="321"/>
                    <a:pt x="398" y="325"/>
                  </a:cubicBezTo>
                  <a:cubicBezTo>
                    <a:pt x="420" y="327"/>
                    <a:pt x="428" y="311"/>
                    <a:pt x="430" y="312"/>
                  </a:cubicBezTo>
                  <a:cubicBezTo>
                    <a:pt x="460" y="295"/>
                    <a:pt x="517" y="245"/>
                    <a:pt x="540" y="222"/>
                  </a:cubicBezTo>
                  <a:cubicBezTo>
                    <a:pt x="671" y="90"/>
                    <a:pt x="671" y="90"/>
                    <a:pt x="671" y="90"/>
                  </a:cubicBezTo>
                  <a:cubicBezTo>
                    <a:pt x="651" y="60"/>
                    <a:pt x="633" y="51"/>
                    <a:pt x="584" y="51"/>
                  </a:cubicBezTo>
                  <a:cubicBezTo>
                    <a:pt x="482" y="53"/>
                    <a:pt x="482" y="53"/>
                    <a:pt x="482" y="53"/>
                  </a:cubicBezTo>
                  <a:cubicBezTo>
                    <a:pt x="456" y="54"/>
                    <a:pt x="452" y="57"/>
                    <a:pt x="429" y="59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59" y="14"/>
                    <a:pt x="394" y="54"/>
                    <a:pt x="330" y="86"/>
                  </a:cubicBezTo>
                  <a:cubicBezTo>
                    <a:pt x="253" y="125"/>
                    <a:pt x="285" y="85"/>
                    <a:pt x="259" y="29"/>
                  </a:cubicBezTo>
                  <a:cubicBezTo>
                    <a:pt x="250" y="27"/>
                    <a:pt x="250" y="27"/>
                    <a:pt x="250" y="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72" y="146"/>
                    <a:pt x="74" y="56"/>
                    <a:pt x="25" y="51"/>
                  </a:cubicBezTo>
                  <a:cubicBezTo>
                    <a:pt x="17" y="86"/>
                    <a:pt x="0" y="121"/>
                    <a:pt x="0" y="16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37"/>
                    <a:pt x="13" y="257"/>
                    <a:pt x="22" y="273"/>
                  </a:cubicBezTo>
                  <a:lnTo>
                    <a:pt x="44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912685D5-D337-498F-A8AB-4760452FCF07}"/>
                </a:ext>
              </a:extLst>
            </p:cNvPr>
            <p:cNvSpPr/>
            <p:nvPr/>
          </p:nvSpPr>
          <p:spPr bwMode="auto">
            <a:xfrm>
              <a:off x="6592888" y="2959100"/>
              <a:ext cx="647700" cy="890588"/>
            </a:xfrm>
            <a:custGeom>
              <a:avLst/>
              <a:gdLst>
                <a:gd name="T0" fmla="*/ 45 w 836"/>
                <a:gd name="T1" fmla="*/ 695 h 1146"/>
                <a:gd name="T2" fmla="*/ 59 w 836"/>
                <a:gd name="T3" fmla="*/ 503 h 1146"/>
                <a:gd name="T4" fmla="*/ 126 w 836"/>
                <a:gd name="T5" fmla="*/ 525 h 1146"/>
                <a:gd name="T6" fmla="*/ 119 w 836"/>
                <a:gd name="T7" fmla="*/ 607 h 1146"/>
                <a:gd name="T8" fmla="*/ 223 w 836"/>
                <a:gd name="T9" fmla="*/ 552 h 1146"/>
                <a:gd name="T10" fmla="*/ 407 w 836"/>
                <a:gd name="T11" fmla="*/ 488 h 1146"/>
                <a:gd name="T12" fmla="*/ 429 w 836"/>
                <a:gd name="T13" fmla="*/ 814 h 1146"/>
                <a:gd name="T14" fmla="*/ 451 w 836"/>
                <a:gd name="T15" fmla="*/ 1146 h 1146"/>
                <a:gd name="T16" fmla="*/ 488 w 836"/>
                <a:gd name="T17" fmla="*/ 1087 h 1146"/>
                <a:gd name="T18" fmla="*/ 693 w 836"/>
                <a:gd name="T19" fmla="*/ 508 h 1146"/>
                <a:gd name="T20" fmla="*/ 836 w 836"/>
                <a:gd name="T21" fmla="*/ 311 h 1146"/>
                <a:gd name="T22" fmla="*/ 703 w 836"/>
                <a:gd name="T23" fmla="*/ 259 h 1146"/>
                <a:gd name="T24" fmla="*/ 614 w 836"/>
                <a:gd name="T25" fmla="*/ 274 h 1146"/>
                <a:gd name="T26" fmla="*/ 740 w 836"/>
                <a:gd name="T27" fmla="*/ 60 h 1146"/>
                <a:gd name="T28" fmla="*/ 372 w 836"/>
                <a:gd name="T29" fmla="*/ 165 h 1146"/>
                <a:gd name="T30" fmla="*/ 159 w 836"/>
                <a:gd name="T31" fmla="*/ 389 h 1146"/>
                <a:gd name="T32" fmla="*/ 59 w 836"/>
                <a:gd name="T33" fmla="*/ 437 h 1146"/>
                <a:gd name="T34" fmla="*/ 74 w 836"/>
                <a:gd name="T35" fmla="*/ 311 h 1146"/>
                <a:gd name="T36" fmla="*/ 104 w 836"/>
                <a:gd name="T37" fmla="*/ 348 h 1146"/>
                <a:gd name="T38" fmla="*/ 222 w 836"/>
                <a:gd name="T39" fmla="*/ 222 h 1146"/>
                <a:gd name="T40" fmla="*/ 294 w 836"/>
                <a:gd name="T41" fmla="*/ 60 h 1146"/>
                <a:gd name="T42" fmla="*/ 244 w 836"/>
                <a:gd name="T43" fmla="*/ 0 h 1146"/>
                <a:gd name="T44" fmla="*/ 133 w 836"/>
                <a:gd name="T45" fmla="*/ 45 h 1146"/>
                <a:gd name="T46" fmla="*/ 170 w 836"/>
                <a:gd name="T47" fmla="*/ 67 h 1146"/>
                <a:gd name="T48" fmla="*/ 119 w 836"/>
                <a:gd name="T49" fmla="*/ 126 h 1146"/>
                <a:gd name="T50" fmla="*/ 0 w 836"/>
                <a:gd name="T51" fmla="*/ 348 h 1146"/>
                <a:gd name="T52" fmla="*/ 22 w 836"/>
                <a:gd name="T53" fmla="*/ 681 h 1146"/>
                <a:gd name="T54" fmla="*/ 644 w 836"/>
                <a:gd name="T55" fmla="*/ 341 h 1146"/>
                <a:gd name="T56" fmla="*/ 578 w 836"/>
                <a:gd name="T57" fmla="*/ 474 h 1146"/>
                <a:gd name="T58" fmla="*/ 457 w 836"/>
                <a:gd name="T59" fmla="*/ 459 h 1146"/>
                <a:gd name="T60" fmla="*/ 427 w 836"/>
                <a:gd name="T61" fmla="*/ 459 h 1146"/>
                <a:gd name="T62" fmla="*/ 454 w 836"/>
                <a:gd name="T63" fmla="*/ 217 h 1146"/>
                <a:gd name="T64" fmla="*/ 227 w 836"/>
                <a:gd name="T65" fmla="*/ 474 h 1146"/>
                <a:gd name="T66" fmla="*/ 454 w 836"/>
                <a:gd name="T67" fmla="*/ 21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6" h="1146">
                  <a:moveTo>
                    <a:pt x="22" y="681"/>
                  </a:moveTo>
                  <a:cubicBezTo>
                    <a:pt x="45" y="695"/>
                    <a:pt x="45" y="695"/>
                    <a:pt x="45" y="695"/>
                  </a:cubicBezTo>
                  <a:cubicBezTo>
                    <a:pt x="56" y="700"/>
                    <a:pt x="67" y="669"/>
                    <a:pt x="67" y="649"/>
                  </a:cubicBezTo>
                  <a:cubicBezTo>
                    <a:pt x="59" y="503"/>
                    <a:pt x="59" y="503"/>
                    <a:pt x="59" y="503"/>
                  </a:cubicBezTo>
                  <a:cubicBezTo>
                    <a:pt x="117" y="504"/>
                    <a:pt x="117" y="504"/>
                    <a:pt x="117" y="504"/>
                  </a:cubicBezTo>
                  <a:cubicBezTo>
                    <a:pt x="126" y="525"/>
                    <a:pt x="126" y="525"/>
                    <a:pt x="126" y="525"/>
                  </a:cubicBezTo>
                  <a:cubicBezTo>
                    <a:pt x="122" y="543"/>
                    <a:pt x="119" y="547"/>
                    <a:pt x="119" y="570"/>
                  </a:cubicBezTo>
                  <a:cubicBezTo>
                    <a:pt x="119" y="607"/>
                    <a:pt x="119" y="607"/>
                    <a:pt x="119" y="607"/>
                  </a:cubicBezTo>
                  <a:cubicBezTo>
                    <a:pt x="124" y="615"/>
                    <a:pt x="124" y="615"/>
                    <a:pt x="124" y="615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96" y="585"/>
                    <a:pt x="296" y="585"/>
                    <a:pt x="296" y="585"/>
                  </a:cubicBezTo>
                  <a:cubicBezTo>
                    <a:pt x="336" y="558"/>
                    <a:pt x="357" y="493"/>
                    <a:pt x="407" y="488"/>
                  </a:cubicBezTo>
                  <a:cubicBezTo>
                    <a:pt x="408" y="540"/>
                    <a:pt x="430" y="570"/>
                    <a:pt x="429" y="636"/>
                  </a:cubicBezTo>
                  <a:cubicBezTo>
                    <a:pt x="429" y="695"/>
                    <a:pt x="429" y="755"/>
                    <a:pt x="429" y="814"/>
                  </a:cubicBezTo>
                  <a:cubicBezTo>
                    <a:pt x="429" y="873"/>
                    <a:pt x="429" y="932"/>
                    <a:pt x="429" y="991"/>
                  </a:cubicBezTo>
                  <a:cubicBezTo>
                    <a:pt x="429" y="1030"/>
                    <a:pt x="414" y="1146"/>
                    <a:pt x="451" y="1146"/>
                  </a:cubicBezTo>
                  <a:cubicBezTo>
                    <a:pt x="469" y="1146"/>
                    <a:pt x="473" y="1134"/>
                    <a:pt x="488" y="1124"/>
                  </a:cubicBezTo>
                  <a:cubicBezTo>
                    <a:pt x="488" y="1087"/>
                    <a:pt x="488" y="1087"/>
                    <a:pt x="488" y="1087"/>
                  </a:cubicBezTo>
                  <a:cubicBezTo>
                    <a:pt x="580" y="1026"/>
                    <a:pt x="534" y="826"/>
                    <a:pt x="562" y="703"/>
                  </a:cubicBezTo>
                  <a:cubicBezTo>
                    <a:pt x="562" y="572"/>
                    <a:pt x="623" y="559"/>
                    <a:pt x="693" y="508"/>
                  </a:cubicBezTo>
                  <a:cubicBezTo>
                    <a:pt x="720" y="487"/>
                    <a:pt x="836" y="352"/>
                    <a:pt x="836" y="318"/>
                  </a:cubicBezTo>
                  <a:cubicBezTo>
                    <a:pt x="836" y="311"/>
                    <a:pt x="836" y="311"/>
                    <a:pt x="836" y="311"/>
                  </a:cubicBezTo>
                  <a:cubicBezTo>
                    <a:pt x="836" y="293"/>
                    <a:pt x="802" y="259"/>
                    <a:pt x="784" y="259"/>
                  </a:cubicBezTo>
                  <a:cubicBezTo>
                    <a:pt x="703" y="259"/>
                    <a:pt x="703" y="259"/>
                    <a:pt x="703" y="259"/>
                  </a:cubicBezTo>
                  <a:cubicBezTo>
                    <a:pt x="663" y="259"/>
                    <a:pt x="662" y="274"/>
                    <a:pt x="622" y="274"/>
                  </a:cubicBezTo>
                  <a:cubicBezTo>
                    <a:pt x="614" y="274"/>
                    <a:pt x="614" y="274"/>
                    <a:pt x="614" y="274"/>
                  </a:cubicBezTo>
                  <a:cubicBezTo>
                    <a:pt x="602" y="274"/>
                    <a:pt x="592" y="270"/>
                    <a:pt x="592" y="259"/>
                  </a:cubicBezTo>
                  <a:cubicBezTo>
                    <a:pt x="592" y="181"/>
                    <a:pt x="718" y="152"/>
                    <a:pt x="740" y="60"/>
                  </a:cubicBezTo>
                  <a:cubicBezTo>
                    <a:pt x="721" y="47"/>
                    <a:pt x="695" y="23"/>
                    <a:pt x="666" y="23"/>
                  </a:cubicBezTo>
                  <a:cubicBezTo>
                    <a:pt x="558" y="23"/>
                    <a:pt x="428" y="109"/>
                    <a:pt x="372" y="165"/>
                  </a:cubicBezTo>
                  <a:cubicBezTo>
                    <a:pt x="349" y="187"/>
                    <a:pt x="285" y="258"/>
                    <a:pt x="275" y="282"/>
                  </a:cubicBezTo>
                  <a:cubicBezTo>
                    <a:pt x="250" y="343"/>
                    <a:pt x="242" y="385"/>
                    <a:pt x="159" y="389"/>
                  </a:cubicBezTo>
                  <a:cubicBezTo>
                    <a:pt x="82" y="444"/>
                    <a:pt x="82" y="444"/>
                    <a:pt x="82" y="444"/>
                  </a:cubicBezTo>
                  <a:cubicBezTo>
                    <a:pt x="59" y="437"/>
                    <a:pt x="59" y="437"/>
                    <a:pt x="59" y="437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12"/>
                    <a:pt x="63" y="319"/>
                    <a:pt x="74" y="311"/>
                  </a:cubicBezTo>
                  <a:cubicBezTo>
                    <a:pt x="75" y="335"/>
                    <a:pt x="72" y="348"/>
                    <a:pt x="96" y="348"/>
                  </a:cubicBezTo>
                  <a:cubicBezTo>
                    <a:pt x="104" y="348"/>
                    <a:pt x="104" y="348"/>
                    <a:pt x="104" y="348"/>
                  </a:cubicBezTo>
                  <a:cubicBezTo>
                    <a:pt x="127" y="348"/>
                    <a:pt x="247" y="270"/>
                    <a:pt x="259" y="252"/>
                  </a:cubicBezTo>
                  <a:cubicBezTo>
                    <a:pt x="251" y="239"/>
                    <a:pt x="243" y="222"/>
                    <a:pt x="222" y="222"/>
                  </a:cubicBezTo>
                  <a:cubicBezTo>
                    <a:pt x="188" y="219"/>
                    <a:pt x="188" y="219"/>
                    <a:pt x="188" y="219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77" y="16"/>
                    <a:pt x="255" y="0"/>
                    <a:pt x="24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84" y="0"/>
                    <a:pt x="133" y="9"/>
                    <a:pt x="133" y="45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228" y="67"/>
                    <a:pt x="135" y="247"/>
                    <a:pt x="74" y="252"/>
                  </a:cubicBezTo>
                  <a:cubicBezTo>
                    <a:pt x="78" y="204"/>
                    <a:pt x="119" y="164"/>
                    <a:pt x="119" y="126"/>
                  </a:cubicBezTo>
                  <a:cubicBezTo>
                    <a:pt x="119" y="113"/>
                    <a:pt x="92" y="74"/>
                    <a:pt x="82" y="74"/>
                  </a:cubicBezTo>
                  <a:cubicBezTo>
                    <a:pt x="43" y="74"/>
                    <a:pt x="0" y="289"/>
                    <a:pt x="0" y="348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27"/>
                    <a:pt x="13" y="640"/>
                    <a:pt x="22" y="681"/>
                  </a:cubicBezTo>
                  <a:close/>
                  <a:moveTo>
                    <a:pt x="578" y="474"/>
                  </a:moveTo>
                  <a:cubicBezTo>
                    <a:pt x="558" y="432"/>
                    <a:pt x="578" y="359"/>
                    <a:pt x="644" y="341"/>
                  </a:cubicBezTo>
                  <a:cubicBezTo>
                    <a:pt x="671" y="334"/>
                    <a:pt x="702" y="343"/>
                    <a:pt x="682" y="370"/>
                  </a:cubicBezTo>
                  <a:cubicBezTo>
                    <a:pt x="653" y="409"/>
                    <a:pt x="601" y="469"/>
                    <a:pt x="578" y="474"/>
                  </a:cubicBezTo>
                  <a:close/>
                  <a:moveTo>
                    <a:pt x="442" y="428"/>
                  </a:moveTo>
                  <a:cubicBezTo>
                    <a:pt x="450" y="428"/>
                    <a:pt x="457" y="442"/>
                    <a:pt x="457" y="459"/>
                  </a:cubicBezTo>
                  <a:cubicBezTo>
                    <a:pt x="457" y="477"/>
                    <a:pt x="450" y="491"/>
                    <a:pt x="442" y="491"/>
                  </a:cubicBezTo>
                  <a:cubicBezTo>
                    <a:pt x="434" y="491"/>
                    <a:pt x="427" y="477"/>
                    <a:pt x="427" y="459"/>
                  </a:cubicBezTo>
                  <a:cubicBezTo>
                    <a:pt x="427" y="442"/>
                    <a:pt x="434" y="428"/>
                    <a:pt x="442" y="428"/>
                  </a:cubicBezTo>
                  <a:close/>
                  <a:moveTo>
                    <a:pt x="454" y="217"/>
                  </a:moveTo>
                  <a:cubicBezTo>
                    <a:pt x="383" y="324"/>
                    <a:pt x="291" y="381"/>
                    <a:pt x="245" y="488"/>
                  </a:cubicBezTo>
                  <a:cubicBezTo>
                    <a:pt x="228" y="512"/>
                    <a:pt x="222" y="507"/>
                    <a:pt x="227" y="474"/>
                  </a:cubicBezTo>
                  <a:cubicBezTo>
                    <a:pt x="264" y="398"/>
                    <a:pt x="293" y="319"/>
                    <a:pt x="356" y="245"/>
                  </a:cubicBezTo>
                  <a:cubicBezTo>
                    <a:pt x="408" y="185"/>
                    <a:pt x="481" y="167"/>
                    <a:pt x="454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659D485E-D4DB-4D3D-BA03-AEB73EDF51B3}"/>
                </a:ext>
              </a:extLst>
            </p:cNvPr>
            <p:cNvSpPr/>
            <p:nvPr/>
          </p:nvSpPr>
          <p:spPr bwMode="auto">
            <a:xfrm>
              <a:off x="7488238" y="2965450"/>
              <a:ext cx="739775" cy="766763"/>
            </a:xfrm>
            <a:custGeom>
              <a:avLst/>
              <a:gdLst>
                <a:gd name="T0" fmla="*/ 125 w 953"/>
                <a:gd name="T1" fmla="*/ 770 h 988"/>
                <a:gd name="T2" fmla="*/ 162 w 953"/>
                <a:gd name="T3" fmla="*/ 894 h 988"/>
                <a:gd name="T4" fmla="*/ 199 w 953"/>
                <a:gd name="T5" fmla="*/ 939 h 988"/>
                <a:gd name="T6" fmla="*/ 221 w 953"/>
                <a:gd name="T7" fmla="*/ 924 h 988"/>
                <a:gd name="T8" fmla="*/ 354 w 953"/>
                <a:gd name="T9" fmla="*/ 776 h 988"/>
                <a:gd name="T10" fmla="*/ 739 w 953"/>
                <a:gd name="T11" fmla="*/ 429 h 988"/>
                <a:gd name="T12" fmla="*/ 571 w 953"/>
                <a:gd name="T13" fmla="*/ 687 h 988"/>
                <a:gd name="T14" fmla="*/ 798 w 953"/>
                <a:gd name="T15" fmla="*/ 887 h 988"/>
                <a:gd name="T16" fmla="*/ 953 w 953"/>
                <a:gd name="T17" fmla="*/ 828 h 988"/>
                <a:gd name="T18" fmla="*/ 887 w 953"/>
                <a:gd name="T19" fmla="*/ 772 h 988"/>
                <a:gd name="T20" fmla="*/ 704 w 953"/>
                <a:gd name="T21" fmla="*/ 774 h 988"/>
                <a:gd name="T22" fmla="*/ 680 w 953"/>
                <a:gd name="T23" fmla="*/ 628 h 988"/>
                <a:gd name="T24" fmla="*/ 842 w 953"/>
                <a:gd name="T25" fmla="*/ 414 h 988"/>
                <a:gd name="T26" fmla="*/ 721 w 953"/>
                <a:gd name="T27" fmla="*/ 389 h 988"/>
                <a:gd name="T28" fmla="*/ 428 w 953"/>
                <a:gd name="T29" fmla="*/ 562 h 988"/>
                <a:gd name="T30" fmla="*/ 302 w 953"/>
                <a:gd name="T31" fmla="*/ 628 h 988"/>
                <a:gd name="T32" fmla="*/ 177 w 953"/>
                <a:gd name="T33" fmla="*/ 695 h 988"/>
                <a:gd name="T34" fmla="*/ 510 w 953"/>
                <a:gd name="T35" fmla="*/ 392 h 988"/>
                <a:gd name="T36" fmla="*/ 412 w 953"/>
                <a:gd name="T37" fmla="*/ 348 h 988"/>
                <a:gd name="T38" fmla="*/ 909 w 953"/>
                <a:gd name="T39" fmla="*/ 7 h 988"/>
                <a:gd name="T40" fmla="*/ 791 w 953"/>
                <a:gd name="T41" fmla="*/ 22 h 988"/>
                <a:gd name="T42" fmla="*/ 675 w 953"/>
                <a:gd name="T43" fmla="*/ 7 h 988"/>
                <a:gd name="T44" fmla="*/ 283 w 953"/>
                <a:gd name="T45" fmla="*/ 143 h 988"/>
                <a:gd name="T46" fmla="*/ 347 w 953"/>
                <a:gd name="T47" fmla="*/ 229 h 988"/>
                <a:gd name="T48" fmla="*/ 665 w 953"/>
                <a:gd name="T49" fmla="*/ 29 h 988"/>
                <a:gd name="T50" fmla="*/ 445 w 953"/>
                <a:gd name="T51" fmla="*/ 298 h 988"/>
                <a:gd name="T52" fmla="*/ 205 w 953"/>
                <a:gd name="T53" fmla="*/ 454 h 988"/>
                <a:gd name="T54" fmla="*/ 10 w 953"/>
                <a:gd name="T55" fmla="*/ 621 h 988"/>
                <a:gd name="T56" fmla="*/ 147 w 953"/>
                <a:gd name="T57" fmla="*/ 599 h 988"/>
                <a:gd name="T58" fmla="*/ 353 w 953"/>
                <a:gd name="T59" fmla="*/ 605 h 988"/>
                <a:gd name="T60" fmla="*/ 353 w 953"/>
                <a:gd name="T61" fmla="*/ 619 h 988"/>
                <a:gd name="T62" fmla="*/ 353 w 953"/>
                <a:gd name="T63" fmla="*/ 605 h 988"/>
                <a:gd name="T64" fmla="*/ 255 w 953"/>
                <a:gd name="T65" fmla="*/ 882 h 988"/>
                <a:gd name="T66" fmla="*/ 235 w 953"/>
                <a:gd name="T67" fmla="*/ 882 h 988"/>
                <a:gd name="T68" fmla="*/ 155 w 953"/>
                <a:gd name="T69" fmla="*/ 527 h 988"/>
                <a:gd name="T70" fmla="*/ 275 w 953"/>
                <a:gd name="T71" fmla="*/ 452 h 988"/>
                <a:gd name="T72" fmla="*/ 155 w 953"/>
                <a:gd name="T73" fmla="*/ 527 h 988"/>
                <a:gd name="T74" fmla="*/ 413 w 953"/>
                <a:gd name="T75" fmla="*/ 416 h 988"/>
                <a:gd name="T76" fmla="*/ 335 w 953"/>
                <a:gd name="T77" fmla="*/ 460 h 988"/>
                <a:gd name="T78" fmla="*/ 223 w 953"/>
                <a:gd name="T79" fmla="*/ 51 h 988"/>
                <a:gd name="T80" fmla="*/ 180 w 953"/>
                <a:gd name="T81" fmla="*/ 204 h 988"/>
                <a:gd name="T82" fmla="*/ 55 w 953"/>
                <a:gd name="T83" fmla="*/ 271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3" h="988">
                  <a:moveTo>
                    <a:pt x="103" y="754"/>
                  </a:moveTo>
                  <a:cubicBezTo>
                    <a:pt x="111" y="766"/>
                    <a:pt x="104" y="770"/>
                    <a:pt x="125" y="770"/>
                  </a:cubicBezTo>
                  <a:cubicBezTo>
                    <a:pt x="161" y="770"/>
                    <a:pt x="229" y="706"/>
                    <a:pt x="273" y="702"/>
                  </a:cubicBezTo>
                  <a:cubicBezTo>
                    <a:pt x="268" y="757"/>
                    <a:pt x="162" y="841"/>
                    <a:pt x="162" y="894"/>
                  </a:cubicBezTo>
                  <a:cubicBezTo>
                    <a:pt x="162" y="909"/>
                    <a:pt x="172" y="919"/>
                    <a:pt x="177" y="939"/>
                  </a:cubicBezTo>
                  <a:cubicBezTo>
                    <a:pt x="180" y="943"/>
                    <a:pt x="184" y="937"/>
                    <a:pt x="199" y="939"/>
                  </a:cubicBezTo>
                  <a:cubicBezTo>
                    <a:pt x="199" y="924"/>
                    <a:pt x="199" y="924"/>
                    <a:pt x="199" y="924"/>
                  </a:cubicBezTo>
                  <a:cubicBezTo>
                    <a:pt x="221" y="924"/>
                    <a:pt x="221" y="924"/>
                    <a:pt x="221" y="924"/>
                  </a:cubicBezTo>
                  <a:cubicBezTo>
                    <a:pt x="259" y="926"/>
                    <a:pt x="261" y="988"/>
                    <a:pt x="307" y="976"/>
                  </a:cubicBezTo>
                  <a:cubicBezTo>
                    <a:pt x="336" y="933"/>
                    <a:pt x="340" y="866"/>
                    <a:pt x="354" y="776"/>
                  </a:cubicBezTo>
                  <a:cubicBezTo>
                    <a:pt x="358" y="694"/>
                    <a:pt x="389" y="656"/>
                    <a:pt x="437" y="615"/>
                  </a:cubicBezTo>
                  <a:cubicBezTo>
                    <a:pt x="465" y="592"/>
                    <a:pt x="715" y="431"/>
                    <a:pt x="739" y="429"/>
                  </a:cubicBezTo>
                  <a:cubicBezTo>
                    <a:pt x="726" y="475"/>
                    <a:pt x="692" y="518"/>
                    <a:pt x="658" y="542"/>
                  </a:cubicBezTo>
                  <a:cubicBezTo>
                    <a:pt x="612" y="574"/>
                    <a:pt x="571" y="603"/>
                    <a:pt x="571" y="687"/>
                  </a:cubicBezTo>
                  <a:cubicBezTo>
                    <a:pt x="571" y="822"/>
                    <a:pt x="585" y="826"/>
                    <a:pt x="665" y="879"/>
                  </a:cubicBezTo>
                  <a:cubicBezTo>
                    <a:pt x="798" y="887"/>
                    <a:pt x="798" y="887"/>
                    <a:pt x="798" y="887"/>
                  </a:cubicBezTo>
                  <a:cubicBezTo>
                    <a:pt x="842" y="887"/>
                    <a:pt x="842" y="887"/>
                    <a:pt x="842" y="887"/>
                  </a:cubicBezTo>
                  <a:cubicBezTo>
                    <a:pt x="886" y="887"/>
                    <a:pt x="953" y="866"/>
                    <a:pt x="953" y="828"/>
                  </a:cubicBezTo>
                  <a:cubicBezTo>
                    <a:pt x="953" y="806"/>
                    <a:pt x="953" y="806"/>
                    <a:pt x="953" y="806"/>
                  </a:cubicBezTo>
                  <a:cubicBezTo>
                    <a:pt x="953" y="777"/>
                    <a:pt x="917" y="772"/>
                    <a:pt x="887" y="772"/>
                  </a:cubicBezTo>
                  <a:cubicBezTo>
                    <a:pt x="872" y="772"/>
                    <a:pt x="872" y="772"/>
                    <a:pt x="872" y="772"/>
                  </a:cubicBezTo>
                  <a:cubicBezTo>
                    <a:pt x="830" y="772"/>
                    <a:pt x="730" y="781"/>
                    <a:pt x="704" y="774"/>
                  </a:cubicBezTo>
                  <a:cubicBezTo>
                    <a:pt x="655" y="759"/>
                    <a:pt x="658" y="685"/>
                    <a:pt x="680" y="650"/>
                  </a:cubicBezTo>
                  <a:cubicBezTo>
                    <a:pt x="680" y="628"/>
                    <a:pt x="680" y="628"/>
                    <a:pt x="680" y="628"/>
                  </a:cubicBezTo>
                  <a:cubicBezTo>
                    <a:pt x="738" y="589"/>
                    <a:pt x="724" y="563"/>
                    <a:pt x="759" y="516"/>
                  </a:cubicBezTo>
                  <a:cubicBezTo>
                    <a:pt x="775" y="495"/>
                    <a:pt x="842" y="440"/>
                    <a:pt x="842" y="414"/>
                  </a:cubicBezTo>
                  <a:cubicBezTo>
                    <a:pt x="842" y="392"/>
                    <a:pt x="842" y="392"/>
                    <a:pt x="842" y="392"/>
                  </a:cubicBezTo>
                  <a:cubicBezTo>
                    <a:pt x="784" y="378"/>
                    <a:pt x="791" y="355"/>
                    <a:pt x="721" y="389"/>
                  </a:cubicBezTo>
                  <a:cubicBezTo>
                    <a:pt x="687" y="406"/>
                    <a:pt x="652" y="425"/>
                    <a:pt x="621" y="444"/>
                  </a:cubicBezTo>
                  <a:cubicBezTo>
                    <a:pt x="577" y="469"/>
                    <a:pt x="474" y="562"/>
                    <a:pt x="428" y="562"/>
                  </a:cubicBezTo>
                  <a:cubicBezTo>
                    <a:pt x="415" y="562"/>
                    <a:pt x="402" y="524"/>
                    <a:pt x="399" y="510"/>
                  </a:cubicBezTo>
                  <a:cubicBezTo>
                    <a:pt x="332" y="516"/>
                    <a:pt x="302" y="557"/>
                    <a:pt x="302" y="628"/>
                  </a:cubicBezTo>
                  <a:cubicBezTo>
                    <a:pt x="264" y="663"/>
                    <a:pt x="224" y="688"/>
                    <a:pt x="181" y="702"/>
                  </a:cubicBezTo>
                  <a:cubicBezTo>
                    <a:pt x="177" y="695"/>
                    <a:pt x="177" y="695"/>
                    <a:pt x="177" y="695"/>
                  </a:cubicBezTo>
                  <a:cubicBezTo>
                    <a:pt x="182" y="628"/>
                    <a:pt x="297" y="529"/>
                    <a:pt x="347" y="495"/>
                  </a:cubicBezTo>
                  <a:cubicBezTo>
                    <a:pt x="414" y="495"/>
                    <a:pt x="505" y="449"/>
                    <a:pt x="510" y="392"/>
                  </a:cubicBezTo>
                  <a:cubicBezTo>
                    <a:pt x="436" y="382"/>
                    <a:pt x="436" y="382"/>
                    <a:pt x="436" y="382"/>
                  </a:cubicBezTo>
                  <a:cubicBezTo>
                    <a:pt x="412" y="348"/>
                    <a:pt x="412" y="348"/>
                    <a:pt x="412" y="348"/>
                  </a:cubicBezTo>
                  <a:cubicBezTo>
                    <a:pt x="471" y="262"/>
                    <a:pt x="916" y="66"/>
                    <a:pt x="916" y="37"/>
                  </a:cubicBezTo>
                  <a:cubicBezTo>
                    <a:pt x="916" y="21"/>
                    <a:pt x="914" y="27"/>
                    <a:pt x="909" y="7"/>
                  </a:cubicBezTo>
                  <a:cubicBezTo>
                    <a:pt x="892" y="3"/>
                    <a:pt x="892" y="0"/>
                    <a:pt x="872" y="0"/>
                  </a:cubicBezTo>
                  <a:cubicBezTo>
                    <a:pt x="840" y="0"/>
                    <a:pt x="827" y="22"/>
                    <a:pt x="791" y="22"/>
                  </a:cubicBezTo>
                  <a:cubicBezTo>
                    <a:pt x="760" y="22"/>
                    <a:pt x="744" y="7"/>
                    <a:pt x="702" y="7"/>
                  </a:cubicBezTo>
                  <a:cubicBezTo>
                    <a:pt x="675" y="7"/>
                    <a:pt x="675" y="7"/>
                    <a:pt x="675" y="7"/>
                  </a:cubicBezTo>
                  <a:cubicBezTo>
                    <a:pt x="527" y="10"/>
                    <a:pt x="404" y="155"/>
                    <a:pt x="361" y="155"/>
                  </a:cubicBezTo>
                  <a:cubicBezTo>
                    <a:pt x="330" y="155"/>
                    <a:pt x="322" y="143"/>
                    <a:pt x="283" y="143"/>
                  </a:cubicBezTo>
                  <a:cubicBezTo>
                    <a:pt x="269" y="143"/>
                    <a:pt x="270" y="145"/>
                    <a:pt x="261" y="151"/>
                  </a:cubicBezTo>
                  <a:cubicBezTo>
                    <a:pt x="272" y="167"/>
                    <a:pt x="325" y="229"/>
                    <a:pt x="347" y="229"/>
                  </a:cubicBezTo>
                  <a:cubicBezTo>
                    <a:pt x="396" y="239"/>
                    <a:pt x="448" y="55"/>
                    <a:pt x="650" y="32"/>
                  </a:cubicBezTo>
                  <a:cubicBezTo>
                    <a:pt x="665" y="29"/>
                    <a:pt x="665" y="29"/>
                    <a:pt x="665" y="29"/>
                  </a:cubicBezTo>
                  <a:cubicBezTo>
                    <a:pt x="712" y="29"/>
                    <a:pt x="702" y="63"/>
                    <a:pt x="764" y="68"/>
                  </a:cubicBezTo>
                  <a:cubicBezTo>
                    <a:pt x="754" y="105"/>
                    <a:pt x="496" y="269"/>
                    <a:pt x="445" y="298"/>
                  </a:cubicBezTo>
                  <a:cubicBezTo>
                    <a:pt x="383" y="334"/>
                    <a:pt x="336" y="367"/>
                    <a:pt x="279" y="405"/>
                  </a:cubicBezTo>
                  <a:cubicBezTo>
                    <a:pt x="259" y="418"/>
                    <a:pt x="233" y="437"/>
                    <a:pt x="205" y="454"/>
                  </a:cubicBezTo>
                  <a:cubicBezTo>
                    <a:pt x="170" y="475"/>
                    <a:pt x="133" y="495"/>
                    <a:pt x="117" y="517"/>
                  </a:cubicBezTo>
                  <a:cubicBezTo>
                    <a:pt x="59" y="517"/>
                    <a:pt x="10" y="567"/>
                    <a:pt x="10" y="621"/>
                  </a:cubicBezTo>
                  <a:cubicBezTo>
                    <a:pt x="10" y="639"/>
                    <a:pt x="12" y="663"/>
                    <a:pt x="39" y="650"/>
                  </a:cubicBezTo>
                  <a:cubicBezTo>
                    <a:pt x="147" y="599"/>
                    <a:pt x="147" y="599"/>
                    <a:pt x="147" y="599"/>
                  </a:cubicBezTo>
                  <a:cubicBezTo>
                    <a:pt x="144" y="646"/>
                    <a:pt x="103" y="645"/>
                    <a:pt x="103" y="754"/>
                  </a:cubicBezTo>
                  <a:close/>
                  <a:moveTo>
                    <a:pt x="353" y="605"/>
                  </a:moveTo>
                  <a:cubicBezTo>
                    <a:pt x="355" y="605"/>
                    <a:pt x="357" y="608"/>
                    <a:pt x="357" y="612"/>
                  </a:cubicBezTo>
                  <a:cubicBezTo>
                    <a:pt x="357" y="616"/>
                    <a:pt x="355" y="619"/>
                    <a:pt x="353" y="619"/>
                  </a:cubicBezTo>
                  <a:cubicBezTo>
                    <a:pt x="351" y="619"/>
                    <a:pt x="349" y="616"/>
                    <a:pt x="349" y="612"/>
                  </a:cubicBezTo>
                  <a:cubicBezTo>
                    <a:pt x="349" y="608"/>
                    <a:pt x="351" y="605"/>
                    <a:pt x="353" y="605"/>
                  </a:cubicBezTo>
                  <a:close/>
                  <a:moveTo>
                    <a:pt x="245" y="866"/>
                  </a:moveTo>
                  <a:cubicBezTo>
                    <a:pt x="250" y="866"/>
                    <a:pt x="255" y="873"/>
                    <a:pt x="255" y="882"/>
                  </a:cubicBezTo>
                  <a:cubicBezTo>
                    <a:pt x="255" y="890"/>
                    <a:pt x="250" y="897"/>
                    <a:pt x="245" y="897"/>
                  </a:cubicBezTo>
                  <a:cubicBezTo>
                    <a:pt x="239" y="897"/>
                    <a:pt x="235" y="890"/>
                    <a:pt x="235" y="882"/>
                  </a:cubicBezTo>
                  <a:cubicBezTo>
                    <a:pt x="235" y="873"/>
                    <a:pt x="239" y="866"/>
                    <a:pt x="245" y="866"/>
                  </a:cubicBezTo>
                  <a:close/>
                  <a:moveTo>
                    <a:pt x="155" y="527"/>
                  </a:moveTo>
                  <a:cubicBezTo>
                    <a:pt x="187" y="497"/>
                    <a:pt x="225" y="474"/>
                    <a:pt x="260" y="449"/>
                  </a:cubicBezTo>
                  <a:cubicBezTo>
                    <a:pt x="271" y="442"/>
                    <a:pt x="276" y="444"/>
                    <a:pt x="275" y="452"/>
                  </a:cubicBezTo>
                  <a:cubicBezTo>
                    <a:pt x="259" y="478"/>
                    <a:pt x="232" y="508"/>
                    <a:pt x="192" y="529"/>
                  </a:cubicBezTo>
                  <a:cubicBezTo>
                    <a:pt x="168" y="541"/>
                    <a:pt x="149" y="533"/>
                    <a:pt x="155" y="527"/>
                  </a:cubicBezTo>
                  <a:close/>
                  <a:moveTo>
                    <a:pt x="363" y="417"/>
                  </a:moveTo>
                  <a:cubicBezTo>
                    <a:pt x="384" y="405"/>
                    <a:pt x="407" y="404"/>
                    <a:pt x="413" y="416"/>
                  </a:cubicBezTo>
                  <a:cubicBezTo>
                    <a:pt x="419" y="427"/>
                    <a:pt x="407" y="446"/>
                    <a:pt x="385" y="458"/>
                  </a:cubicBezTo>
                  <a:cubicBezTo>
                    <a:pt x="364" y="470"/>
                    <a:pt x="341" y="471"/>
                    <a:pt x="335" y="460"/>
                  </a:cubicBezTo>
                  <a:cubicBezTo>
                    <a:pt x="329" y="449"/>
                    <a:pt x="341" y="430"/>
                    <a:pt x="363" y="417"/>
                  </a:cubicBezTo>
                  <a:close/>
                  <a:moveTo>
                    <a:pt x="223" y="51"/>
                  </a:moveTo>
                  <a:cubicBezTo>
                    <a:pt x="236" y="24"/>
                    <a:pt x="269" y="38"/>
                    <a:pt x="233" y="133"/>
                  </a:cubicBezTo>
                  <a:cubicBezTo>
                    <a:pt x="224" y="156"/>
                    <a:pt x="200" y="178"/>
                    <a:pt x="180" y="204"/>
                  </a:cubicBezTo>
                  <a:cubicBezTo>
                    <a:pt x="151" y="241"/>
                    <a:pt x="118" y="281"/>
                    <a:pt x="79" y="323"/>
                  </a:cubicBezTo>
                  <a:cubicBezTo>
                    <a:pt x="17" y="375"/>
                    <a:pt x="0" y="328"/>
                    <a:pt x="55" y="271"/>
                  </a:cubicBezTo>
                  <a:cubicBezTo>
                    <a:pt x="120" y="209"/>
                    <a:pt x="178" y="148"/>
                    <a:pt x="22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894CCAD0-CF5E-4562-A35C-5D886D286EE9}"/>
                </a:ext>
              </a:extLst>
            </p:cNvPr>
            <p:cNvSpPr/>
            <p:nvPr/>
          </p:nvSpPr>
          <p:spPr bwMode="auto">
            <a:xfrm>
              <a:off x="9072563" y="2971800"/>
              <a:ext cx="873125" cy="757238"/>
            </a:xfrm>
            <a:custGeom>
              <a:avLst/>
              <a:gdLst>
                <a:gd name="T0" fmla="*/ 599 w 1124"/>
                <a:gd name="T1" fmla="*/ 889 h 976"/>
                <a:gd name="T2" fmla="*/ 554 w 1124"/>
                <a:gd name="T3" fmla="*/ 803 h 976"/>
                <a:gd name="T4" fmla="*/ 614 w 1124"/>
                <a:gd name="T5" fmla="*/ 889 h 976"/>
                <a:gd name="T6" fmla="*/ 489 w 1124"/>
                <a:gd name="T7" fmla="*/ 514 h 976"/>
                <a:gd name="T8" fmla="*/ 461 w 1124"/>
                <a:gd name="T9" fmla="*/ 514 h 976"/>
                <a:gd name="T10" fmla="*/ 493 w 1124"/>
                <a:gd name="T11" fmla="*/ 439 h 976"/>
                <a:gd name="T12" fmla="*/ 493 w 1124"/>
                <a:gd name="T13" fmla="*/ 462 h 976"/>
                <a:gd name="T14" fmla="*/ 493 w 1124"/>
                <a:gd name="T15" fmla="*/ 439 h 976"/>
                <a:gd name="T16" fmla="*/ 733 w 1124"/>
                <a:gd name="T17" fmla="*/ 364 h 976"/>
                <a:gd name="T18" fmla="*/ 706 w 1124"/>
                <a:gd name="T19" fmla="*/ 364 h 976"/>
                <a:gd name="T20" fmla="*/ 723 w 1124"/>
                <a:gd name="T21" fmla="*/ 502 h 976"/>
                <a:gd name="T22" fmla="*/ 594 w 1124"/>
                <a:gd name="T23" fmla="*/ 564 h 976"/>
                <a:gd name="T24" fmla="*/ 723 w 1124"/>
                <a:gd name="T25" fmla="*/ 502 h 976"/>
                <a:gd name="T26" fmla="*/ 717 w 1124"/>
                <a:gd name="T27" fmla="*/ 274 h 976"/>
                <a:gd name="T28" fmla="*/ 806 w 1124"/>
                <a:gd name="T29" fmla="*/ 367 h 976"/>
                <a:gd name="T30" fmla="*/ 858 w 1124"/>
                <a:gd name="T31" fmla="*/ 141 h 976"/>
                <a:gd name="T32" fmla="*/ 717 w 1124"/>
                <a:gd name="T33" fmla="*/ 244 h 976"/>
                <a:gd name="T34" fmla="*/ 0 w 1124"/>
                <a:gd name="T35" fmla="*/ 762 h 976"/>
                <a:gd name="T36" fmla="*/ 102 w 1124"/>
                <a:gd name="T37" fmla="*/ 806 h 976"/>
                <a:gd name="T38" fmla="*/ 285 w 1124"/>
                <a:gd name="T39" fmla="*/ 626 h 976"/>
                <a:gd name="T40" fmla="*/ 540 w 1124"/>
                <a:gd name="T41" fmla="*/ 570 h 976"/>
                <a:gd name="T42" fmla="*/ 503 w 1124"/>
                <a:gd name="T43" fmla="*/ 666 h 976"/>
                <a:gd name="T44" fmla="*/ 673 w 1124"/>
                <a:gd name="T45" fmla="*/ 607 h 976"/>
                <a:gd name="T46" fmla="*/ 514 w 1124"/>
                <a:gd name="T47" fmla="*/ 784 h 976"/>
                <a:gd name="T48" fmla="*/ 651 w 1124"/>
                <a:gd name="T49" fmla="*/ 976 h 976"/>
                <a:gd name="T50" fmla="*/ 807 w 1124"/>
                <a:gd name="T51" fmla="*/ 836 h 976"/>
                <a:gd name="T52" fmla="*/ 799 w 1124"/>
                <a:gd name="T53" fmla="*/ 748 h 976"/>
                <a:gd name="T54" fmla="*/ 850 w 1124"/>
                <a:gd name="T55" fmla="*/ 710 h 976"/>
                <a:gd name="T56" fmla="*/ 791 w 1124"/>
                <a:gd name="T57" fmla="*/ 584 h 976"/>
                <a:gd name="T58" fmla="*/ 769 w 1124"/>
                <a:gd name="T59" fmla="*/ 525 h 976"/>
                <a:gd name="T60" fmla="*/ 1109 w 1124"/>
                <a:gd name="T61" fmla="*/ 466 h 976"/>
                <a:gd name="T62" fmla="*/ 1041 w 1124"/>
                <a:gd name="T63" fmla="*/ 396 h 976"/>
                <a:gd name="T64" fmla="*/ 946 w 1124"/>
                <a:gd name="T65" fmla="*/ 169 h 976"/>
                <a:gd name="T66" fmla="*/ 747 w 1124"/>
                <a:gd name="T67" fmla="*/ 45 h 976"/>
                <a:gd name="T68" fmla="*/ 651 w 1124"/>
                <a:gd name="T69" fmla="*/ 15 h 976"/>
                <a:gd name="T70" fmla="*/ 636 w 1124"/>
                <a:gd name="T71" fmla="*/ 170 h 976"/>
                <a:gd name="T72" fmla="*/ 624 w 1124"/>
                <a:gd name="T73" fmla="*/ 306 h 976"/>
                <a:gd name="T74" fmla="*/ 584 w 1124"/>
                <a:gd name="T75" fmla="*/ 436 h 976"/>
                <a:gd name="T76" fmla="*/ 599 w 1124"/>
                <a:gd name="T77" fmla="*/ 481 h 976"/>
                <a:gd name="T78" fmla="*/ 547 w 1124"/>
                <a:gd name="T79" fmla="*/ 496 h 976"/>
                <a:gd name="T80" fmla="*/ 498 w 1124"/>
                <a:gd name="T81" fmla="*/ 153 h 976"/>
                <a:gd name="T82" fmla="*/ 472 w 1124"/>
                <a:gd name="T83" fmla="*/ 292 h 976"/>
                <a:gd name="T84" fmla="*/ 429 w 1124"/>
                <a:gd name="T85" fmla="*/ 435 h 976"/>
                <a:gd name="T86" fmla="*/ 266 w 1124"/>
                <a:gd name="T87" fmla="*/ 289 h 976"/>
                <a:gd name="T88" fmla="*/ 396 w 1124"/>
                <a:gd name="T89" fmla="*/ 501 h 976"/>
                <a:gd name="T90" fmla="*/ 291 w 1124"/>
                <a:gd name="T91" fmla="*/ 572 h 976"/>
                <a:gd name="T92" fmla="*/ 303 w 1124"/>
                <a:gd name="T93" fmla="*/ 481 h 976"/>
                <a:gd name="T94" fmla="*/ 279 w 1124"/>
                <a:gd name="T95" fmla="*/ 457 h 976"/>
                <a:gd name="T96" fmla="*/ 112 w 1124"/>
                <a:gd name="T97" fmla="*/ 579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4" h="976">
                  <a:moveTo>
                    <a:pt x="614" y="889"/>
                  </a:moveTo>
                  <a:cubicBezTo>
                    <a:pt x="599" y="889"/>
                    <a:pt x="599" y="889"/>
                    <a:pt x="599" y="889"/>
                  </a:cubicBezTo>
                  <a:cubicBezTo>
                    <a:pt x="575" y="889"/>
                    <a:pt x="554" y="855"/>
                    <a:pt x="554" y="828"/>
                  </a:cubicBezTo>
                  <a:cubicBezTo>
                    <a:pt x="554" y="803"/>
                    <a:pt x="554" y="803"/>
                    <a:pt x="554" y="803"/>
                  </a:cubicBezTo>
                  <a:cubicBezTo>
                    <a:pt x="586" y="792"/>
                    <a:pt x="628" y="787"/>
                    <a:pt x="673" y="784"/>
                  </a:cubicBezTo>
                  <a:cubicBezTo>
                    <a:pt x="672" y="823"/>
                    <a:pt x="650" y="889"/>
                    <a:pt x="614" y="889"/>
                  </a:cubicBezTo>
                  <a:close/>
                  <a:moveTo>
                    <a:pt x="475" y="497"/>
                  </a:moveTo>
                  <a:cubicBezTo>
                    <a:pt x="483" y="497"/>
                    <a:pt x="489" y="505"/>
                    <a:pt x="489" y="514"/>
                  </a:cubicBezTo>
                  <a:cubicBezTo>
                    <a:pt x="489" y="523"/>
                    <a:pt x="483" y="531"/>
                    <a:pt x="475" y="531"/>
                  </a:cubicBezTo>
                  <a:cubicBezTo>
                    <a:pt x="467" y="531"/>
                    <a:pt x="461" y="523"/>
                    <a:pt x="461" y="514"/>
                  </a:cubicBezTo>
                  <a:cubicBezTo>
                    <a:pt x="461" y="505"/>
                    <a:pt x="467" y="497"/>
                    <a:pt x="475" y="497"/>
                  </a:cubicBezTo>
                  <a:close/>
                  <a:moveTo>
                    <a:pt x="493" y="439"/>
                  </a:moveTo>
                  <a:cubicBezTo>
                    <a:pt x="496" y="439"/>
                    <a:pt x="499" y="444"/>
                    <a:pt x="499" y="450"/>
                  </a:cubicBezTo>
                  <a:cubicBezTo>
                    <a:pt x="499" y="457"/>
                    <a:pt x="496" y="462"/>
                    <a:pt x="493" y="462"/>
                  </a:cubicBezTo>
                  <a:cubicBezTo>
                    <a:pt x="489" y="462"/>
                    <a:pt x="486" y="457"/>
                    <a:pt x="486" y="450"/>
                  </a:cubicBezTo>
                  <a:cubicBezTo>
                    <a:pt x="486" y="444"/>
                    <a:pt x="489" y="439"/>
                    <a:pt x="493" y="439"/>
                  </a:cubicBezTo>
                  <a:close/>
                  <a:moveTo>
                    <a:pt x="726" y="323"/>
                  </a:moveTo>
                  <a:cubicBezTo>
                    <a:pt x="733" y="323"/>
                    <a:pt x="737" y="342"/>
                    <a:pt x="733" y="364"/>
                  </a:cubicBezTo>
                  <a:cubicBezTo>
                    <a:pt x="729" y="385"/>
                    <a:pt x="728" y="401"/>
                    <a:pt x="718" y="401"/>
                  </a:cubicBezTo>
                  <a:cubicBezTo>
                    <a:pt x="707" y="401"/>
                    <a:pt x="706" y="384"/>
                    <a:pt x="706" y="364"/>
                  </a:cubicBezTo>
                  <a:cubicBezTo>
                    <a:pt x="706" y="343"/>
                    <a:pt x="718" y="323"/>
                    <a:pt x="726" y="323"/>
                  </a:cubicBezTo>
                  <a:close/>
                  <a:moveTo>
                    <a:pt x="723" y="502"/>
                  </a:moveTo>
                  <a:cubicBezTo>
                    <a:pt x="732" y="503"/>
                    <a:pt x="728" y="516"/>
                    <a:pt x="711" y="518"/>
                  </a:cubicBezTo>
                  <a:cubicBezTo>
                    <a:pt x="663" y="527"/>
                    <a:pt x="639" y="541"/>
                    <a:pt x="594" y="564"/>
                  </a:cubicBezTo>
                  <a:cubicBezTo>
                    <a:pt x="571" y="576"/>
                    <a:pt x="550" y="554"/>
                    <a:pt x="598" y="527"/>
                  </a:cubicBezTo>
                  <a:cubicBezTo>
                    <a:pt x="634" y="507"/>
                    <a:pt x="678" y="501"/>
                    <a:pt x="723" y="502"/>
                  </a:cubicBezTo>
                  <a:close/>
                  <a:moveTo>
                    <a:pt x="717" y="244"/>
                  </a:moveTo>
                  <a:cubicBezTo>
                    <a:pt x="717" y="274"/>
                    <a:pt x="717" y="274"/>
                    <a:pt x="717" y="274"/>
                  </a:cubicBezTo>
                  <a:cubicBezTo>
                    <a:pt x="776" y="274"/>
                    <a:pt x="776" y="274"/>
                    <a:pt x="776" y="274"/>
                  </a:cubicBezTo>
                  <a:cubicBezTo>
                    <a:pt x="821" y="274"/>
                    <a:pt x="806" y="337"/>
                    <a:pt x="806" y="367"/>
                  </a:cubicBezTo>
                  <a:cubicBezTo>
                    <a:pt x="845" y="341"/>
                    <a:pt x="874" y="228"/>
                    <a:pt x="887" y="170"/>
                  </a:cubicBezTo>
                  <a:cubicBezTo>
                    <a:pt x="879" y="154"/>
                    <a:pt x="881" y="141"/>
                    <a:pt x="858" y="141"/>
                  </a:cubicBezTo>
                  <a:cubicBezTo>
                    <a:pt x="843" y="141"/>
                    <a:pt x="843" y="141"/>
                    <a:pt x="843" y="141"/>
                  </a:cubicBezTo>
                  <a:cubicBezTo>
                    <a:pt x="799" y="141"/>
                    <a:pt x="717" y="210"/>
                    <a:pt x="717" y="244"/>
                  </a:cubicBezTo>
                  <a:close/>
                  <a:moveTo>
                    <a:pt x="7" y="725"/>
                  </a:moveTo>
                  <a:cubicBezTo>
                    <a:pt x="3" y="741"/>
                    <a:pt x="0" y="742"/>
                    <a:pt x="0" y="762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49"/>
                    <a:pt x="86" y="815"/>
                    <a:pt x="102" y="806"/>
                  </a:cubicBezTo>
                  <a:cubicBezTo>
                    <a:pt x="111" y="717"/>
                    <a:pt x="111" y="717"/>
                    <a:pt x="111" y="717"/>
                  </a:cubicBezTo>
                  <a:cubicBezTo>
                    <a:pt x="155" y="687"/>
                    <a:pt x="221" y="638"/>
                    <a:pt x="285" y="626"/>
                  </a:cubicBezTo>
                  <a:cubicBezTo>
                    <a:pt x="326" y="618"/>
                    <a:pt x="501" y="570"/>
                    <a:pt x="503" y="570"/>
                  </a:cubicBezTo>
                  <a:cubicBezTo>
                    <a:pt x="540" y="570"/>
                    <a:pt x="540" y="570"/>
                    <a:pt x="540" y="570"/>
                  </a:cubicBezTo>
                  <a:cubicBezTo>
                    <a:pt x="531" y="603"/>
                    <a:pt x="503" y="618"/>
                    <a:pt x="503" y="658"/>
                  </a:cubicBezTo>
                  <a:cubicBezTo>
                    <a:pt x="503" y="666"/>
                    <a:pt x="503" y="666"/>
                    <a:pt x="503" y="666"/>
                  </a:cubicBezTo>
                  <a:cubicBezTo>
                    <a:pt x="503" y="701"/>
                    <a:pt x="537" y="680"/>
                    <a:pt x="577" y="680"/>
                  </a:cubicBezTo>
                  <a:cubicBezTo>
                    <a:pt x="603" y="641"/>
                    <a:pt x="618" y="619"/>
                    <a:pt x="673" y="607"/>
                  </a:cubicBezTo>
                  <a:cubicBezTo>
                    <a:pt x="673" y="658"/>
                    <a:pt x="673" y="658"/>
                    <a:pt x="673" y="658"/>
                  </a:cubicBezTo>
                  <a:cubicBezTo>
                    <a:pt x="673" y="726"/>
                    <a:pt x="514" y="702"/>
                    <a:pt x="514" y="784"/>
                  </a:cubicBezTo>
                  <a:cubicBezTo>
                    <a:pt x="514" y="871"/>
                    <a:pt x="563" y="976"/>
                    <a:pt x="643" y="976"/>
                  </a:cubicBezTo>
                  <a:cubicBezTo>
                    <a:pt x="651" y="976"/>
                    <a:pt x="651" y="976"/>
                    <a:pt x="651" y="976"/>
                  </a:cubicBezTo>
                  <a:cubicBezTo>
                    <a:pt x="693" y="976"/>
                    <a:pt x="741" y="962"/>
                    <a:pt x="759" y="937"/>
                  </a:cubicBezTo>
                  <a:cubicBezTo>
                    <a:pt x="767" y="926"/>
                    <a:pt x="807" y="845"/>
                    <a:pt x="807" y="836"/>
                  </a:cubicBezTo>
                  <a:cubicBezTo>
                    <a:pt x="794" y="782"/>
                    <a:pt x="794" y="782"/>
                    <a:pt x="794" y="782"/>
                  </a:cubicBezTo>
                  <a:cubicBezTo>
                    <a:pt x="799" y="748"/>
                    <a:pt x="799" y="748"/>
                    <a:pt x="799" y="748"/>
                  </a:cubicBezTo>
                  <a:cubicBezTo>
                    <a:pt x="846" y="737"/>
                    <a:pt x="846" y="737"/>
                    <a:pt x="846" y="737"/>
                  </a:cubicBezTo>
                  <a:cubicBezTo>
                    <a:pt x="850" y="710"/>
                    <a:pt x="850" y="710"/>
                    <a:pt x="850" y="710"/>
                  </a:cubicBezTo>
                  <a:cubicBezTo>
                    <a:pt x="818" y="663"/>
                    <a:pt x="827" y="677"/>
                    <a:pt x="766" y="663"/>
                  </a:cubicBezTo>
                  <a:cubicBezTo>
                    <a:pt x="767" y="603"/>
                    <a:pt x="791" y="614"/>
                    <a:pt x="791" y="584"/>
                  </a:cubicBezTo>
                  <a:cubicBezTo>
                    <a:pt x="791" y="570"/>
                    <a:pt x="791" y="570"/>
                    <a:pt x="791" y="570"/>
                  </a:cubicBezTo>
                  <a:cubicBezTo>
                    <a:pt x="791" y="544"/>
                    <a:pt x="778" y="559"/>
                    <a:pt x="769" y="525"/>
                  </a:cubicBezTo>
                  <a:cubicBezTo>
                    <a:pt x="840" y="525"/>
                    <a:pt x="948" y="466"/>
                    <a:pt x="1028" y="466"/>
                  </a:cubicBezTo>
                  <a:cubicBezTo>
                    <a:pt x="1109" y="466"/>
                    <a:pt x="1109" y="466"/>
                    <a:pt x="1109" y="466"/>
                  </a:cubicBezTo>
                  <a:cubicBezTo>
                    <a:pt x="1114" y="446"/>
                    <a:pt x="1124" y="441"/>
                    <a:pt x="1124" y="426"/>
                  </a:cubicBezTo>
                  <a:cubicBezTo>
                    <a:pt x="1124" y="407"/>
                    <a:pt x="1087" y="391"/>
                    <a:pt x="1041" y="396"/>
                  </a:cubicBezTo>
                  <a:cubicBezTo>
                    <a:pt x="979" y="403"/>
                    <a:pt x="908" y="398"/>
                    <a:pt x="872" y="407"/>
                  </a:cubicBezTo>
                  <a:cubicBezTo>
                    <a:pt x="874" y="347"/>
                    <a:pt x="946" y="236"/>
                    <a:pt x="946" y="169"/>
                  </a:cubicBezTo>
                  <a:cubicBezTo>
                    <a:pt x="946" y="3"/>
                    <a:pt x="739" y="155"/>
                    <a:pt x="715" y="164"/>
                  </a:cubicBezTo>
                  <a:cubicBezTo>
                    <a:pt x="734" y="124"/>
                    <a:pt x="748" y="85"/>
                    <a:pt x="747" y="45"/>
                  </a:cubicBezTo>
                  <a:cubicBezTo>
                    <a:pt x="730" y="20"/>
                    <a:pt x="720" y="0"/>
                    <a:pt x="680" y="0"/>
                  </a:cubicBezTo>
                  <a:cubicBezTo>
                    <a:pt x="670" y="0"/>
                    <a:pt x="676" y="8"/>
                    <a:pt x="651" y="15"/>
                  </a:cubicBezTo>
                  <a:cubicBezTo>
                    <a:pt x="654" y="61"/>
                    <a:pt x="673" y="36"/>
                    <a:pt x="673" y="67"/>
                  </a:cubicBezTo>
                  <a:cubicBezTo>
                    <a:pt x="673" y="107"/>
                    <a:pt x="636" y="130"/>
                    <a:pt x="636" y="170"/>
                  </a:cubicBezTo>
                  <a:cubicBezTo>
                    <a:pt x="636" y="200"/>
                    <a:pt x="636" y="200"/>
                    <a:pt x="636" y="200"/>
                  </a:cubicBezTo>
                  <a:cubicBezTo>
                    <a:pt x="636" y="269"/>
                    <a:pt x="659" y="250"/>
                    <a:pt x="624" y="306"/>
                  </a:cubicBezTo>
                  <a:cubicBezTo>
                    <a:pt x="605" y="336"/>
                    <a:pt x="592" y="370"/>
                    <a:pt x="577" y="399"/>
                  </a:cubicBezTo>
                  <a:cubicBezTo>
                    <a:pt x="580" y="416"/>
                    <a:pt x="584" y="416"/>
                    <a:pt x="584" y="436"/>
                  </a:cubicBezTo>
                  <a:cubicBezTo>
                    <a:pt x="584" y="456"/>
                    <a:pt x="580" y="457"/>
                    <a:pt x="576" y="474"/>
                  </a:cubicBezTo>
                  <a:cubicBezTo>
                    <a:pt x="599" y="481"/>
                    <a:pt x="599" y="481"/>
                    <a:pt x="599" y="481"/>
                  </a:cubicBezTo>
                  <a:cubicBezTo>
                    <a:pt x="602" y="497"/>
                    <a:pt x="594" y="500"/>
                    <a:pt x="573" y="500"/>
                  </a:cubicBezTo>
                  <a:cubicBezTo>
                    <a:pt x="547" y="496"/>
                    <a:pt x="547" y="496"/>
                    <a:pt x="547" y="496"/>
                  </a:cubicBezTo>
                  <a:cubicBezTo>
                    <a:pt x="545" y="428"/>
                    <a:pt x="529" y="332"/>
                    <a:pt x="516" y="268"/>
                  </a:cubicBezTo>
                  <a:cubicBezTo>
                    <a:pt x="509" y="235"/>
                    <a:pt x="505" y="192"/>
                    <a:pt x="498" y="153"/>
                  </a:cubicBezTo>
                  <a:cubicBezTo>
                    <a:pt x="489" y="102"/>
                    <a:pt x="513" y="57"/>
                    <a:pt x="473" y="48"/>
                  </a:cubicBezTo>
                  <a:cubicBezTo>
                    <a:pt x="460" y="131"/>
                    <a:pt x="464" y="212"/>
                    <a:pt x="472" y="292"/>
                  </a:cubicBezTo>
                  <a:cubicBezTo>
                    <a:pt x="475" y="323"/>
                    <a:pt x="474" y="354"/>
                    <a:pt x="480" y="385"/>
                  </a:cubicBezTo>
                  <a:cubicBezTo>
                    <a:pt x="470" y="400"/>
                    <a:pt x="453" y="435"/>
                    <a:pt x="429" y="435"/>
                  </a:cubicBezTo>
                  <a:cubicBezTo>
                    <a:pt x="412" y="435"/>
                    <a:pt x="357" y="244"/>
                    <a:pt x="318" y="244"/>
                  </a:cubicBezTo>
                  <a:cubicBezTo>
                    <a:pt x="283" y="244"/>
                    <a:pt x="273" y="260"/>
                    <a:pt x="266" y="289"/>
                  </a:cubicBezTo>
                  <a:cubicBezTo>
                    <a:pt x="320" y="303"/>
                    <a:pt x="343" y="347"/>
                    <a:pt x="364" y="397"/>
                  </a:cubicBezTo>
                  <a:cubicBezTo>
                    <a:pt x="371" y="413"/>
                    <a:pt x="390" y="468"/>
                    <a:pt x="396" y="501"/>
                  </a:cubicBezTo>
                  <a:cubicBezTo>
                    <a:pt x="405" y="514"/>
                    <a:pt x="419" y="540"/>
                    <a:pt x="421" y="547"/>
                  </a:cubicBezTo>
                  <a:cubicBezTo>
                    <a:pt x="389" y="563"/>
                    <a:pt x="334" y="563"/>
                    <a:pt x="291" y="572"/>
                  </a:cubicBezTo>
                  <a:cubicBezTo>
                    <a:pt x="231" y="585"/>
                    <a:pt x="218" y="612"/>
                    <a:pt x="177" y="621"/>
                  </a:cubicBezTo>
                  <a:cubicBezTo>
                    <a:pt x="193" y="553"/>
                    <a:pt x="219" y="481"/>
                    <a:pt x="303" y="481"/>
                  </a:cubicBezTo>
                  <a:cubicBezTo>
                    <a:pt x="347" y="481"/>
                    <a:pt x="347" y="481"/>
                    <a:pt x="347" y="481"/>
                  </a:cubicBezTo>
                  <a:cubicBezTo>
                    <a:pt x="339" y="457"/>
                    <a:pt x="310" y="457"/>
                    <a:pt x="279" y="457"/>
                  </a:cubicBezTo>
                  <a:cubicBezTo>
                    <a:pt x="226" y="457"/>
                    <a:pt x="210" y="477"/>
                    <a:pt x="168" y="514"/>
                  </a:cubicBezTo>
                  <a:cubicBezTo>
                    <a:pt x="140" y="538"/>
                    <a:pt x="135" y="552"/>
                    <a:pt x="112" y="579"/>
                  </a:cubicBezTo>
                  <a:cubicBezTo>
                    <a:pt x="67" y="631"/>
                    <a:pt x="40" y="662"/>
                    <a:pt x="7" y="7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65D6E68C-D1DB-42AD-A7C5-62FCA4FDF31E}"/>
                </a:ext>
              </a:extLst>
            </p:cNvPr>
            <p:cNvSpPr/>
            <p:nvPr/>
          </p:nvSpPr>
          <p:spPr bwMode="auto">
            <a:xfrm>
              <a:off x="3276601" y="2662238"/>
              <a:ext cx="663575" cy="795338"/>
            </a:xfrm>
            <a:custGeom>
              <a:avLst/>
              <a:gdLst>
                <a:gd name="T0" fmla="*/ 2 w 856"/>
                <a:gd name="T1" fmla="*/ 35 h 1024"/>
                <a:gd name="T2" fmla="*/ 23 w 856"/>
                <a:gd name="T3" fmla="*/ 42 h 1024"/>
                <a:gd name="T4" fmla="*/ 86 w 856"/>
                <a:gd name="T5" fmla="*/ 14 h 1024"/>
                <a:gd name="T6" fmla="*/ 156 w 856"/>
                <a:gd name="T7" fmla="*/ 37 h 1024"/>
                <a:gd name="T8" fmla="*/ 93 w 856"/>
                <a:gd name="T9" fmla="*/ 93 h 1024"/>
                <a:gd name="T10" fmla="*/ 165 w 856"/>
                <a:gd name="T11" fmla="*/ 90 h 1024"/>
                <a:gd name="T12" fmla="*/ 192 w 856"/>
                <a:gd name="T13" fmla="*/ 141 h 1024"/>
                <a:gd name="T14" fmla="*/ 149 w 856"/>
                <a:gd name="T15" fmla="*/ 89 h 1024"/>
                <a:gd name="T16" fmla="*/ 239 w 856"/>
                <a:gd name="T17" fmla="*/ 165 h 1024"/>
                <a:gd name="T18" fmla="*/ 249 w 856"/>
                <a:gd name="T19" fmla="*/ 127 h 1024"/>
                <a:gd name="T20" fmla="*/ 176 w 856"/>
                <a:gd name="T21" fmla="*/ 136 h 1024"/>
                <a:gd name="T22" fmla="*/ 312 w 856"/>
                <a:gd name="T23" fmla="*/ 181 h 1024"/>
                <a:gd name="T24" fmla="*/ 316 w 856"/>
                <a:gd name="T25" fmla="*/ 104 h 1024"/>
                <a:gd name="T26" fmla="*/ 296 w 856"/>
                <a:gd name="T27" fmla="*/ 169 h 1024"/>
                <a:gd name="T28" fmla="*/ 330 w 856"/>
                <a:gd name="T29" fmla="*/ 189 h 1024"/>
                <a:gd name="T30" fmla="*/ 364 w 856"/>
                <a:gd name="T31" fmla="*/ 230 h 1024"/>
                <a:gd name="T32" fmla="*/ 381 w 856"/>
                <a:gd name="T33" fmla="*/ 145 h 1024"/>
                <a:gd name="T34" fmla="*/ 367 w 856"/>
                <a:gd name="T35" fmla="*/ 135 h 1024"/>
                <a:gd name="T36" fmla="*/ 304 w 856"/>
                <a:gd name="T37" fmla="*/ 196 h 1024"/>
                <a:gd name="T38" fmla="*/ 401 w 856"/>
                <a:gd name="T39" fmla="*/ 156 h 1024"/>
                <a:gd name="T40" fmla="*/ 382 w 856"/>
                <a:gd name="T41" fmla="*/ 244 h 1024"/>
                <a:gd name="T42" fmla="*/ 538 w 856"/>
                <a:gd name="T43" fmla="*/ 256 h 1024"/>
                <a:gd name="T44" fmla="*/ 481 w 856"/>
                <a:gd name="T45" fmla="*/ 210 h 1024"/>
                <a:gd name="T46" fmla="*/ 448 w 856"/>
                <a:gd name="T47" fmla="*/ 291 h 1024"/>
                <a:gd name="T48" fmla="*/ 510 w 856"/>
                <a:gd name="T49" fmla="*/ 346 h 1024"/>
                <a:gd name="T50" fmla="*/ 524 w 856"/>
                <a:gd name="T51" fmla="*/ 358 h 1024"/>
                <a:gd name="T52" fmla="*/ 598 w 856"/>
                <a:gd name="T53" fmla="*/ 321 h 1024"/>
                <a:gd name="T54" fmla="*/ 594 w 856"/>
                <a:gd name="T55" fmla="*/ 408 h 1024"/>
                <a:gd name="T56" fmla="*/ 560 w 856"/>
                <a:gd name="T57" fmla="*/ 386 h 1024"/>
                <a:gd name="T58" fmla="*/ 619 w 856"/>
                <a:gd name="T59" fmla="*/ 352 h 1024"/>
                <a:gd name="T60" fmla="*/ 618 w 856"/>
                <a:gd name="T61" fmla="*/ 407 h 1024"/>
                <a:gd name="T62" fmla="*/ 625 w 856"/>
                <a:gd name="T63" fmla="*/ 484 h 1024"/>
                <a:gd name="T64" fmla="*/ 683 w 856"/>
                <a:gd name="T65" fmla="*/ 419 h 1024"/>
                <a:gd name="T66" fmla="*/ 577 w 856"/>
                <a:gd name="T67" fmla="*/ 416 h 1024"/>
                <a:gd name="T68" fmla="*/ 671 w 856"/>
                <a:gd name="T69" fmla="*/ 536 h 1024"/>
                <a:gd name="T70" fmla="*/ 662 w 856"/>
                <a:gd name="T71" fmla="*/ 513 h 1024"/>
                <a:gd name="T72" fmla="*/ 657 w 856"/>
                <a:gd name="T73" fmla="*/ 541 h 1024"/>
                <a:gd name="T74" fmla="*/ 746 w 856"/>
                <a:gd name="T75" fmla="*/ 531 h 1024"/>
                <a:gd name="T76" fmla="*/ 657 w 856"/>
                <a:gd name="T77" fmla="*/ 541 h 1024"/>
                <a:gd name="T78" fmla="*/ 717 w 856"/>
                <a:gd name="T79" fmla="*/ 644 h 1024"/>
                <a:gd name="T80" fmla="*/ 800 w 856"/>
                <a:gd name="T81" fmla="*/ 656 h 1024"/>
                <a:gd name="T82" fmla="*/ 773 w 856"/>
                <a:gd name="T83" fmla="*/ 588 h 1024"/>
                <a:gd name="T84" fmla="*/ 812 w 856"/>
                <a:gd name="T85" fmla="*/ 705 h 1024"/>
                <a:gd name="T86" fmla="*/ 759 w 856"/>
                <a:gd name="T87" fmla="*/ 677 h 1024"/>
                <a:gd name="T88" fmla="*/ 737 w 856"/>
                <a:gd name="T89" fmla="*/ 745 h 1024"/>
                <a:gd name="T90" fmla="*/ 828 w 856"/>
                <a:gd name="T91" fmla="*/ 757 h 1024"/>
                <a:gd name="T92" fmla="*/ 842 w 856"/>
                <a:gd name="T93" fmla="*/ 832 h 1024"/>
                <a:gd name="T94" fmla="*/ 820 w 856"/>
                <a:gd name="T95" fmla="*/ 783 h 1024"/>
                <a:gd name="T96" fmla="*/ 745 w 856"/>
                <a:gd name="T97" fmla="*/ 806 h 1024"/>
                <a:gd name="T98" fmla="*/ 838 w 856"/>
                <a:gd name="T99" fmla="*/ 826 h 1024"/>
                <a:gd name="T100" fmla="*/ 806 w 856"/>
                <a:gd name="T101" fmla="*/ 859 h 1024"/>
                <a:gd name="T102" fmla="*/ 768 w 856"/>
                <a:gd name="T103" fmla="*/ 864 h 1024"/>
                <a:gd name="T104" fmla="*/ 765 w 856"/>
                <a:gd name="T105" fmla="*/ 922 h 1024"/>
                <a:gd name="T106" fmla="*/ 767 w 856"/>
                <a:gd name="T107" fmla="*/ 964 h 1024"/>
                <a:gd name="T108" fmla="*/ 849 w 856"/>
                <a:gd name="T109" fmla="*/ 903 h 1024"/>
                <a:gd name="T110" fmla="*/ 845 w 856"/>
                <a:gd name="T111" fmla="*/ 921 h 1024"/>
                <a:gd name="T112" fmla="*/ 772 w 856"/>
                <a:gd name="T113" fmla="*/ 990 h 1024"/>
                <a:gd name="T114" fmla="*/ 849 w 856"/>
                <a:gd name="T115" fmla="*/ 1021 h 1024"/>
                <a:gd name="T116" fmla="*/ 766 w 856"/>
                <a:gd name="T117" fmla="*/ 99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6" h="1024">
                  <a:moveTo>
                    <a:pt x="77" y="53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4" y="55"/>
                    <a:pt x="72" y="56"/>
                    <a:pt x="70" y="59"/>
                  </a:cubicBezTo>
                  <a:cubicBezTo>
                    <a:pt x="68" y="62"/>
                    <a:pt x="66" y="68"/>
                    <a:pt x="64" y="78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1" y="85"/>
                    <a:pt x="61" y="85"/>
                    <a:pt x="61" y="85"/>
                  </a:cubicBezTo>
                  <a:cubicBezTo>
                    <a:pt x="56" y="88"/>
                    <a:pt x="50" y="89"/>
                    <a:pt x="44" y="89"/>
                  </a:cubicBezTo>
                  <a:cubicBezTo>
                    <a:pt x="39" y="90"/>
                    <a:pt x="33" y="89"/>
                    <a:pt x="27" y="88"/>
                  </a:cubicBezTo>
                  <a:cubicBezTo>
                    <a:pt x="22" y="86"/>
                    <a:pt x="17" y="84"/>
                    <a:pt x="13" y="81"/>
                  </a:cubicBezTo>
                  <a:cubicBezTo>
                    <a:pt x="9" y="78"/>
                    <a:pt x="6" y="74"/>
                    <a:pt x="4" y="69"/>
                  </a:cubicBezTo>
                  <a:cubicBezTo>
                    <a:pt x="2" y="64"/>
                    <a:pt x="0" y="58"/>
                    <a:pt x="0" y="52"/>
                  </a:cubicBezTo>
                  <a:cubicBezTo>
                    <a:pt x="0" y="47"/>
                    <a:pt x="0" y="41"/>
                    <a:pt x="2" y="35"/>
                  </a:cubicBezTo>
                  <a:cubicBezTo>
                    <a:pt x="3" y="30"/>
                    <a:pt x="5" y="25"/>
                    <a:pt x="8" y="20"/>
                  </a:cubicBezTo>
                  <a:cubicBezTo>
                    <a:pt x="11" y="16"/>
                    <a:pt x="15" y="12"/>
                    <a:pt x="19" y="9"/>
                  </a:cubicBezTo>
                  <a:cubicBezTo>
                    <a:pt x="24" y="5"/>
                    <a:pt x="29" y="2"/>
                    <a:pt x="35" y="1"/>
                  </a:cubicBezTo>
                  <a:cubicBezTo>
                    <a:pt x="41" y="0"/>
                    <a:pt x="47" y="0"/>
                    <a:pt x="52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70" y="11"/>
                    <a:pt x="75" y="15"/>
                    <a:pt x="79" y="2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0"/>
                    <a:pt x="67" y="23"/>
                    <a:pt x="65" y="17"/>
                  </a:cubicBezTo>
                  <a:cubicBezTo>
                    <a:pt x="63" y="12"/>
                    <a:pt x="59" y="9"/>
                    <a:pt x="54" y="8"/>
                  </a:cubicBezTo>
                  <a:cubicBezTo>
                    <a:pt x="48" y="6"/>
                    <a:pt x="42" y="8"/>
                    <a:pt x="36" y="14"/>
                  </a:cubicBezTo>
                  <a:cubicBezTo>
                    <a:pt x="31" y="20"/>
                    <a:pt x="26" y="29"/>
                    <a:pt x="23" y="42"/>
                  </a:cubicBezTo>
                  <a:cubicBezTo>
                    <a:pt x="20" y="53"/>
                    <a:pt x="19" y="63"/>
                    <a:pt x="20" y="70"/>
                  </a:cubicBezTo>
                  <a:cubicBezTo>
                    <a:pt x="21" y="77"/>
                    <a:pt x="25" y="82"/>
                    <a:pt x="30" y="83"/>
                  </a:cubicBezTo>
                  <a:cubicBezTo>
                    <a:pt x="33" y="84"/>
                    <a:pt x="36" y="83"/>
                    <a:pt x="39" y="81"/>
                  </a:cubicBezTo>
                  <a:cubicBezTo>
                    <a:pt x="42" y="79"/>
                    <a:pt x="44" y="75"/>
                    <a:pt x="45" y="69"/>
                  </a:cubicBezTo>
                  <a:cubicBezTo>
                    <a:pt x="47" y="61"/>
                    <a:pt x="48" y="55"/>
                    <a:pt x="48" y="52"/>
                  </a:cubicBezTo>
                  <a:cubicBezTo>
                    <a:pt x="47" y="49"/>
                    <a:pt x="46" y="47"/>
                    <a:pt x="43" y="45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6" y="45"/>
                    <a:pt x="49" y="46"/>
                    <a:pt x="51" y="46"/>
                  </a:cubicBezTo>
                  <a:cubicBezTo>
                    <a:pt x="54" y="47"/>
                    <a:pt x="57" y="48"/>
                    <a:pt x="60" y="49"/>
                  </a:cubicBezTo>
                  <a:cubicBezTo>
                    <a:pt x="62" y="49"/>
                    <a:pt x="65" y="50"/>
                    <a:pt x="68" y="51"/>
                  </a:cubicBezTo>
                  <a:cubicBezTo>
                    <a:pt x="71" y="52"/>
                    <a:pt x="74" y="52"/>
                    <a:pt x="77" y="53"/>
                  </a:cubicBezTo>
                  <a:close/>
                  <a:moveTo>
                    <a:pt x="86" y="14"/>
                  </a:moveTo>
                  <a:cubicBezTo>
                    <a:pt x="88" y="17"/>
                    <a:pt x="89" y="20"/>
                    <a:pt x="89" y="24"/>
                  </a:cubicBezTo>
                  <a:cubicBezTo>
                    <a:pt x="89" y="28"/>
                    <a:pt x="86" y="37"/>
                    <a:pt x="82" y="49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2" y="78"/>
                    <a:pt x="72" y="86"/>
                    <a:pt x="75" y="93"/>
                  </a:cubicBezTo>
                  <a:cubicBezTo>
                    <a:pt x="77" y="99"/>
                    <a:pt x="84" y="104"/>
                    <a:pt x="93" y="108"/>
                  </a:cubicBezTo>
                  <a:cubicBezTo>
                    <a:pt x="103" y="111"/>
                    <a:pt x="111" y="111"/>
                    <a:pt x="118" y="107"/>
                  </a:cubicBezTo>
                  <a:cubicBezTo>
                    <a:pt x="124" y="103"/>
                    <a:pt x="130" y="95"/>
                    <a:pt x="134" y="83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42" y="59"/>
                    <a:pt x="146" y="50"/>
                    <a:pt x="149" y="46"/>
                  </a:cubicBezTo>
                  <a:cubicBezTo>
                    <a:pt x="152" y="43"/>
                    <a:pt x="156" y="40"/>
                    <a:pt x="160" y="40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9" y="38"/>
                    <a:pt x="158" y="37"/>
                    <a:pt x="156" y="37"/>
                  </a:cubicBezTo>
                  <a:cubicBezTo>
                    <a:pt x="154" y="36"/>
                    <a:pt x="151" y="35"/>
                    <a:pt x="148" y="34"/>
                  </a:cubicBezTo>
                  <a:cubicBezTo>
                    <a:pt x="144" y="33"/>
                    <a:pt x="142" y="32"/>
                    <a:pt x="140" y="31"/>
                  </a:cubicBezTo>
                  <a:cubicBezTo>
                    <a:pt x="138" y="31"/>
                    <a:pt x="136" y="30"/>
                    <a:pt x="135" y="29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8" y="34"/>
                    <a:pt x="139" y="38"/>
                    <a:pt x="139" y="43"/>
                  </a:cubicBezTo>
                  <a:cubicBezTo>
                    <a:pt x="139" y="48"/>
                    <a:pt x="137" y="57"/>
                    <a:pt x="132" y="7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7" y="87"/>
                    <a:pt x="125" y="91"/>
                    <a:pt x="124" y="93"/>
                  </a:cubicBezTo>
                  <a:cubicBezTo>
                    <a:pt x="123" y="96"/>
                    <a:pt x="121" y="98"/>
                    <a:pt x="119" y="99"/>
                  </a:cubicBezTo>
                  <a:cubicBezTo>
                    <a:pt x="117" y="102"/>
                    <a:pt x="114" y="103"/>
                    <a:pt x="111" y="104"/>
                  </a:cubicBezTo>
                  <a:cubicBezTo>
                    <a:pt x="108" y="105"/>
                    <a:pt x="106" y="105"/>
                    <a:pt x="103" y="104"/>
                  </a:cubicBezTo>
                  <a:cubicBezTo>
                    <a:pt x="97" y="102"/>
                    <a:pt x="94" y="98"/>
                    <a:pt x="93" y="93"/>
                  </a:cubicBezTo>
                  <a:cubicBezTo>
                    <a:pt x="92" y="88"/>
                    <a:pt x="93" y="81"/>
                    <a:pt x="96" y="71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6" y="41"/>
                    <a:pt x="109" y="35"/>
                    <a:pt x="111" y="32"/>
                  </a:cubicBezTo>
                  <a:cubicBezTo>
                    <a:pt x="114" y="28"/>
                    <a:pt x="116" y="26"/>
                    <a:pt x="119" y="26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12" y="22"/>
                    <a:pt x="107" y="20"/>
                    <a:pt x="103" y="19"/>
                  </a:cubicBezTo>
                  <a:cubicBezTo>
                    <a:pt x="101" y="18"/>
                    <a:pt x="99" y="17"/>
                    <a:pt x="97" y="17"/>
                  </a:cubicBezTo>
                  <a:cubicBezTo>
                    <a:pt x="95" y="16"/>
                    <a:pt x="91" y="14"/>
                    <a:pt x="87" y="13"/>
                  </a:cubicBezTo>
                  <a:cubicBezTo>
                    <a:pt x="86" y="14"/>
                    <a:pt x="86" y="14"/>
                    <a:pt x="86" y="14"/>
                  </a:cubicBezTo>
                  <a:close/>
                  <a:moveTo>
                    <a:pt x="165" y="90"/>
                  </a:moveTo>
                  <a:cubicBezTo>
                    <a:pt x="152" y="85"/>
                    <a:pt x="152" y="85"/>
                    <a:pt x="152" y="85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5" y="90"/>
                    <a:pt x="165" y="90"/>
                    <a:pt x="165" y="90"/>
                  </a:cubicBezTo>
                  <a:close/>
                  <a:moveTo>
                    <a:pt x="112" y="112"/>
                  </a:moveTo>
                  <a:cubicBezTo>
                    <a:pt x="113" y="110"/>
                    <a:pt x="113" y="110"/>
                    <a:pt x="113" y="110"/>
                  </a:cubicBezTo>
                  <a:cubicBezTo>
                    <a:pt x="118" y="111"/>
                    <a:pt x="126" y="105"/>
                    <a:pt x="137" y="93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187" y="131"/>
                    <a:pt x="187" y="134"/>
                    <a:pt x="188" y="136"/>
                  </a:cubicBezTo>
                  <a:cubicBezTo>
                    <a:pt x="189" y="138"/>
                    <a:pt x="190" y="140"/>
                    <a:pt x="192" y="141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83" y="139"/>
                    <a:pt x="178" y="137"/>
                    <a:pt x="175" y="136"/>
                  </a:cubicBezTo>
                  <a:cubicBezTo>
                    <a:pt x="172" y="134"/>
                    <a:pt x="166" y="132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7" y="127"/>
                    <a:pt x="159" y="127"/>
                    <a:pt x="160" y="126"/>
                  </a:cubicBezTo>
                  <a:cubicBezTo>
                    <a:pt x="162" y="126"/>
                    <a:pt x="163" y="124"/>
                    <a:pt x="163" y="122"/>
                  </a:cubicBezTo>
                  <a:cubicBezTo>
                    <a:pt x="164" y="121"/>
                    <a:pt x="164" y="120"/>
                    <a:pt x="164" y="119"/>
                  </a:cubicBezTo>
                  <a:cubicBezTo>
                    <a:pt x="165" y="117"/>
                    <a:pt x="165" y="115"/>
                    <a:pt x="165" y="114"/>
                  </a:cubicBezTo>
                  <a:cubicBezTo>
                    <a:pt x="165" y="96"/>
                    <a:pt x="165" y="96"/>
                    <a:pt x="165" y="96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5" y="94"/>
                    <a:pt x="142" y="97"/>
                    <a:pt x="140" y="100"/>
                  </a:cubicBezTo>
                  <a:cubicBezTo>
                    <a:pt x="137" y="103"/>
                    <a:pt x="136" y="106"/>
                    <a:pt x="135" y="108"/>
                  </a:cubicBezTo>
                  <a:cubicBezTo>
                    <a:pt x="134" y="111"/>
                    <a:pt x="134" y="113"/>
                    <a:pt x="134" y="115"/>
                  </a:cubicBezTo>
                  <a:cubicBezTo>
                    <a:pt x="135" y="117"/>
                    <a:pt x="136" y="119"/>
                    <a:pt x="138" y="120"/>
                  </a:cubicBezTo>
                  <a:cubicBezTo>
                    <a:pt x="137" y="122"/>
                    <a:pt x="137" y="122"/>
                    <a:pt x="137" y="122"/>
                  </a:cubicBezTo>
                  <a:cubicBezTo>
                    <a:pt x="135" y="121"/>
                    <a:pt x="133" y="120"/>
                    <a:pt x="131" y="119"/>
                  </a:cubicBezTo>
                  <a:cubicBezTo>
                    <a:pt x="129" y="118"/>
                    <a:pt x="127" y="117"/>
                    <a:pt x="125" y="117"/>
                  </a:cubicBezTo>
                  <a:cubicBezTo>
                    <a:pt x="123" y="116"/>
                    <a:pt x="121" y="115"/>
                    <a:pt x="119" y="115"/>
                  </a:cubicBezTo>
                  <a:cubicBezTo>
                    <a:pt x="117" y="114"/>
                    <a:pt x="115" y="113"/>
                    <a:pt x="112" y="112"/>
                  </a:cubicBezTo>
                  <a:close/>
                  <a:moveTo>
                    <a:pt x="217" y="81"/>
                  </a:moveTo>
                  <a:cubicBezTo>
                    <a:pt x="236" y="164"/>
                    <a:pt x="236" y="164"/>
                    <a:pt x="236" y="164"/>
                  </a:cubicBezTo>
                  <a:cubicBezTo>
                    <a:pt x="239" y="165"/>
                    <a:pt x="239" y="165"/>
                    <a:pt x="239" y="165"/>
                  </a:cubicBezTo>
                  <a:cubicBezTo>
                    <a:pt x="257" y="121"/>
                    <a:pt x="257" y="121"/>
                    <a:pt x="257" y="121"/>
                  </a:cubicBezTo>
                  <a:cubicBezTo>
                    <a:pt x="263" y="108"/>
                    <a:pt x="267" y="99"/>
                    <a:pt x="271" y="96"/>
                  </a:cubicBezTo>
                  <a:cubicBezTo>
                    <a:pt x="274" y="92"/>
                    <a:pt x="278" y="90"/>
                    <a:pt x="283" y="90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2" y="88"/>
                    <a:pt x="280" y="87"/>
                    <a:pt x="278" y="87"/>
                  </a:cubicBezTo>
                  <a:cubicBezTo>
                    <a:pt x="277" y="86"/>
                    <a:pt x="274" y="85"/>
                    <a:pt x="271" y="84"/>
                  </a:cubicBezTo>
                  <a:cubicBezTo>
                    <a:pt x="267" y="82"/>
                    <a:pt x="264" y="81"/>
                    <a:pt x="263" y="80"/>
                  </a:cubicBezTo>
                  <a:cubicBezTo>
                    <a:pt x="261" y="79"/>
                    <a:pt x="259" y="79"/>
                    <a:pt x="258" y="78"/>
                  </a:cubicBezTo>
                  <a:cubicBezTo>
                    <a:pt x="257" y="80"/>
                    <a:pt x="257" y="80"/>
                    <a:pt x="257" y="80"/>
                  </a:cubicBezTo>
                  <a:cubicBezTo>
                    <a:pt x="260" y="83"/>
                    <a:pt x="262" y="87"/>
                    <a:pt x="262" y="92"/>
                  </a:cubicBezTo>
                  <a:cubicBezTo>
                    <a:pt x="261" y="96"/>
                    <a:pt x="258" y="105"/>
                    <a:pt x="253" y="119"/>
                  </a:cubicBezTo>
                  <a:cubicBezTo>
                    <a:pt x="249" y="127"/>
                    <a:pt x="249" y="127"/>
                    <a:pt x="249" y="127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4" y="68"/>
                    <a:pt x="233" y="67"/>
                    <a:pt x="231" y="66"/>
                  </a:cubicBezTo>
                  <a:cubicBezTo>
                    <a:pt x="229" y="66"/>
                    <a:pt x="227" y="65"/>
                    <a:pt x="226" y="65"/>
                  </a:cubicBezTo>
                  <a:cubicBezTo>
                    <a:pt x="224" y="64"/>
                    <a:pt x="221" y="63"/>
                    <a:pt x="218" y="61"/>
                  </a:cubicBezTo>
                  <a:cubicBezTo>
                    <a:pt x="215" y="59"/>
                    <a:pt x="212" y="58"/>
                    <a:pt x="211" y="58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3" y="62"/>
                    <a:pt x="215" y="64"/>
                    <a:pt x="215" y="67"/>
                  </a:cubicBezTo>
                  <a:cubicBezTo>
                    <a:pt x="215" y="69"/>
                    <a:pt x="214" y="73"/>
                    <a:pt x="212" y="78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196" y="117"/>
                    <a:pt x="191" y="125"/>
                    <a:pt x="188" y="129"/>
                  </a:cubicBezTo>
                  <a:cubicBezTo>
                    <a:pt x="185" y="132"/>
                    <a:pt x="181" y="134"/>
                    <a:pt x="176" y="134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6"/>
                    <a:pt x="180" y="137"/>
                    <a:pt x="182" y="138"/>
                  </a:cubicBezTo>
                  <a:cubicBezTo>
                    <a:pt x="184" y="139"/>
                    <a:pt x="186" y="140"/>
                    <a:pt x="189" y="141"/>
                  </a:cubicBezTo>
                  <a:cubicBezTo>
                    <a:pt x="191" y="142"/>
                    <a:pt x="193" y="143"/>
                    <a:pt x="195" y="144"/>
                  </a:cubicBezTo>
                  <a:cubicBezTo>
                    <a:pt x="197" y="145"/>
                    <a:pt x="199" y="145"/>
                    <a:pt x="201" y="146"/>
                  </a:cubicBezTo>
                  <a:cubicBezTo>
                    <a:pt x="202" y="145"/>
                    <a:pt x="202" y="145"/>
                    <a:pt x="202" y="145"/>
                  </a:cubicBezTo>
                  <a:cubicBezTo>
                    <a:pt x="199" y="141"/>
                    <a:pt x="197" y="137"/>
                    <a:pt x="197" y="132"/>
                  </a:cubicBezTo>
                  <a:cubicBezTo>
                    <a:pt x="198" y="127"/>
                    <a:pt x="201" y="119"/>
                    <a:pt x="206" y="105"/>
                  </a:cubicBezTo>
                  <a:cubicBezTo>
                    <a:pt x="217" y="81"/>
                    <a:pt x="217" y="81"/>
                    <a:pt x="217" y="81"/>
                  </a:cubicBezTo>
                  <a:close/>
                  <a:moveTo>
                    <a:pt x="330" y="159"/>
                  </a:moveTo>
                  <a:cubicBezTo>
                    <a:pt x="330" y="161"/>
                    <a:pt x="330" y="161"/>
                    <a:pt x="330" y="161"/>
                  </a:cubicBezTo>
                  <a:cubicBezTo>
                    <a:pt x="327" y="161"/>
                    <a:pt x="325" y="162"/>
                    <a:pt x="322" y="164"/>
                  </a:cubicBezTo>
                  <a:cubicBezTo>
                    <a:pt x="320" y="166"/>
                    <a:pt x="317" y="172"/>
                    <a:pt x="312" y="181"/>
                  </a:cubicBezTo>
                  <a:cubicBezTo>
                    <a:pt x="311" y="184"/>
                    <a:pt x="311" y="184"/>
                    <a:pt x="311" y="184"/>
                  </a:cubicBezTo>
                  <a:cubicBezTo>
                    <a:pt x="309" y="188"/>
                    <a:pt x="309" y="188"/>
                    <a:pt x="309" y="188"/>
                  </a:cubicBezTo>
                  <a:cubicBezTo>
                    <a:pt x="303" y="189"/>
                    <a:pt x="297" y="190"/>
                    <a:pt x="291" y="189"/>
                  </a:cubicBezTo>
                  <a:cubicBezTo>
                    <a:pt x="286" y="188"/>
                    <a:pt x="280" y="187"/>
                    <a:pt x="275" y="184"/>
                  </a:cubicBezTo>
                  <a:cubicBezTo>
                    <a:pt x="270" y="182"/>
                    <a:pt x="266" y="178"/>
                    <a:pt x="262" y="175"/>
                  </a:cubicBezTo>
                  <a:cubicBezTo>
                    <a:pt x="259" y="171"/>
                    <a:pt x="257" y="166"/>
                    <a:pt x="256" y="161"/>
                  </a:cubicBezTo>
                  <a:cubicBezTo>
                    <a:pt x="254" y="156"/>
                    <a:pt x="254" y="150"/>
                    <a:pt x="255" y="144"/>
                  </a:cubicBezTo>
                  <a:cubicBezTo>
                    <a:pt x="255" y="139"/>
                    <a:pt x="257" y="133"/>
                    <a:pt x="260" y="128"/>
                  </a:cubicBezTo>
                  <a:cubicBezTo>
                    <a:pt x="262" y="123"/>
                    <a:pt x="265" y="118"/>
                    <a:pt x="269" y="114"/>
                  </a:cubicBezTo>
                  <a:cubicBezTo>
                    <a:pt x="273" y="110"/>
                    <a:pt x="277" y="107"/>
                    <a:pt x="282" y="105"/>
                  </a:cubicBezTo>
                  <a:cubicBezTo>
                    <a:pt x="287" y="102"/>
                    <a:pt x="293" y="101"/>
                    <a:pt x="299" y="101"/>
                  </a:cubicBezTo>
                  <a:cubicBezTo>
                    <a:pt x="305" y="100"/>
                    <a:pt x="311" y="102"/>
                    <a:pt x="316" y="104"/>
                  </a:cubicBezTo>
                  <a:cubicBezTo>
                    <a:pt x="320" y="107"/>
                    <a:pt x="324" y="109"/>
                    <a:pt x="328" y="113"/>
                  </a:cubicBezTo>
                  <a:cubicBezTo>
                    <a:pt x="332" y="117"/>
                    <a:pt x="335" y="121"/>
                    <a:pt x="339" y="127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2" y="144"/>
                    <a:pt x="322" y="144"/>
                    <a:pt x="322" y="144"/>
                  </a:cubicBezTo>
                  <a:cubicBezTo>
                    <a:pt x="325" y="135"/>
                    <a:pt x="326" y="128"/>
                    <a:pt x="325" y="122"/>
                  </a:cubicBezTo>
                  <a:cubicBezTo>
                    <a:pt x="324" y="117"/>
                    <a:pt x="321" y="113"/>
                    <a:pt x="317" y="111"/>
                  </a:cubicBezTo>
                  <a:cubicBezTo>
                    <a:pt x="311" y="108"/>
                    <a:pt x="305" y="109"/>
                    <a:pt x="298" y="114"/>
                  </a:cubicBezTo>
                  <a:cubicBezTo>
                    <a:pt x="291" y="119"/>
                    <a:pt x="285" y="127"/>
                    <a:pt x="280" y="138"/>
                  </a:cubicBezTo>
                  <a:cubicBezTo>
                    <a:pt x="274" y="149"/>
                    <a:pt x="272" y="158"/>
                    <a:pt x="271" y="165"/>
                  </a:cubicBezTo>
                  <a:cubicBezTo>
                    <a:pt x="271" y="173"/>
                    <a:pt x="273" y="178"/>
                    <a:pt x="278" y="180"/>
                  </a:cubicBezTo>
                  <a:cubicBezTo>
                    <a:pt x="282" y="182"/>
                    <a:pt x="285" y="182"/>
                    <a:pt x="288" y="180"/>
                  </a:cubicBezTo>
                  <a:cubicBezTo>
                    <a:pt x="291" y="178"/>
                    <a:pt x="294" y="174"/>
                    <a:pt x="296" y="169"/>
                  </a:cubicBezTo>
                  <a:cubicBezTo>
                    <a:pt x="300" y="162"/>
                    <a:pt x="302" y="156"/>
                    <a:pt x="302" y="153"/>
                  </a:cubicBezTo>
                  <a:cubicBezTo>
                    <a:pt x="302" y="150"/>
                    <a:pt x="301" y="148"/>
                    <a:pt x="298" y="145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301" y="145"/>
                    <a:pt x="304" y="147"/>
                    <a:pt x="306" y="148"/>
                  </a:cubicBezTo>
                  <a:cubicBezTo>
                    <a:pt x="309" y="149"/>
                    <a:pt x="311" y="151"/>
                    <a:pt x="314" y="152"/>
                  </a:cubicBezTo>
                  <a:cubicBezTo>
                    <a:pt x="317" y="153"/>
                    <a:pt x="319" y="154"/>
                    <a:pt x="322" y="156"/>
                  </a:cubicBezTo>
                  <a:cubicBezTo>
                    <a:pt x="325" y="157"/>
                    <a:pt x="328" y="158"/>
                    <a:pt x="330" y="159"/>
                  </a:cubicBezTo>
                  <a:close/>
                  <a:moveTo>
                    <a:pt x="323" y="206"/>
                  </a:moveTo>
                  <a:cubicBezTo>
                    <a:pt x="322" y="204"/>
                    <a:pt x="321" y="203"/>
                    <a:pt x="321" y="201"/>
                  </a:cubicBezTo>
                  <a:cubicBezTo>
                    <a:pt x="321" y="199"/>
                    <a:pt x="322" y="198"/>
                    <a:pt x="323" y="196"/>
                  </a:cubicBezTo>
                  <a:cubicBezTo>
                    <a:pt x="323" y="195"/>
                    <a:pt x="324" y="194"/>
                    <a:pt x="325" y="193"/>
                  </a:cubicBezTo>
                  <a:cubicBezTo>
                    <a:pt x="327" y="192"/>
                    <a:pt x="328" y="190"/>
                    <a:pt x="330" y="189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42" y="198"/>
                    <a:pt x="342" y="198"/>
                    <a:pt x="342" y="198"/>
                  </a:cubicBezTo>
                  <a:cubicBezTo>
                    <a:pt x="341" y="200"/>
                    <a:pt x="341" y="202"/>
                    <a:pt x="341" y="204"/>
                  </a:cubicBezTo>
                  <a:cubicBezTo>
                    <a:pt x="340" y="205"/>
                    <a:pt x="340" y="207"/>
                    <a:pt x="339" y="208"/>
                  </a:cubicBezTo>
                  <a:cubicBezTo>
                    <a:pt x="338" y="209"/>
                    <a:pt x="337" y="210"/>
                    <a:pt x="336" y="211"/>
                  </a:cubicBezTo>
                  <a:cubicBezTo>
                    <a:pt x="335" y="211"/>
                    <a:pt x="333" y="211"/>
                    <a:pt x="331" y="210"/>
                  </a:cubicBezTo>
                  <a:cubicBezTo>
                    <a:pt x="330" y="212"/>
                    <a:pt x="330" y="212"/>
                    <a:pt x="330" y="212"/>
                  </a:cubicBezTo>
                  <a:cubicBezTo>
                    <a:pt x="332" y="213"/>
                    <a:pt x="335" y="215"/>
                    <a:pt x="338" y="216"/>
                  </a:cubicBezTo>
                  <a:cubicBezTo>
                    <a:pt x="341" y="218"/>
                    <a:pt x="344" y="220"/>
                    <a:pt x="347" y="222"/>
                  </a:cubicBezTo>
                  <a:cubicBezTo>
                    <a:pt x="350" y="224"/>
                    <a:pt x="353" y="225"/>
                    <a:pt x="356" y="227"/>
                  </a:cubicBezTo>
                  <a:cubicBezTo>
                    <a:pt x="358" y="229"/>
                    <a:pt x="361" y="230"/>
                    <a:pt x="363" y="232"/>
                  </a:cubicBezTo>
                  <a:cubicBezTo>
                    <a:pt x="364" y="230"/>
                    <a:pt x="364" y="230"/>
                    <a:pt x="364" y="230"/>
                  </a:cubicBezTo>
                  <a:cubicBezTo>
                    <a:pt x="363" y="229"/>
                    <a:pt x="362" y="226"/>
                    <a:pt x="361" y="222"/>
                  </a:cubicBezTo>
                  <a:cubicBezTo>
                    <a:pt x="361" y="218"/>
                    <a:pt x="361" y="213"/>
                    <a:pt x="362" y="205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375" y="168"/>
                    <a:pt x="375" y="168"/>
                    <a:pt x="375" y="168"/>
                  </a:cubicBezTo>
                  <a:cubicBezTo>
                    <a:pt x="382" y="165"/>
                    <a:pt x="388" y="162"/>
                    <a:pt x="393" y="160"/>
                  </a:cubicBezTo>
                  <a:cubicBezTo>
                    <a:pt x="399" y="159"/>
                    <a:pt x="402" y="158"/>
                    <a:pt x="405" y="159"/>
                  </a:cubicBezTo>
                  <a:cubicBezTo>
                    <a:pt x="406" y="157"/>
                    <a:pt x="406" y="157"/>
                    <a:pt x="406" y="157"/>
                  </a:cubicBezTo>
                  <a:cubicBezTo>
                    <a:pt x="402" y="156"/>
                    <a:pt x="400" y="154"/>
                    <a:pt x="398" y="153"/>
                  </a:cubicBezTo>
                  <a:cubicBezTo>
                    <a:pt x="397" y="153"/>
                    <a:pt x="395" y="152"/>
                    <a:pt x="394" y="151"/>
                  </a:cubicBezTo>
                  <a:cubicBezTo>
                    <a:pt x="391" y="149"/>
                    <a:pt x="387" y="147"/>
                    <a:pt x="382" y="143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1" y="145"/>
                    <a:pt x="381" y="145"/>
                    <a:pt x="381" y="145"/>
                  </a:cubicBezTo>
                  <a:cubicBezTo>
                    <a:pt x="382" y="146"/>
                    <a:pt x="383" y="148"/>
                    <a:pt x="383" y="149"/>
                  </a:cubicBezTo>
                  <a:cubicBezTo>
                    <a:pt x="383" y="151"/>
                    <a:pt x="383" y="152"/>
                    <a:pt x="382" y="154"/>
                  </a:cubicBezTo>
                  <a:cubicBezTo>
                    <a:pt x="381" y="155"/>
                    <a:pt x="380" y="156"/>
                    <a:pt x="380" y="157"/>
                  </a:cubicBezTo>
                  <a:cubicBezTo>
                    <a:pt x="379" y="158"/>
                    <a:pt x="378" y="159"/>
                    <a:pt x="376" y="160"/>
                  </a:cubicBezTo>
                  <a:cubicBezTo>
                    <a:pt x="365" y="167"/>
                    <a:pt x="365" y="167"/>
                    <a:pt x="365" y="167"/>
                  </a:cubicBezTo>
                  <a:cubicBezTo>
                    <a:pt x="366" y="153"/>
                    <a:pt x="366" y="153"/>
                    <a:pt x="366" y="153"/>
                  </a:cubicBezTo>
                  <a:cubicBezTo>
                    <a:pt x="366" y="151"/>
                    <a:pt x="366" y="149"/>
                    <a:pt x="367" y="148"/>
                  </a:cubicBezTo>
                  <a:cubicBezTo>
                    <a:pt x="367" y="146"/>
                    <a:pt x="367" y="145"/>
                    <a:pt x="368" y="144"/>
                  </a:cubicBezTo>
                  <a:cubicBezTo>
                    <a:pt x="369" y="143"/>
                    <a:pt x="370" y="142"/>
                    <a:pt x="371" y="142"/>
                  </a:cubicBezTo>
                  <a:cubicBezTo>
                    <a:pt x="372" y="141"/>
                    <a:pt x="374" y="141"/>
                    <a:pt x="376" y="142"/>
                  </a:cubicBezTo>
                  <a:cubicBezTo>
                    <a:pt x="377" y="140"/>
                    <a:pt x="377" y="140"/>
                    <a:pt x="377" y="140"/>
                  </a:cubicBezTo>
                  <a:cubicBezTo>
                    <a:pt x="372" y="138"/>
                    <a:pt x="369" y="136"/>
                    <a:pt x="367" y="135"/>
                  </a:cubicBezTo>
                  <a:cubicBezTo>
                    <a:pt x="365" y="133"/>
                    <a:pt x="363" y="132"/>
                    <a:pt x="361" y="131"/>
                  </a:cubicBezTo>
                  <a:cubicBezTo>
                    <a:pt x="357" y="129"/>
                    <a:pt x="352" y="126"/>
                    <a:pt x="345" y="121"/>
                  </a:cubicBezTo>
                  <a:cubicBezTo>
                    <a:pt x="345" y="121"/>
                    <a:pt x="345" y="121"/>
                    <a:pt x="345" y="12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7" y="127"/>
                    <a:pt x="348" y="135"/>
                    <a:pt x="347" y="146"/>
                  </a:cubicBezTo>
                  <a:cubicBezTo>
                    <a:pt x="347" y="147"/>
                    <a:pt x="347" y="147"/>
                    <a:pt x="347" y="147"/>
                  </a:cubicBezTo>
                  <a:cubicBezTo>
                    <a:pt x="344" y="174"/>
                    <a:pt x="344" y="174"/>
                    <a:pt x="344" y="174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23" y="185"/>
                    <a:pt x="317" y="187"/>
                    <a:pt x="312" y="189"/>
                  </a:cubicBezTo>
                  <a:cubicBezTo>
                    <a:pt x="307" y="191"/>
                    <a:pt x="303" y="191"/>
                    <a:pt x="299" y="191"/>
                  </a:cubicBezTo>
                  <a:cubicBezTo>
                    <a:pt x="298" y="193"/>
                    <a:pt x="298" y="193"/>
                    <a:pt x="298" y="193"/>
                  </a:cubicBezTo>
                  <a:cubicBezTo>
                    <a:pt x="300" y="194"/>
                    <a:pt x="302" y="195"/>
                    <a:pt x="304" y="196"/>
                  </a:cubicBezTo>
                  <a:cubicBezTo>
                    <a:pt x="306" y="197"/>
                    <a:pt x="308" y="198"/>
                    <a:pt x="310" y="200"/>
                  </a:cubicBezTo>
                  <a:cubicBezTo>
                    <a:pt x="313" y="201"/>
                    <a:pt x="315" y="202"/>
                    <a:pt x="317" y="204"/>
                  </a:cubicBezTo>
                  <a:cubicBezTo>
                    <a:pt x="319" y="205"/>
                    <a:pt x="321" y="206"/>
                    <a:pt x="322" y="207"/>
                  </a:cubicBezTo>
                  <a:cubicBezTo>
                    <a:pt x="323" y="206"/>
                    <a:pt x="323" y="206"/>
                    <a:pt x="323" y="206"/>
                  </a:cubicBezTo>
                  <a:close/>
                  <a:moveTo>
                    <a:pt x="352" y="225"/>
                  </a:moveTo>
                  <a:cubicBezTo>
                    <a:pt x="353" y="224"/>
                    <a:pt x="353" y="224"/>
                    <a:pt x="353" y="224"/>
                  </a:cubicBezTo>
                  <a:cubicBezTo>
                    <a:pt x="356" y="224"/>
                    <a:pt x="360" y="222"/>
                    <a:pt x="362" y="220"/>
                  </a:cubicBezTo>
                  <a:cubicBezTo>
                    <a:pt x="365" y="217"/>
                    <a:pt x="370" y="211"/>
                    <a:pt x="376" y="202"/>
                  </a:cubicBezTo>
                  <a:cubicBezTo>
                    <a:pt x="379" y="198"/>
                    <a:pt x="379" y="198"/>
                    <a:pt x="379" y="198"/>
                  </a:cubicBezTo>
                  <a:cubicBezTo>
                    <a:pt x="398" y="167"/>
                    <a:pt x="398" y="167"/>
                    <a:pt x="398" y="167"/>
                  </a:cubicBezTo>
                  <a:cubicBezTo>
                    <a:pt x="400" y="164"/>
                    <a:pt x="401" y="162"/>
                    <a:pt x="402" y="161"/>
                  </a:cubicBezTo>
                  <a:cubicBezTo>
                    <a:pt x="402" y="159"/>
                    <a:pt x="401" y="158"/>
                    <a:pt x="401" y="156"/>
                  </a:cubicBezTo>
                  <a:cubicBezTo>
                    <a:pt x="402" y="155"/>
                    <a:pt x="402" y="155"/>
                    <a:pt x="402" y="155"/>
                  </a:cubicBezTo>
                  <a:cubicBezTo>
                    <a:pt x="405" y="157"/>
                    <a:pt x="407" y="159"/>
                    <a:pt x="409" y="160"/>
                  </a:cubicBezTo>
                  <a:cubicBezTo>
                    <a:pt x="410" y="161"/>
                    <a:pt x="412" y="162"/>
                    <a:pt x="413" y="163"/>
                  </a:cubicBezTo>
                  <a:cubicBezTo>
                    <a:pt x="415" y="164"/>
                    <a:pt x="416" y="165"/>
                    <a:pt x="418" y="166"/>
                  </a:cubicBezTo>
                  <a:cubicBezTo>
                    <a:pt x="420" y="167"/>
                    <a:pt x="422" y="169"/>
                    <a:pt x="426" y="171"/>
                  </a:cubicBezTo>
                  <a:cubicBezTo>
                    <a:pt x="425" y="172"/>
                    <a:pt x="425" y="172"/>
                    <a:pt x="425" y="172"/>
                  </a:cubicBezTo>
                  <a:cubicBezTo>
                    <a:pt x="423" y="172"/>
                    <a:pt x="422" y="172"/>
                    <a:pt x="421" y="173"/>
                  </a:cubicBezTo>
                  <a:cubicBezTo>
                    <a:pt x="419" y="174"/>
                    <a:pt x="418" y="175"/>
                    <a:pt x="416" y="179"/>
                  </a:cubicBezTo>
                  <a:cubicBezTo>
                    <a:pt x="393" y="214"/>
                    <a:pt x="393" y="214"/>
                    <a:pt x="393" y="214"/>
                  </a:cubicBezTo>
                  <a:cubicBezTo>
                    <a:pt x="387" y="223"/>
                    <a:pt x="383" y="229"/>
                    <a:pt x="382" y="233"/>
                  </a:cubicBezTo>
                  <a:cubicBezTo>
                    <a:pt x="381" y="237"/>
                    <a:pt x="381" y="240"/>
                    <a:pt x="383" y="243"/>
                  </a:cubicBezTo>
                  <a:cubicBezTo>
                    <a:pt x="382" y="244"/>
                    <a:pt x="382" y="244"/>
                    <a:pt x="382" y="244"/>
                  </a:cubicBezTo>
                  <a:cubicBezTo>
                    <a:pt x="380" y="243"/>
                    <a:pt x="377" y="241"/>
                    <a:pt x="375" y="239"/>
                  </a:cubicBezTo>
                  <a:cubicBezTo>
                    <a:pt x="373" y="238"/>
                    <a:pt x="370" y="236"/>
                    <a:pt x="367" y="234"/>
                  </a:cubicBezTo>
                  <a:cubicBezTo>
                    <a:pt x="364" y="232"/>
                    <a:pt x="362" y="231"/>
                    <a:pt x="359" y="229"/>
                  </a:cubicBezTo>
                  <a:cubicBezTo>
                    <a:pt x="357" y="228"/>
                    <a:pt x="355" y="226"/>
                    <a:pt x="352" y="225"/>
                  </a:cubicBezTo>
                  <a:close/>
                  <a:moveTo>
                    <a:pt x="480" y="233"/>
                  </a:moveTo>
                  <a:cubicBezTo>
                    <a:pt x="476" y="319"/>
                    <a:pt x="476" y="319"/>
                    <a:pt x="476" y="319"/>
                  </a:cubicBezTo>
                  <a:cubicBezTo>
                    <a:pt x="478" y="321"/>
                    <a:pt x="478" y="321"/>
                    <a:pt x="478" y="321"/>
                  </a:cubicBezTo>
                  <a:cubicBezTo>
                    <a:pt x="508" y="283"/>
                    <a:pt x="508" y="283"/>
                    <a:pt x="508" y="283"/>
                  </a:cubicBezTo>
                  <a:cubicBezTo>
                    <a:pt x="517" y="272"/>
                    <a:pt x="524" y="265"/>
                    <a:pt x="528" y="263"/>
                  </a:cubicBezTo>
                  <a:cubicBezTo>
                    <a:pt x="532" y="260"/>
                    <a:pt x="537" y="260"/>
                    <a:pt x="541" y="261"/>
                  </a:cubicBezTo>
                  <a:cubicBezTo>
                    <a:pt x="542" y="260"/>
                    <a:pt x="542" y="260"/>
                    <a:pt x="542" y="260"/>
                  </a:cubicBezTo>
                  <a:cubicBezTo>
                    <a:pt x="541" y="259"/>
                    <a:pt x="539" y="258"/>
                    <a:pt x="538" y="256"/>
                  </a:cubicBezTo>
                  <a:cubicBezTo>
                    <a:pt x="536" y="255"/>
                    <a:pt x="534" y="253"/>
                    <a:pt x="531" y="251"/>
                  </a:cubicBezTo>
                  <a:cubicBezTo>
                    <a:pt x="528" y="249"/>
                    <a:pt x="526" y="247"/>
                    <a:pt x="525" y="246"/>
                  </a:cubicBezTo>
                  <a:cubicBezTo>
                    <a:pt x="523" y="244"/>
                    <a:pt x="522" y="243"/>
                    <a:pt x="521" y="242"/>
                  </a:cubicBezTo>
                  <a:cubicBezTo>
                    <a:pt x="520" y="244"/>
                    <a:pt x="520" y="244"/>
                    <a:pt x="520" y="244"/>
                  </a:cubicBezTo>
                  <a:cubicBezTo>
                    <a:pt x="522" y="248"/>
                    <a:pt x="522" y="252"/>
                    <a:pt x="520" y="256"/>
                  </a:cubicBezTo>
                  <a:cubicBezTo>
                    <a:pt x="519" y="261"/>
                    <a:pt x="513" y="269"/>
                    <a:pt x="504" y="280"/>
                  </a:cubicBezTo>
                  <a:cubicBezTo>
                    <a:pt x="499" y="287"/>
                    <a:pt x="499" y="287"/>
                    <a:pt x="499" y="287"/>
                  </a:cubicBezTo>
                  <a:cubicBezTo>
                    <a:pt x="502" y="227"/>
                    <a:pt x="502" y="227"/>
                    <a:pt x="502" y="227"/>
                  </a:cubicBezTo>
                  <a:cubicBezTo>
                    <a:pt x="501" y="226"/>
                    <a:pt x="500" y="225"/>
                    <a:pt x="498" y="224"/>
                  </a:cubicBezTo>
                  <a:cubicBezTo>
                    <a:pt x="496" y="222"/>
                    <a:pt x="495" y="221"/>
                    <a:pt x="494" y="221"/>
                  </a:cubicBezTo>
                  <a:cubicBezTo>
                    <a:pt x="492" y="219"/>
                    <a:pt x="490" y="217"/>
                    <a:pt x="487" y="215"/>
                  </a:cubicBezTo>
                  <a:cubicBezTo>
                    <a:pt x="484" y="213"/>
                    <a:pt x="482" y="211"/>
                    <a:pt x="481" y="210"/>
                  </a:cubicBezTo>
                  <a:cubicBezTo>
                    <a:pt x="480" y="211"/>
                    <a:pt x="480" y="211"/>
                    <a:pt x="480" y="211"/>
                  </a:cubicBezTo>
                  <a:cubicBezTo>
                    <a:pt x="482" y="214"/>
                    <a:pt x="483" y="217"/>
                    <a:pt x="483" y="220"/>
                  </a:cubicBezTo>
                  <a:cubicBezTo>
                    <a:pt x="482" y="222"/>
                    <a:pt x="480" y="225"/>
                    <a:pt x="477" y="230"/>
                  </a:cubicBezTo>
                  <a:cubicBezTo>
                    <a:pt x="459" y="251"/>
                    <a:pt x="459" y="251"/>
                    <a:pt x="459" y="251"/>
                  </a:cubicBezTo>
                  <a:cubicBezTo>
                    <a:pt x="450" y="262"/>
                    <a:pt x="444" y="269"/>
                    <a:pt x="439" y="272"/>
                  </a:cubicBezTo>
                  <a:cubicBezTo>
                    <a:pt x="435" y="274"/>
                    <a:pt x="431" y="275"/>
                    <a:pt x="427" y="274"/>
                  </a:cubicBezTo>
                  <a:cubicBezTo>
                    <a:pt x="426" y="275"/>
                    <a:pt x="426" y="275"/>
                    <a:pt x="426" y="275"/>
                  </a:cubicBezTo>
                  <a:cubicBezTo>
                    <a:pt x="427" y="276"/>
                    <a:pt x="429" y="277"/>
                    <a:pt x="431" y="279"/>
                  </a:cubicBezTo>
                  <a:cubicBezTo>
                    <a:pt x="433" y="280"/>
                    <a:pt x="435" y="282"/>
                    <a:pt x="437" y="283"/>
                  </a:cubicBezTo>
                  <a:cubicBezTo>
                    <a:pt x="439" y="285"/>
                    <a:pt x="441" y="287"/>
                    <a:pt x="442" y="288"/>
                  </a:cubicBezTo>
                  <a:cubicBezTo>
                    <a:pt x="444" y="290"/>
                    <a:pt x="446" y="291"/>
                    <a:pt x="447" y="292"/>
                  </a:cubicBezTo>
                  <a:cubicBezTo>
                    <a:pt x="448" y="291"/>
                    <a:pt x="448" y="291"/>
                    <a:pt x="448" y="291"/>
                  </a:cubicBezTo>
                  <a:cubicBezTo>
                    <a:pt x="446" y="287"/>
                    <a:pt x="446" y="282"/>
                    <a:pt x="447" y="278"/>
                  </a:cubicBezTo>
                  <a:cubicBezTo>
                    <a:pt x="449" y="273"/>
                    <a:pt x="454" y="265"/>
                    <a:pt x="463" y="254"/>
                  </a:cubicBezTo>
                  <a:cubicBezTo>
                    <a:pt x="480" y="233"/>
                    <a:pt x="480" y="233"/>
                    <a:pt x="480" y="233"/>
                  </a:cubicBezTo>
                  <a:close/>
                  <a:moveTo>
                    <a:pt x="510" y="346"/>
                  </a:moveTo>
                  <a:cubicBezTo>
                    <a:pt x="506" y="341"/>
                    <a:pt x="506" y="336"/>
                    <a:pt x="508" y="329"/>
                  </a:cubicBezTo>
                  <a:cubicBezTo>
                    <a:pt x="511" y="323"/>
                    <a:pt x="517" y="314"/>
                    <a:pt x="527" y="305"/>
                  </a:cubicBezTo>
                  <a:cubicBezTo>
                    <a:pt x="537" y="295"/>
                    <a:pt x="545" y="289"/>
                    <a:pt x="552" y="286"/>
                  </a:cubicBezTo>
                  <a:cubicBezTo>
                    <a:pt x="558" y="283"/>
                    <a:pt x="564" y="284"/>
                    <a:pt x="568" y="288"/>
                  </a:cubicBezTo>
                  <a:cubicBezTo>
                    <a:pt x="572" y="292"/>
                    <a:pt x="573" y="298"/>
                    <a:pt x="570" y="305"/>
                  </a:cubicBezTo>
                  <a:cubicBezTo>
                    <a:pt x="567" y="311"/>
                    <a:pt x="561" y="319"/>
                    <a:pt x="551" y="329"/>
                  </a:cubicBezTo>
                  <a:cubicBezTo>
                    <a:pt x="542" y="339"/>
                    <a:pt x="534" y="345"/>
                    <a:pt x="527" y="348"/>
                  </a:cubicBezTo>
                  <a:cubicBezTo>
                    <a:pt x="520" y="350"/>
                    <a:pt x="515" y="350"/>
                    <a:pt x="510" y="346"/>
                  </a:cubicBezTo>
                  <a:close/>
                  <a:moveTo>
                    <a:pt x="512" y="289"/>
                  </a:moveTo>
                  <a:cubicBezTo>
                    <a:pt x="516" y="284"/>
                    <a:pt x="521" y="281"/>
                    <a:pt x="527" y="278"/>
                  </a:cubicBezTo>
                  <a:cubicBezTo>
                    <a:pt x="532" y="276"/>
                    <a:pt x="538" y="274"/>
                    <a:pt x="544" y="274"/>
                  </a:cubicBezTo>
                  <a:cubicBezTo>
                    <a:pt x="549" y="274"/>
                    <a:pt x="554" y="275"/>
                    <a:pt x="558" y="277"/>
                  </a:cubicBezTo>
                  <a:cubicBezTo>
                    <a:pt x="563" y="279"/>
                    <a:pt x="567" y="282"/>
                    <a:pt x="571" y="285"/>
                  </a:cubicBezTo>
                  <a:cubicBezTo>
                    <a:pt x="575" y="289"/>
                    <a:pt x="578" y="293"/>
                    <a:pt x="579" y="298"/>
                  </a:cubicBezTo>
                  <a:cubicBezTo>
                    <a:pt x="581" y="302"/>
                    <a:pt x="582" y="307"/>
                    <a:pt x="582" y="313"/>
                  </a:cubicBezTo>
                  <a:cubicBezTo>
                    <a:pt x="582" y="319"/>
                    <a:pt x="580" y="324"/>
                    <a:pt x="578" y="330"/>
                  </a:cubicBezTo>
                  <a:cubicBezTo>
                    <a:pt x="576" y="335"/>
                    <a:pt x="572" y="340"/>
                    <a:pt x="567" y="345"/>
                  </a:cubicBezTo>
                  <a:cubicBezTo>
                    <a:pt x="564" y="348"/>
                    <a:pt x="560" y="351"/>
                    <a:pt x="556" y="353"/>
                  </a:cubicBezTo>
                  <a:cubicBezTo>
                    <a:pt x="553" y="355"/>
                    <a:pt x="549" y="357"/>
                    <a:pt x="544" y="358"/>
                  </a:cubicBezTo>
                  <a:cubicBezTo>
                    <a:pt x="537" y="360"/>
                    <a:pt x="531" y="360"/>
                    <a:pt x="524" y="358"/>
                  </a:cubicBezTo>
                  <a:cubicBezTo>
                    <a:pt x="518" y="357"/>
                    <a:pt x="512" y="354"/>
                    <a:pt x="508" y="349"/>
                  </a:cubicBezTo>
                  <a:cubicBezTo>
                    <a:pt x="504" y="345"/>
                    <a:pt x="501" y="341"/>
                    <a:pt x="499" y="336"/>
                  </a:cubicBezTo>
                  <a:cubicBezTo>
                    <a:pt x="497" y="331"/>
                    <a:pt x="496" y="326"/>
                    <a:pt x="497" y="321"/>
                  </a:cubicBezTo>
                  <a:cubicBezTo>
                    <a:pt x="497" y="315"/>
                    <a:pt x="498" y="309"/>
                    <a:pt x="501" y="304"/>
                  </a:cubicBezTo>
                  <a:cubicBezTo>
                    <a:pt x="503" y="299"/>
                    <a:pt x="507" y="294"/>
                    <a:pt x="512" y="289"/>
                  </a:cubicBezTo>
                  <a:close/>
                  <a:moveTo>
                    <a:pt x="533" y="371"/>
                  </a:moveTo>
                  <a:cubicBezTo>
                    <a:pt x="535" y="369"/>
                    <a:pt x="535" y="369"/>
                    <a:pt x="535" y="369"/>
                  </a:cubicBezTo>
                  <a:cubicBezTo>
                    <a:pt x="538" y="370"/>
                    <a:pt x="541" y="370"/>
                    <a:pt x="544" y="368"/>
                  </a:cubicBezTo>
                  <a:cubicBezTo>
                    <a:pt x="548" y="366"/>
                    <a:pt x="554" y="362"/>
                    <a:pt x="562" y="355"/>
                  </a:cubicBezTo>
                  <a:cubicBezTo>
                    <a:pt x="566" y="351"/>
                    <a:pt x="566" y="351"/>
                    <a:pt x="566" y="351"/>
                  </a:cubicBezTo>
                  <a:cubicBezTo>
                    <a:pt x="593" y="327"/>
                    <a:pt x="593" y="327"/>
                    <a:pt x="593" y="327"/>
                  </a:cubicBezTo>
                  <a:cubicBezTo>
                    <a:pt x="595" y="324"/>
                    <a:pt x="597" y="322"/>
                    <a:pt x="598" y="321"/>
                  </a:cubicBezTo>
                  <a:cubicBezTo>
                    <a:pt x="598" y="320"/>
                    <a:pt x="598" y="318"/>
                    <a:pt x="598" y="317"/>
                  </a:cubicBezTo>
                  <a:cubicBezTo>
                    <a:pt x="599" y="315"/>
                    <a:pt x="599" y="315"/>
                    <a:pt x="599" y="315"/>
                  </a:cubicBezTo>
                  <a:cubicBezTo>
                    <a:pt x="601" y="318"/>
                    <a:pt x="603" y="320"/>
                    <a:pt x="605" y="322"/>
                  </a:cubicBezTo>
                  <a:cubicBezTo>
                    <a:pt x="607" y="324"/>
                    <a:pt x="609" y="328"/>
                    <a:pt x="613" y="332"/>
                  </a:cubicBezTo>
                  <a:cubicBezTo>
                    <a:pt x="619" y="339"/>
                    <a:pt x="619" y="339"/>
                    <a:pt x="619" y="339"/>
                  </a:cubicBezTo>
                  <a:cubicBezTo>
                    <a:pt x="628" y="348"/>
                    <a:pt x="633" y="356"/>
                    <a:pt x="634" y="362"/>
                  </a:cubicBezTo>
                  <a:cubicBezTo>
                    <a:pt x="635" y="368"/>
                    <a:pt x="633" y="374"/>
                    <a:pt x="628" y="379"/>
                  </a:cubicBezTo>
                  <a:cubicBezTo>
                    <a:pt x="624" y="382"/>
                    <a:pt x="619" y="384"/>
                    <a:pt x="614" y="383"/>
                  </a:cubicBezTo>
                  <a:cubicBezTo>
                    <a:pt x="609" y="382"/>
                    <a:pt x="603" y="380"/>
                    <a:pt x="597" y="375"/>
                  </a:cubicBezTo>
                  <a:cubicBezTo>
                    <a:pt x="599" y="379"/>
                    <a:pt x="601" y="383"/>
                    <a:pt x="601" y="387"/>
                  </a:cubicBezTo>
                  <a:cubicBezTo>
                    <a:pt x="601" y="392"/>
                    <a:pt x="600" y="396"/>
                    <a:pt x="598" y="401"/>
                  </a:cubicBezTo>
                  <a:cubicBezTo>
                    <a:pt x="597" y="402"/>
                    <a:pt x="595" y="405"/>
                    <a:pt x="594" y="408"/>
                  </a:cubicBezTo>
                  <a:cubicBezTo>
                    <a:pt x="588" y="419"/>
                    <a:pt x="586" y="425"/>
                    <a:pt x="588" y="429"/>
                  </a:cubicBezTo>
                  <a:cubicBezTo>
                    <a:pt x="587" y="430"/>
                    <a:pt x="587" y="430"/>
                    <a:pt x="587" y="430"/>
                  </a:cubicBezTo>
                  <a:cubicBezTo>
                    <a:pt x="584" y="426"/>
                    <a:pt x="581" y="424"/>
                    <a:pt x="580" y="422"/>
                  </a:cubicBezTo>
                  <a:cubicBezTo>
                    <a:pt x="578" y="420"/>
                    <a:pt x="576" y="418"/>
                    <a:pt x="575" y="416"/>
                  </a:cubicBezTo>
                  <a:cubicBezTo>
                    <a:pt x="573" y="414"/>
                    <a:pt x="571" y="412"/>
                    <a:pt x="570" y="411"/>
                  </a:cubicBezTo>
                  <a:cubicBezTo>
                    <a:pt x="569" y="410"/>
                    <a:pt x="568" y="409"/>
                    <a:pt x="567" y="408"/>
                  </a:cubicBezTo>
                  <a:cubicBezTo>
                    <a:pt x="568" y="407"/>
                    <a:pt x="570" y="404"/>
                    <a:pt x="572" y="401"/>
                  </a:cubicBezTo>
                  <a:cubicBezTo>
                    <a:pt x="585" y="382"/>
                    <a:pt x="590" y="370"/>
                    <a:pt x="585" y="365"/>
                  </a:cubicBezTo>
                  <a:cubicBezTo>
                    <a:pt x="585" y="364"/>
                    <a:pt x="584" y="364"/>
                    <a:pt x="584" y="363"/>
                  </a:cubicBezTo>
                  <a:cubicBezTo>
                    <a:pt x="583" y="363"/>
                    <a:pt x="583" y="363"/>
                    <a:pt x="583" y="363"/>
                  </a:cubicBezTo>
                  <a:cubicBezTo>
                    <a:pt x="576" y="370"/>
                    <a:pt x="576" y="370"/>
                    <a:pt x="576" y="370"/>
                  </a:cubicBezTo>
                  <a:cubicBezTo>
                    <a:pt x="568" y="377"/>
                    <a:pt x="562" y="383"/>
                    <a:pt x="560" y="386"/>
                  </a:cubicBezTo>
                  <a:cubicBezTo>
                    <a:pt x="558" y="389"/>
                    <a:pt x="557" y="392"/>
                    <a:pt x="558" y="395"/>
                  </a:cubicBezTo>
                  <a:cubicBezTo>
                    <a:pt x="557" y="397"/>
                    <a:pt x="557" y="397"/>
                    <a:pt x="557" y="397"/>
                  </a:cubicBezTo>
                  <a:cubicBezTo>
                    <a:pt x="555" y="395"/>
                    <a:pt x="553" y="392"/>
                    <a:pt x="551" y="390"/>
                  </a:cubicBezTo>
                  <a:cubicBezTo>
                    <a:pt x="550" y="388"/>
                    <a:pt x="547" y="386"/>
                    <a:pt x="545" y="383"/>
                  </a:cubicBezTo>
                  <a:cubicBezTo>
                    <a:pt x="543" y="381"/>
                    <a:pt x="541" y="379"/>
                    <a:pt x="539" y="377"/>
                  </a:cubicBezTo>
                  <a:cubicBezTo>
                    <a:pt x="537" y="374"/>
                    <a:pt x="535" y="372"/>
                    <a:pt x="533" y="371"/>
                  </a:cubicBezTo>
                  <a:close/>
                  <a:moveTo>
                    <a:pt x="587" y="359"/>
                  </a:moveTo>
                  <a:cubicBezTo>
                    <a:pt x="588" y="360"/>
                    <a:pt x="588" y="361"/>
                    <a:pt x="588" y="361"/>
                  </a:cubicBezTo>
                  <a:cubicBezTo>
                    <a:pt x="589" y="362"/>
                    <a:pt x="589" y="362"/>
                    <a:pt x="590" y="363"/>
                  </a:cubicBezTo>
                  <a:cubicBezTo>
                    <a:pt x="594" y="367"/>
                    <a:pt x="597" y="369"/>
                    <a:pt x="601" y="369"/>
                  </a:cubicBezTo>
                  <a:cubicBezTo>
                    <a:pt x="604" y="369"/>
                    <a:pt x="608" y="367"/>
                    <a:pt x="612" y="363"/>
                  </a:cubicBezTo>
                  <a:cubicBezTo>
                    <a:pt x="616" y="359"/>
                    <a:pt x="619" y="356"/>
                    <a:pt x="619" y="352"/>
                  </a:cubicBezTo>
                  <a:cubicBezTo>
                    <a:pt x="620" y="349"/>
                    <a:pt x="618" y="345"/>
                    <a:pt x="615" y="342"/>
                  </a:cubicBezTo>
                  <a:cubicBezTo>
                    <a:pt x="614" y="341"/>
                    <a:pt x="614" y="340"/>
                    <a:pt x="613" y="339"/>
                  </a:cubicBezTo>
                  <a:cubicBezTo>
                    <a:pt x="612" y="339"/>
                    <a:pt x="612" y="338"/>
                    <a:pt x="611" y="338"/>
                  </a:cubicBezTo>
                  <a:cubicBezTo>
                    <a:pt x="587" y="359"/>
                    <a:pt x="587" y="359"/>
                    <a:pt x="587" y="359"/>
                  </a:cubicBezTo>
                  <a:close/>
                  <a:moveTo>
                    <a:pt x="576" y="417"/>
                  </a:moveTo>
                  <a:cubicBezTo>
                    <a:pt x="577" y="419"/>
                    <a:pt x="579" y="420"/>
                    <a:pt x="580" y="422"/>
                  </a:cubicBezTo>
                  <a:cubicBezTo>
                    <a:pt x="581" y="424"/>
                    <a:pt x="583" y="426"/>
                    <a:pt x="584" y="428"/>
                  </a:cubicBezTo>
                  <a:cubicBezTo>
                    <a:pt x="586" y="430"/>
                    <a:pt x="587" y="432"/>
                    <a:pt x="588" y="434"/>
                  </a:cubicBezTo>
                  <a:cubicBezTo>
                    <a:pt x="590" y="436"/>
                    <a:pt x="591" y="438"/>
                    <a:pt x="592" y="439"/>
                  </a:cubicBezTo>
                  <a:cubicBezTo>
                    <a:pt x="593" y="438"/>
                    <a:pt x="593" y="438"/>
                    <a:pt x="593" y="438"/>
                  </a:cubicBezTo>
                  <a:cubicBezTo>
                    <a:pt x="592" y="434"/>
                    <a:pt x="593" y="430"/>
                    <a:pt x="596" y="426"/>
                  </a:cubicBezTo>
                  <a:cubicBezTo>
                    <a:pt x="599" y="422"/>
                    <a:pt x="606" y="415"/>
                    <a:pt x="618" y="407"/>
                  </a:cubicBezTo>
                  <a:cubicBezTo>
                    <a:pt x="639" y="392"/>
                    <a:pt x="639" y="392"/>
                    <a:pt x="639" y="392"/>
                  </a:cubicBezTo>
                  <a:cubicBezTo>
                    <a:pt x="597" y="449"/>
                    <a:pt x="597" y="449"/>
                    <a:pt x="597" y="449"/>
                  </a:cubicBezTo>
                  <a:cubicBezTo>
                    <a:pt x="598" y="450"/>
                    <a:pt x="598" y="450"/>
                    <a:pt x="598" y="450"/>
                  </a:cubicBezTo>
                  <a:cubicBezTo>
                    <a:pt x="668" y="428"/>
                    <a:pt x="668" y="428"/>
                    <a:pt x="668" y="428"/>
                  </a:cubicBezTo>
                  <a:cubicBezTo>
                    <a:pt x="643" y="447"/>
                    <a:pt x="643" y="447"/>
                    <a:pt x="643" y="447"/>
                  </a:cubicBezTo>
                  <a:cubicBezTo>
                    <a:pt x="640" y="449"/>
                    <a:pt x="640" y="449"/>
                    <a:pt x="640" y="449"/>
                  </a:cubicBezTo>
                  <a:cubicBezTo>
                    <a:pt x="631" y="456"/>
                    <a:pt x="624" y="460"/>
                    <a:pt x="620" y="461"/>
                  </a:cubicBezTo>
                  <a:cubicBezTo>
                    <a:pt x="617" y="463"/>
                    <a:pt x="613" y="463"/>
                    <a:pt x="610" y="461"/>
                  </a:cubicBezTo>
                  <a:cubicBezTo>
                    <a:pt x="609" y="463"/>
                    <a:pt x="609" y="463"/>
                    <a:pt x="609" y="463"/>
                  </a:cubicBezTo>
                  <a:cubicBezTo>
                    <a:pt x="610" y="465"/>
                    <a:pt x="612" y="467"/>
                    <a:pt x="614" y="469"/>
                  </a:cubicBezTo>
                  <a:cubicBezTo>
                    <a:pt x="616" y="471"/>
                    <a:pt x="618" y="474"/>
                    <a:pt x="619" y="476"/>
                  </a:cubicBezTo>
                  <a:cubicBezTo>
                    <a:pt x="621" y="479"/>
                    <a:pt x="623" y="482"/>
                    <a:pt x="625" y="484"/>
                  </a:cubicBezTo>
                  <a:cubicBezTo>
                    <a:pt x="627" y="487"/>
                    <a:pt x="628" y="489"/>
                    <a:pt x="629" y="491"/>
                  </a:cubicBezTo>
                  <a:cubicBezTo>
                    <a:pt x="631" y="490"/>
                    <a:pt x="631" y="490"/>
                    <a:pt x="631" y="490"/>
                  </a:cubicBezTo>
                  <a:cubicBezTo>
                    <a:pt x="631" y="487"/>
                    <a:pt x="632" y="484"/>
                    <a:pt x="634" y="480"/>
                  </a:cubicBezTo>
                  <a:cubicBezTo>
                    <a:pt x="637" y="477"/>
                    <a:pt x="643" y="472"/>
                    <a:pt x="652" y="465"/>
                  </a:cubicBezTo>
                  <a:cubicBezTo>
                    <a:pt x="685" y="442"/>
                    <a:pt x="685" y="442"/>
                    <a:pt x="685" y="442"/>
                  </a:cubicBezTo>
                  <a:cubicBezTo>
                    <a:pt x="688" y="440"/>
                    <a:pt x="690" y="438"/>
                    <a:pt x="691" y="438"/>
                  </a:cubicBezTo>
                  <a:cubicBezTo>
                    <a:pt x="693" y="438"/>
                    <a:pt x="694" y="438"/>
                    <a:pt x="696" y="439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3" y="433"/>
                    <a:pt x="690" y="429"/>
                    <a:pt x="688" y="426"/>
                  </a:cubicBezTo>
                  <a:cubicBezTo>
                    <a:pt x="687" y="426"/>
                    <a:pt x="687" y="425"/>
                    <a:pt x="686" y="424"/>
                  </a:cubicBezTo>
                  <a:cubicBezTo>
                    <a:pt x="685" y="422"/>
                    <a:pt x="684" y="421"/>
                    <a:pt x="683" y="419"/>
                  </a:cubicBezTo>
                  <a:cubicBezTo>
                    <a:pt x="633" y="434"/>
                    <a:pt x="633" y="434"/>
                    <a:pt x="633" y="434"/>
                  </a:cubicBezTo>
                  <a:cubicBezTo>
                    <a:pt x="664" y="393"/>
                    <a:pt x="664" y="393"/>
                    <a:pt x="664" y="393"/>
                  </a:cubicBezTo>
                  <a:cubicBezTo>
                    <a:pt x="663" y="391"/>
                    <a:pt x="662" y="390"/>
                    <a:pt x="660" y="388"/>
                  </a:cubicBezTo>
                  <a:cubicBezTo>
                    <a:pt x="659" y="387"/>
                    <a:pt x="657" y="384"/>
                    <a:pt x="655" y="381"/>
                  </a:cubicBezTo>
                  <a:cubicBezTo>
                    <a:pt x="653" y="378"/>
                    <a:pt x="651" y="375"/>
                    <a:pt x="650" y="374"/>
                  </a:cubicBezTo>
                  <a:cubicBezTo>
                    <a:pt x="649" y="372"/>
                    <a:pt x="647" y="370"/>
                    <a:pt x="646" y="369"/>
                  </a:cubicBezTo>
                  <a:cubicBezTo>
                    <a:pt x="645" y="370"/>
                    <a:pt x="645" y="370"/>
                    <a:pt x="645" y="370"/>
                  </a:cubicBezTo>
                  <a:cubicBezTo>
                    <a:pt x="646" y="373"/>
                    <a:pt x="646" y="376"/>
                    <a:pt x="645" y="378"/>
                  </a:cubicBezTo>
                  <a:cubicBezTo>
                    <a:pt x="644" y="381"/>
                    <a:pt x="642" y="383"/>
                    <a:pt x="637" y="387"/>
                  </a:cubicBezTo>
                  <a:cubicBezTo>
                    <a:pt x="615" y="403"/>
                    <a:pt x="615" y="403"/>
                    <a:pt x="615" y="403"/>
                  </a:cubicBezTo>
                  <a:cubicBezTo>
                    <a:pt x="603" y="411"/>
                    <a:pt x="595" y="416"/>
                    <a:pt x="590" y="418"/>
                  </a:cubicBezTo>
                  <a:cubicBezTo>
                    <a:pt x="585" y="419"/>
                    <a:pt x="581" y="419"/>
                    <a:pt x="577" y="416"/>
                  </a:cubicBezTo>
                  <a:cubicBezTo>
                    <a:pt x="576" y="417"/>
                    <a:pt x="576" y="417"/>
                    <a:pt x="576" y="417"/>
                  </a:cubicBezTo>
                  <a:close/>
                  <a:moveTo>
                    <a:pt x="677" y="496"/>
                  </a:moveTo>
                  <a:cubicBezTo>
                    <a:pt x="670" y="483"/>
                    <a:pt x="670" y="483"/>
                    <a:pt x="670" y="483"/>
                  </a:cubicBezTo>
                  <a:cubicBezTo>
                    <a:pt x="690" y="480"/>
                    <a:pt x="690" y="480"/>
                    <a:pt x="690" y="480"/>
                  </a:cubicBezTo>
                  <a:cubicBezTo>
                    <a:pt x="677" y="496"/>
                    <a:pt x="677" y="496"/>
                    <a:pt x="677" y="496"/>
                  </a:cubicBezTo>
                  <a:close/>
                  <a:moveTo>
                    <a:pt x="622" y="479"/>
                  </a:moveTo>
                  <a:cubicBezTo>
                    <a:pt x="623" y="478"/>
                    <a:pt x="623" y="478"/>
                    <a:pt x="623" y="478"/>
                  </a:cubicBezTo>
                  <a:cubicBezTo>
                    <a:pt x="627" y="481"/>
                    <a:pt x="637" y="482"/>
                    <a:pt x="653" y="480"/>
                  </a:cubicBezTo>
                  <a:cubicBezTo>
                    <a:pt x="655" y="480"/>
                    <a:pt x="655" y="480"/>
                    <a:pt x="655" y="480"/>
                  </a:cubicBezTo>
                  <a:cubicBezTo>
                    <a:pt x="719" y="471"/>
                    <a:pt x="719" y="471"/>
                    <a:pt x="719" y="471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671" y="536"/>
                    <a:pt x="671" y="536"/>
                    <a:pt x="671" y="536"/>
                  </a:cubicBezTo>
                  <a:cubicBezTo>
                    <a:pt x="668" y="541"/>
                    <a:pt x="666" y="544"/>
                    <a:pt x="665" y="546"/>
                  </a:cubicBezTo>
                  <a:cubicBezTo>
                    <a:pt x="665" y="548"/>
                    <a:pt x="665" y="550"/>
                    <a:pt x="666" y="551"/>
                  </a:cubicBezTo>
                  <a:cubicBezTo>
                    <a:pt x="664" y="552"/>
                    <a:pt x="664" y="552"/>
                    <a:pt x="664" y="552"/>
                  </a:cubicBezTo>
                  <a:cubicBezTo>
                    <a:pt x="664" y="551"/>
                    <a:pt x="664" y="551"/>
                    <a:pt x="664" y="551"/>
                  </a:cubicBezTo>
                  <a:cubicBezTo>
                    <a:pt x="660" y="545"/>
                    <a:pt x="658" y="540"/>
                    <a:pt x="656" y="537"/>
                  </a:cubicBezTo>
                  <a:cubicBezTo>
                    <a:pt x="654" y="534"/>
                    <a:pt x="651" y="528"/>
                    <a:pt x="646" y="521"/>
                  </a:cubicBezTo>
                  <a:cubicBezTo>
                    <a:pt x="645" y="520"/>
                    <a:pt x="645" y="519"/>
                    <a:pt x="645" y="519"/>
                  </a:cubicBezTo>
                  <a:cubicBezTo>
                    <a:pt x="646" y="518"/>
                    <a:pt x="646" y="518"/>
                    <a:pt x="646" y="518"/>
                  </a:cubicBezTo>
                  <a:cubicBezTo>
                    <a:pt x="647" y="519"/>
                    <a:pt x="649" y="520"/>
                    <a:pt x="650" y="520"/>
                  </a:cubicBezTo>
                  <a:cubicBezTo>
                    <a:pt x="652" y="521"/>
                    <a:pt x="653" y="520"/>
                    <a:pt x="655" y="519"/>
                  </a:cubicBezTo>
                  <a:cubicBezTo>
                    <a:pt x="656" y="519"/>
                    <a:pt x="657" y="518"/>
                    <a:pt x="658" y="517"/>
                  </a:cubicBezTo>
                  <a:cubicBezTo>
                    <a:pt x="659" y="516"/>
                    <a:pt x="661" y="515"/>
                    <a:pt x="662" y="513"/>
                  </a:cubicBezTo>
                  <a:cubicBezTo>
                    <a:pt x="673" y="499"/>
                    <a:pt x="673" y="499"/>
                    <a:pt x="673" y="499"/>
                  </a:cubicBezTo>
                  <a:cubicBezTo>
                    <a:pt x="664" y="484"/>
                    <a:pt x="664" y="484"/>
                    <a:pt x="664" y="484"/>
                  </a:cubicBezTo>
                  <a:cubicBezTo>
                    <a:pt x="659" y="485"/>
                    <a:pt x="654" y="486"/>
                    <a:pt x="651" y="487"/>
                  </a:cubicBezTo>
                  <a:cubicBezTo>
                    <a:pt x="647" y="488"/>
                    <a:pt x="644" y="489"/>
                    <a:pt x="642" y="490"/>
                  </a:cubicBezTo>
                  <a:cubicBezTo>
                    <a:pt x="639" y="492"/>
                    <a:pt x="638" y="494"/>
                    <a:pt x="637" y="495"/>
                  </a:cubicBezTo>
                  <a:cubicBezTo>
                    <a:pt x="636" y="497"/>
                    <a:pt x="636" y="499"/>
                    <a:pt x="637" y="501"/>
                  </a:cubicBezTo>
                  <a:cubicBezTo>
                    <a:pt x="635" y="502"/>
                    <a:pt x="635" y="502"/>
                    <a:pt x="635" y="502"/>
                  </a:cubicBezTo>
                  <a:cubicBezTo>
                    <a:pt x="634" y="500"/>
                    <a:pt x="633" y="498"/>
                    <a:pt x="632" y="496"/>
                  </a:cubicBezTo>
                  <a:cubicBezTo>
                    <a:pt x="631" y="494"/>
                    <a:pt x="630" y="492"/>
                    <a:pt x="629" y="491"/>
                  </a:cubicBezTo>
                  <a:cubicBezTo>
                    <a:pt x="628" y="489"/>
                    <a:pt x="627" y="487"/>
                    <a:pt x="626" y="485"/>
                  </a:cubicBezTo>
                  <a:cubicBezTo>
                    <a:pt x="625" y="483"/>
                    <a:pt x="623" y="481"/>
                    <a:pt x="622" y="479"/>
                  </a:cubicBezTo>
                  <a:close/>
                  <a:moveTo>
                    <a:pt x="657" y="541"/>
                  </a:moveTo>
                  <a:cubicBezTo>
                    <a:pt x="660" y="546"/>
                    <a:pt x="662" y="552"/>
                    <a:pt x="665" y="556"/>
                  </a:cubicBezTo>
                  <a:cubicBezTo>
                    <a:pt x="667" y="561"/>
                    <a:pt x="669" y="564"/>
                    <a:pt x="670" y="566"/>
                  </a:cubicBezTo>
                  <a:cubicBezTo>
                    <a:pt x="685" y="595"/>
                    <a:pt x="685" y="595"/>
                    <a:pt x="685" y="595"/>
                  </a:cubicBezTo>
                  <a:cubicBezTo>
                    <a:pt x="713" y="587"/>
                    <a:pt x="713" y="587"/>
                    <a:pt x="713" y="587"/>
                  </a:cubicBezTo>
                  <a:cubicBezTo>
                    <a:pt x="713" y="586"/>
                    <a:pt x="713" y="586"/>
                    <a:pt x="713" y="586"/>
                  </a:cubicBezTo>
                  <a:cubicBezTo>
                    <a:pt x="704" y="585"/>
                    <a:pt x="696" y="583"/>
                    <a:pt x="690" y="581"/>
                  </a:cubicBezTo>
                  <a:cubicBezTo>
                    <a:pt x="685" y="579"/>
                    <a:pt x="681" y="576"/>
                    <a:pt x="679" y="572"/>
                  </a:cubicBezTo>
                  <a:cubicBezTo>
                    <a:pt x="677" y="569"/>
                    <a:pt x="677" y="566"/>
                    <a:pt x="679" y="563"/>
                  </a:cubicBezTo>
                  <a:cubicBezTo>
                    <a:pt x="681" y="561"/>
                    <a:pt x="684" y="558"/>
                    <a:pt x="690" y="555"/>
                  </a:cubicBezTo>
                  <a:cubicBezTo>
                    <a:pt x="735" y="532"/>
                    <a:pt x="735" y="532"/>
                    <a:pt x="735" y="532"/>
                  </a:cubicBezTo>
                  <a:cubicBezTo>
                    <a:pt x="738" y="531"/>
                    <a:pt x="741" y="530"/>
                    <a:pt x="742" y="530"/>
                  </a:cubicBezTo>
                  <a:cubicBezTo>
                    <a:pt x="743" y="530"/>
                    <a:pt x="745" y="530"/>
                    <a:pt x="746" y="531"/>
                  </a:cubicBezTo>
                  <a:cubicBezTo>
                    <a:pt x="748" y="530"/>
                    <a:pt x="748" y="530"/>
                    <a:pt x="748" y="530"/>
                  </a:cubicBezTo>
                  <a:cubicBezTo>
                    <a:pt x="746" y="527"/>
                    <a:pt x="744" y="524"/>
                    <a:pt x="743" y="523"/>
                  </a:cubicBezTo>
                  <a:cubicBezTo>
                    <a:pt x="742" y="521"/>
                    <a:pt x="741" y="519"/>
                    <a:pt x="741" y="518"/>
                  </a:cubicBezTo>
                  <a:cubicBezTo>
                    <a:pt x="740" y="516"/>
                    <a:pt x="739" y="515"/>
                    <a:pt x="738" y="513"/>
                  </a:cubicBezTo>
                  <a:cubicBezTo>
                    <a:pt x="737" y="511"/>
                    <a:pt x="736" y="508"/>
                    <a:pt x="734" y="505"/>
                  </a:cubicBezTo>
                  <a:cubicBezTo>
                    <a:pt x="733" y="505"/>
                    <a:pt x="733" y="505"/>
                    <a:pt x="733" y="505"/>
                  </a:cubicBezTo>
                  <a:cubicBezTo>
                    <a:pt x="733" y="507"/>
                    <a:pt x="733" y="509"/>
                    <a:pt x="732" y="510"/>
                  </a:cubicBezTo>
                  <a:cubicBezTo>
                    <a:pt x="731" y="511"/>
                    <a:pt x="729" y="512"/>
                    <a:pt x="725" y="514"/>
                  </a:cubicBezTo>
                  <a:cubicBezTo>
                    <a:pt x="684" y="535"/>
                    <a:pt x="684" y="535"/>
                    <a:pt x="684" y="535"/>
                  </a:cubicBezTo>
                  <a:cubicBezTo>
                    <a:pt x="677" y="539"/>
                    <a:pt x="672" y="541"/>
                    <a:pt x="668" y="541"/>
                  </a:cubicBezTo>
                  <a:cubicBezTo>
                    <a:pt x="664" y="542"/>
                    <a:pt x="661" y="542"/>
                    <a:pt x="658" y="540"/>
                  </a:cubicBezTo>
                  <a:cubicBezTo>
                    <a:pt x="657" y="541"/>
                    <a:pt x="657" y="541"/>
                    <a:pt x="657" y="541"/>
                  </a:cubicBezTo>
                  <a:close/>
                  <a:moveTo>
                    <a:pt x="773" y="588"/>
                  </a:moveTo>
                  <a:cubicBezTo>
                    <a:pt x="774" y="588"/>
                    <a:pt x="774" y="588"/>
                    <a:pt x="774" y="588"/>
                  </a:cubicBezTo>
                  <a:cubicBezTo>
                    <a:pt x="776" y="592"/>
                    <a:pt x="777" y="596"/>
                    <a:pt x="778" y="598"/>
                  </a:cubicBezTo>
                  <a:cubicBezTo>
                    <a:pt x="779" y="600"/>
                    <a:pt x="779" y="602"/>
                    <a:pt x="780" y="604"/>
                  </a:cubicBezTo>
                  <a:cubicBezTo>
                    <a:pt x="781" y="608"/>
                    <a:pt x="784" y="613"/>
                    <a:pt x="787" y="620"/>
                  </a:cubicBezTo>
                  <a:cubicBezTo>
                    <a:pt x="787" y="620"/>
                    <a:pt x="787" y="620"/>
                    <a:pt x="787" y="620"/>
                  </a:cubicBezTo>
                  <a:cubicBezTo>
                    <a:pt x="785" y="621"/>
                    <a:pt x="785" y="621"/>
                    <a:pt x="785" y="621"/>
                  </a:cubicBezTo>
                  <a:cubicBezTo>
                    <a:pt x="783" y="619"/>
                    <a:pt x="779" y="618"/>
                    <a:pt x="776" y="619"/>
                  </a:cubicBezTo>
                  <a:cubicBezTo>
                    <a:pt x="772" y="619"/>
                    <a:pt x="765" y="621"/>
                    <a:pt x="755" y="625"/>
                  </a:cubicBezTo>
                  <a:cubicBezTo>
                    <a:pt x="750" y="627"/>
                    <a:pt x="750" y="627"/>
                    <a:pt x="750" y="627"/>
                  </a:cubicBezTo>
                  <a:cubicBezTo>
                    <a:pt x="735" y="633"/>
                    <a:pt x="735" y="633"/>
                    <a:pt x="735" y="633"/>
                  </a:cubicBezTo>
                  <a:cubicBezTo>
                    <a:pt x="726" y="636"/>
                    <a:pt x="720" y="640"/>
                    <a:pt x="717" y="644"/>
                  </a:cubicBezTo>
                  <a:cubicBezTo>
                    <a:pt x="713" y="648"/>
                    <a:pt x="713" y="653"/>
                    <a:pt x="715" y="659"/>
                  </a:cubicBezTo>
                  <a:cubicBezTo>
                    <a:pt x="716" y="661"/>
                    <a:pt x="718" y="663"/>
                    <a:pt x="720" y="665"/>
                  </a:cubicBezTo>
                  <a:cubicBezTo>
                    <a:pt x="723" y="667"/>
                    <a:pt x="726" y="668"/>
                    <a:pt x="729" y="668"/>
                  </a:cubicBezTo>
                  <a:cubicBezTo>
                    <a:pt x="731" y="669"/>
                    <a:pt x="734" y="668"/>
                    <a:pt x="736" y="668"/>
                  </a:cubicBezTo>
                  <a:cubicBezTo>
                    <a:pt x="739" y="667"/>
                    <a:pt x="743" y="666"/>
                    <a:pt x="749" y="664"/>
                  </a:cubicBezTo>
                  <a:cubicBezTo>
                    <a:pt x="759" y="660"/>
                    <a:pt x="759" y="660"/>
                    <a:pt x="759" y="660"/>
                  </a:cubicBezTo>
                  <a:cubicBezTo>
                    <a:pt x="773" y="655"/>
                    <a:pt x="781" y="651"/>
                    <a:pt x="785" y="648"/>
                  </a:cubicBezTo>
                  <a:cubicBezTo>
                    <a:pt x="788" y="644"/>
                    <a:pt x="790" y="641"/>
                    <a:pt x="791" y="636"/>
                  </a:cubicBezTo>
                  <a:cubicBezTo>
                    <a:pt x="792" y="635"/>
                    <a:pt x="792" y="635"/>
                    <a:pt x="792" y="635"/>
                  </a:cubicBezTo>
                  <a:cubicBezTo>
                    <a:pt x="793" y="637"/>
                    <a:pt x="793" y="639"/>
                    <a:pt x="794" y="640"/>
                  </a:cubicBezTo>
                  <a:cubicBezTo>
                    <a:pt x="795" y="642"/>
                    <a:pt x="796" y="645"/>
                    <a:pt x="797" y="648"/>
                  </a:cubicBezTo>
                  <a:cubicBezTo>
                    <a:pt x="798" y="652"/>
                    <a:pt x="799" y="655"/>
                    <a:pt x="800" y="656"/>
                  </a:cubicBezTo>
                  <a:cubicBezTo>
                    <a:pt x="801" y="658"/>
                    <a:pt x="802" y="660"/>
                    <a:pt x="802" y="661"/>
                  </a:cubicBezTo>
                  <a:cubicBezTo>
                    <a:pt x="801" y="662"/>
                    <a:pt x="801" y="662"/>
                    <a:pt x="801" y="662"/>
                  </a:cubicBezTo>
                  <a:cubicBezTo>
                    <a:pt x="797" y="658"/>
                    <a:pt x="793" y="657"/>
                    <a:pt x="788" y="657"/>
                  </a:cubicBezTo>
                  <a:cubicBezTo>
                    <a:pt x="783" y="657"/>
                    <a:pt x="774" y="660"/>
                    <a:pt x="761" y="665"/>
                  </a:cubicBezTo>
                  <a:cubicBezTo>
                    <a:pt x="750" y="669"/>
                    <a:pt x="750" y="669"/>
                    <a:pt x="750" y="669"/>
                  </a:cubicBezTo>
                  <a:cubicBezTo>
                    <a:pt x="738" y="674"/>
                    <a:pt x="729" y="675"/>
                    <a:pt x="722" y="672"/>
                  </a:cubicBezTo>
                  <a:cubicBezTo>
                    <a:pt x="715" y="670"/>
                    <a:pt x="709" y="664"/>
                    <a:pt x="706" y="654"/>
                  </a:cubicBezTo>
                  <a:cubicBezTo>
                    <a:pt x="702" y="644"/>
                    <a:pt x="702" y="636"/>
                    <a:pt x="705" y="630"/>
                  </a:cubicBezTo>
                  <a:cubicBezTo>
                    <a:pt x="708" y="624"/>
                    <a:pt x="715" y="618"/>
                    <a:pt x="726" y="614"/>
                  </a:cubicBezTo>
                  <a:cubicBezTo>
                    <a:pt x="743" y="608"/>
                    <a:pt x="743" y="608"/>
                    <a:pt x="743" y="608"/>
                  </a:cubicBezTo>
                  <a:cubicBezTo>
                    <a:pt x="756" y="603"/>
                    <a:pt x="763" y="599"/>
                    <a:pt x="767" y="597"/>
                  </a:cubicBezTo>
                  <a:cubicBezTo>
                    <a:pt x="770" y="594"/>
                    <a:pt x="772" y="592"/>
                    <a:pt x="773" y="588"/>
                  </a:cubicBezTo>
                  <a:close/>
                  <a:moveTo>
                    <a:pt x="786" y="674"/>
                  </a:moveTo>
                  <a:cubicBezTo>
                    <a:pt x="733" y="742"/>
                    <a:pt x="733" y="742"/>
                    <a:pt x="733" y="742"/>
                  </a:cubicBezTo>
                  <a:cubicBezTo>
                    <a:pt x="734" y="744"/>
                    <a:pt x="734" y="744"/>
                    <a:pt x="734" y="744"/>
                  </a:cubicBezTo>
                  <a:cubicBezTo>
                    <a:pt x="780" y="731"/>
                    <a:pt x="780" y="731"/>
                    <a:pt x="780" y="731"/>
                  </a:cubicBezTo>
                  <a:cubicBezTo>
                    <a:pt x="794" y="727"/>
                    <a:pt x="803" y="725"/>
                    <a:pt x="808" y="726"/>
                  </a:cubicBezTo>
                  <a:cubicBezTo>
                    <a:pt x="813" y="726"/>
                    <a:pt x="817" y="728"/>
                    <a:pt x="820" y="732"/>
                  </a:cubicBezTo>
                  <a:cubicBezTo>
                    <a:pt x="822" y="731"/>
                    <a:pt x="822" y="731"/>
                    <a:pt x="822" y="731"/>
                  </a:cubicBezTo>
                  <a:cubicBezTo>
                    <a:pt x="821" y="730"/>
                    <a:pt x="821" y="728"/>
                    <a:pt x="820" y="726"/>
                  </a:cubicBezTo>
                  <a:cubicBezTo>
                    <a:pt x="820" y="724"/>
                    <a:pt x="819" y="722"/>
                    <a:pt x="818" y="718"/>
                  </a:cubicBezTo>
                  <a:cubicBezTo>
                    <a:pt x="817" y="714"/>
                    <a:pt x="816" y="712"/>
                    <a:pt x="816" y="710"/>
                  </a:cubicBezTo>
                  <a:cubicBezTo>
                    <a:pt x="815" y="708"/>
                    <a:pt x="815" y="706"/>
                    <a:pt x="814" y="705"/>
                  </a:cubicBezTo>
                  <a:cubicBezTo>
                    <a:pt x="812" y="705"/>
                    <a:pt x="812" y="705"/>
                    <a:pt x="812" y="705"/>
                  </a:cubicBezTo>
                  <a:cubicBezTo>
                    <a:pt x="812" y="710"/>
                    <a:pt x="810" y="713"/>
                    <a:pt x="806" y="716"/>
                  </a:cubicBezTo>
                  <a:cubicBezTo>
                    <a:pt x="802" y="719"/>
                    <a:pt x="793" y="722"/>
                    <a:pt x="779" y="726"/>
                  </a:cubicBezTo>
                  <a:cubicBezTo>
                    <a:pt x="771" y="729"/>
                    <a:pt x="771" y="729"/>
                    <a:pt x="771" y="729"/>
                  </a:cubicBezTo>
                  <a:cubicBezTo>
                    <a:pt x="807" y="681"/>
                    <a:pt x="807" y="681"/>
                    <a:pt x="807" y="681"/>
                  </a:cubicBezTo>
                  <a:cubicBezTo>
                    <a:pt x="807" y="680"/>
                    <a:pt x="807" y="678"/>
                    <a:pt x="806" y="676"/>
                  </a:cubicBezTo>
                  <a:cubicBezTo>
                    <a:pt x="805" y="674"/>
                    <a:pt x="805" y="672"/>
                    <a:pt x="804" y="671"/>
                  </a:cubicBezTo>
                  <a:cubicBezTo>
                    <a:pt x="804" y="669"/>
                    <a:pt x="803" y="667"/>
                    <a:pt x="802" y="663"/>
                  </a:cubicBezTo>
                  <a:cubicBezTo>
                    <a:pt x="801" y="659"/>
                    <a:pt x="801" y="657"/>
                    <a:pt x="800" y="656"/>
                  </a:cubicBezTo>
                  <a:cubicBezTo>
                    <a:pt x="799" y="656"/>
                    <a:pt x="799" y="656"/>
                    <a:pt x="799" y="656"/>
                  </a:cubicBezTo>
                  <a:cubicBezTo>
                    <a:pt x="799" y="660"/>
                    <a:pt x="798" y="662"/>
                    <a:pt x="796" y="664"/>
                  </a:cubicBezTo>
                  <a:cubicBezTo>
                    <a:pt x="794" y="666"/>
                    <a:pt x="791" y="668"/>
                    <a:pt x="785" y="669"/>
                  </a:cubicBezTo>
                  <a:cubicBezTo>
                    <a:pt x="759" y="677"/>
                    <a:pt x="759" y="677"/>
                    <a:pt x="759" y="677"/>
                  </a:cubicBezTo>
                  <a:cubicBezTo>
                    <a:pt x="745" y="681"/>
                    <a:pt x="736" y="683"/>
                    <a:pt x="731" y="682"/>
                  </a:cubicBezTo>
                  <a:cubicBezTo>
                    <a:pt x="726" y="682"/>
                    <a:pt x="722" y="680"/>
                    <a:pt x="719" y="676"/>
                  </a:cubicBezTo>
                  <a:cubicBezTo>
                    <a:pt x="717" y="677"/>
                    <a:pt x="717" y="677"/>
                    <a:pt x="717" y="677"/>
                  </a:cubicBezTo>
                  <a:cubicBezTo>
                    <a:pt x="718" y="679"/>
                    <a:pt x="719" y="681"/>
                    <a:pt x="720" y="683"/>
                  </a:cubicBezTo>
                  <a:cubicBezTo>
                    <a:pt x="720" y="685"/>
                    <a:pt x="721" y="688"/>
                    <a:pt x="722" y="690"/>
                  </a:cubicBezTo>
                  <a:cubicBezTo>
                    <a:pt x="722" y="693"/>
                    <a:pt x="723" y="695"/>
                    <a:pt x="724" y="697"/>
                  </a:cubicBezTo>
                  <a:cubicBezTo>
                    <a:pt x="724" y="699"/>
                    <a:pt x="725" y="701"/>
                    <a:pt x="725" y="703"/>
                  </a:cubicBezTo>
                  <a:cubicBezTo>
                    <a:pt x="727" y="703"/>
                    <a:pt x="727" y="703"/>
                    <a:pt x="727" y="703"/>
                  </a:cubicBezTo>
                  <a:cubicBezTo>
                    <a:pt x="728" y="698"/>
                    <a:pt x="730" y="695"/>
                    <a:pt x="734" y="692"/>
                  </a:cubicBezTo>
                  <a:cubicBezTo>
                    <a:pt x="738" y="689"/>
                    <a:pt x="747" y="686"/>
                    <a:pt x="760" y="682"/>
                  </a:cubicBezTo>
                  <a:cubicBezTo>
                    <a:pt x="786" y="674"/>
                    <a:pt x="786" y="674"/>
                    <a:pt x="786" y="674"/>
                  </a:cubicBezTo>
                  <a:close/>
                  <a:moveTo>
                    <a:pt x="737" y="745"/>
                  </a:moveTo>
                  <a:cubicBezTo>
                    <a:pt x="739" y="745"/>
                    <a:pt x="739" y="745"/>
                    <a:pt x="739" y="745"/>
                  </a:cubicBezTo>
                  <a:cubicBezTo>
                    <a:pt x="741" y="747"/>
                    <a:pt x="744" y="748"/>
                    <a:pt x="748" y="748"/>
                  </a:cubicBezTo>
                  <a:cubicBezTo>
                    <a:pt x="752" y="748"/>
                    <a:pt x="759" y="747"/>
                    <a:pt x="770" y="745"/>
                  </a:cubicBezTo>
                  <a:cubicBezTo>
                    <a:pt x="775" y="744"/>
                    <a:pt x="775" y="744"/>
                    <a:pt x="775" y="744"/>
                  </a:cubicBezTo>
                  <a:cubicBezTo>
                    <a:pt x="810" y="735"/>
                    <a:pt x="810" y="735"/>
                    <a:pt x="810" y="735"/>
                  </a:cubicBezTo>
                  <a:cubicBezTo>
                    <a:pt x="814" y="735"/>
                    <a:pt x="816" y="734"/>
                    <a:pt x="817" y="733"/>
                  </a:cubicBezTo>
                  <a:cubicBezTo>
                    <a:pt x="818" y="732"/>
                    <a:pt x="819" y="731"/>
                    <a:pt x="819" y="729"/>
                  </a:cubicBezTo>
                  <a:cubicBezTo>
                    <a:pt x="821" y="729"/>
                    <a:pt x="821" y="729"/>
                    <a:pt x="821" y="729"/>
                  </a:cubicBezTo>
                  <a:cubicBezTo>
                    <a:pt x="822" y="733"/>
                    <a:pt x="822" y="735"/>
                    <a:pt x="823" y="737"/>
                  </a:cubicBezTo>
                  <a:cubicBezTo>
                    <a:pt x="823" y="739"/>
                    <a:pt x="824" y="741"/>
                    <a:pt x="824" y="743"/>
                  </a:cubicBezTo>
                  <a:cubicBezTo>
                    <a:pt x="824" y="744"/>
                    <a:pt x="825" y="746"/>
                    <a:pt x="825" y="748"/>
                  </a:cubicBezTo>
                  <a:cubicBezTo>
                    <a:pt x="826" y="750"/>
                    <a:pt x="827" y="753"/>
                    <a:pt x="828" y="757"/>
                  </a:cubicBezTo>
                  <a:cubicBezTo>
                    <a:pt x="826" y="757"/>
                    <a:pt x="826" y="757"/>
                    <a:pt x="826" y="757"/>
                  </a:cubicBezTo>
                  <a:cubicBezTo>
                    <a:pt x="825" y="756"/>
                    <a:pt x="824" y="755"/>
                    <a:pt x="822" y="755"/>
                  </a:cubicBezTo>
                  <a:cubicBezTo>
                    <a:pt x="821" y="754"/>
                    <a:pt x="819" y="755"/>
                    <a:pt x="815" y="756"/>
                  </a:cubicBezTo>
                  <a:cubicBezTo>
                    <a:pt x="774" y="765"/>
                    <a:pt x="774" y="765"/>
                    <a:pt x="774" y="765"/>
                  </a:cubicBezTo>
                  <a:cubicBezTo>
                    <a:pt x="764" y="767"/>
                    <a:pt x="757" y="770"/>
                    <a:pt x="753" y="771"/>
                  </a:cubicBezTo>
                  <a:cubicBezTo>
                    <a:pt x="750" y="773"/>
                    <a:pt x="748" y="776"/>
                    <a:pt x="747" y="779"/>
                  </a:cubicBezTo>
                  <a:cubicBezTo>
                    <a:pt x="745" y="779"/>
                    <a:pt x="745" y="779"/>
                    <a:pt x="745" y="779"/>
                  </a:cubicBezTo>
                  <a:cubicBezTo>
                    <a:pt x="744" y="776"/>
                    <a:pt x="744" y="774"/>
                    <a:pt x="743" y="771"/>
                  </a:cubicBezTo>
                  <a:cubicBezTo>
                    <a:pt x="743" y="768"/>
                    <a:pt x="742" y="765"/>
                    <a:pt x="741" y="762"/>
                  </a:cubicBezTo>
                  <a:cubicBezTo>
                    <a:pt x="741" y="759"/>
                    <a:pt x="740" y="756"/>
                    <a:pt x="739" y="753"/>
                  </a:cubicBezTo>
                  <a:cubicBezTo>
                    <a:pt x="738" y="750"/>
                    <a:pt x="738" y="747"/>
                    <a:pt x="737" y="745"/>
                  </a:cubicBezTo>
                  <a:close/>
                  <a:moveTo>
                    <a:pt x="842" y="832"/>
                  </a:moveTo>
                  <a:cubicBezTo>
                    <a:pt x="841" y="829"/>
                    <a:pt x="841" y="827"/>
                    <a:pt x="840" y="825"/>
                  </a:cubicBezTo>
                  <a:cubicBezTo>
                    <a:pt x="840" y="823"/>
                    <a:pt x="840" y="821"/>
                    <a:pt x="839" y="819"/>
                  </a:cubicBezTo>
                  <a:cubicBezTo>
                    <a:pt x="839" y="817"/>
                    <a:pt x="838" y="815"/>
                    <a:pt x="838" y="812"/>
                  </a:cubicBezTo>
                  <a:cubicBezTo>
                    <a:pt x="838" y="810"/>
                    <a:pt x="837" y="808"/>
                    <a:pt x="837" y="805"/>
                  </a:cubicBezTo>
                  <a:cubicBezTo>
                    <a:pt x="835" y="805"/>
                    <a:pt x="835" y="805"/>
                    <a:pt x="835" y="805"/>
                  </a:cubicBezTo>
                  <a:cubicBezTo>
                    <a:pt x="835" y="808"/>
                    <a:pt x="835" y="809"/>
                    <a:pt x="833" y="811"/>
                  </a:cubicBezTo>
                  <a:cubicBezTo>
                    <a:pt x="832" y="812"/>
                    <a:pt x="830" y="813"/>
                    <a:pt x="827" y="814"/>
                  </a:cubicBezTo>
                  <a:cubicBezTo>
                    <a:pt x="824" y="814"/>
                    <a:pt x="821" y="815"/>
                    <a:pt x="817" y="814"/>
                  </a:cubicBezTo>
                  <a:cubicBezTo>
                    <a:pt x="813" y="814"/>
                    <a:pt x="808" y="814"/>
                    <a:pt x="803" y="813"/>
                  </a:cubicBezTo>
                  <a:cubicBezTo>
                    <a:pt x="778" y="808"/>
                    <a:pt x="778" y="808"/>
                    <a:pt x="778" y="808"/>
                  </a:cubicBezTo>
                  <a:cubicBezTo>
                    <a:pt x="815" y="785"/>
                    <a:pt x="815" y="785"/>
                    <a:pt x="815" y="785"/>
                  </a:cubicBezTo>
                  <a:cubicBezTo>
                    <a:pt x="817" y="784"/>
                    <a:pt x="818" y="784"/>
                    <a:pt x="820" y="783"/>
                  </a:cubicBezTo>
                  <a:cubicBezTo>
                    <a:pt x="821" y="783"/>
                    <a:pt x="822" y="782"/>
                    <a:pt x="823" y="782"/>
                  </a:cubicBezTo>
                  <a:cubicBezTo>
                    <a:pt x="825" y="781"/>
                    <a:pt x="827" y="782"/>
                    <a:pt x="829" y="782"/>
                  </a:cubicBezTo>
                  <a:cubicBezTo>
                    <a:pt x="830" y="783"/>
                    <a:pt x="831" y="784"/>
                    <a:pt x="831" y="786"/>
                  </a:cubicBezTo>
                  <a:cubicBezTo>
                    <a:pt x="833" y="786"/>
                    <a:pt x="833" y="786"/>
                    <a:pt x="833" y="786"/>
                  </a:cubicBezTo>
                  <a:cubicBezTo>
                    <a:pt x="832" y="782"/>
                    <a:pt x="832" y="779"/>
                    <a:pt x="831" y="776"/>
                  </a:cubicBezTo>
                  <a:cubicBezTo>
                    <a:pt x="830" y="773"/>
                    <a:pt x="830" y="770"/>
                    <a:pt x="829" y="767"/>
                  </a:cubicBezTo>
                  <a:cubicBezTo>
                    <a:pt x="829" y="764"/>
                    <a:pt x="828" y="761"/>
                    <a:pt x="827" y="758"/>
                  </a:cubicBezTo>
                  <a:cubicBezTo>
                    <a:pt x="827" y="755"/>
                    <a:pt x="827" y="752"/>
                    <a:pt x="826" y="749"/>
                  </a:cubicBezTo>
                  <a:cubicBezTo>
                    <a:pt x="824" y="750"/>
                    <a:pt x="824" y="750"/>
                    <a:pt x="824" y="750"/>
                  </a:cubicBezTo>
                  <a:cubicBezTo>
                    <a:pt x="825" y="752"/>
                    <a:pt x="824" y="754"/>
                    <a:pt x="822" y="756"/>
                  </a:cubicBezTo>
                  <a:cubicBezTo>
                    <a:pt x="820" y="758"/>
                    <a:pt x="816" y="761"/>
                    <a:pt x="810" y="765"/>
                  </a:cubicBezTo>
                  <a:cubicBezTo>
                    <a:pt x="745" y="806"/>
                    <a:pt x="745" y="806"/>
                    <a:pt x="745" y="806"/>
                  </a:cubicBezTo>
                  <a:cubicBezTo>
                    <a:pt x="746" y="807"/>
                    <a:pt x="746" y="807"/>
                    <a:pt x="746" y="807"/>
                  </a:cubicBezTo>
                  <a:cubicBezTo>
                    <a:pt x="811" y="821"/>
                    <a:pt x="811" y="821"/>
                    <a:pt x="811" y="821"/>
                  </a:cubicBezTo>
                  <a:cubicBezTo>
                    <a:pt x="811" y="821"/>
                    <a:pt x="812" y="821"/>
                    <a:pt x="814" y="822"/>
                  </a:cubicBezTo>
                  <a:cubicBezTo>
                    <a:pt x="829" y="825"/>
                    <a:pt x="838" y="828"/>
                    <a:pt x="840" y="832"/>
                  </a:cubicBezTo>
                  <a:cubicBezTo>
                    <a:pt x="842" y="832"/>
                    <a:pt x="842" y="832"/>
                    <a:pt x="842" y="832"/>
                  </a:cubicBezTo>
                  <a:close/>
                  <a:moveTo>
                    <a:pt x="754" y="835"/>
                  </a:moveTo>
                  <a:cubicBezTo>
                    <a:pt x="756" y="835"/>
                    <a:pt x="756" y="835"/>
                    <a:pt x="756" y="835"/>
                  </a:cubicBezTo>
                  <a:cubicBezTo>
                    <a:pt x="758" y="837"/>
                    <a:pt x="761" y="839"/>
                    <a:pt x="765" y="839"/>
                  </a:cubicBezTo>
                  <a:cubicBezTo>
                    <a:pt x="769" y="840"/>
                    <a:pt x="774" y="840"/>
                    <a:pt x="782" y="838"/>
                  </a:cubicBezTo>
                  <a:cubicBezTo>
                    <a:pt x="828" y="832"/>
                    <a:pt x="828" y="832"/>
                    <a:pt x="828" y="832"/>
                  </a:cubicBezTo>
                  <a:cubicBezTo>
                    <a:pt x="832" y="832"/>
                    <a:pt x="834" y="831"/>
                    <a:pt x="836" y="830"/>
                  </a:cubicBezTo>
                  <a:cubicBezTo>
                    <a:pt x="837" y="829"/>
                    <a:pt x="837" y="828"/>
                    <a:pt x="838" y="826"/>
                  </a:cubicBezTo>
                  <a:cubicBezTo>
                    <a:pt x="840" y="826"/>
                    <a:pt x="840" y="826"/>
                    <a:pt x="840" y="826"/>
                  </a:cubicBezTo>
                  <a:cubicBezTo>
                    <a:pt x="840" y="831"/>
                    <a:pt x="841" y="836"/>
                    <a:pt x="841" y="840"/>
                  </a:cubicBezTo>
                  <a:cubicBezTo>
                    <a:pt x="842" y="844"/>
                    <a:pt x="842" y="848"/>
                    <a:pt x="843" y="851"/>
                  </a:cubicBezTo>
                  <a:cubicBezTo>
                    <a:pt x="847" y="882"/>
                    <a:pt x="847" y="882"/>
                    <a:pt x="847" y="882"/>
                  </a:cubicBezTo>
                  <a:cubicBezTo>
                    <a:pt x="825" y="889"/>
                    <a:pt x="825" y="889"/>
                    <a:pt x="825" y="889"/>
                  </a:cubicBezTo>
                  <a:cubicBezTo>
                    <a:pt x="825" y="888"/>
                    <a:pt x="825" y="888"/>
                    <a:pt x="825" y="888"/>
                  </a:cubicBezTo>
                  <a:cubicBezTo>
                    <a:pt x="831" y="882"/>
                    <a:pt x="835" y="876"/>
                    <a:pt x="837" y="871"/>
                  </a:cubicBezTo>
                  <a:cubicBezTo>
                    <a:pt x="840" y="866"/>
                    <a:pt x="841" y="860"/>
                    <a:pt x="840" y="855"/>
                  </a:cubicBezTo>
                  <a:cubicBezTo>
                    <a:pt x="840" y="854"/>
                    <a:pt x="840" y="853"/>
                    <a:pt x="839" y="853"/>
                  </a:cubicBezTo>
                  <a:cubicBezTo>
                    <a:pt x="839" y="852"/>
                    <a:pt x="839" y="852"/>
                    <a:pt x="839" y="851"/>
                  </a:cubicBezTo>
                  <a:cubicBezTo>
                    <a:pt x="806" y="856"/>
                    <a:pt x="806" y="856"/>
                    <a:pt x="806" y="856"/>
                  </a:cubicBezTo>
                  <a:cubicBezTo>
                    <a:pt x="806" y="857"/>
                    <a:pt x="806" y="858"/>
                    <a:pt x="806" y="859"/>
                  </a:cubicBezTo>
                  <a:cubicBezTo>
                    <a:pt x="806" y="859"/>
                    <a:pt x="806" y="860"/>
                    <a:pt x="806" y="860"/>
                  </a:cubicBezTo>
                  <a:cubicBezTo>
                    <a:pt x="807" y="866"/>
                    <a:pt x="809" y="870"/>
                    <a:pt x="811" y="872"/>
                  </a:cubicBezTo>
                  <a:cubicBezTo>
                    <a:pt x="814" y="875"/>
                    <a:pt x="818" y="877"/>
                    <a:pt x="823" y="878"/>
                  </a:cubicBezTo>
                  <a:cubicBezTo>
                    <a:pt x="823" y="879"/>
                    <a:pt x="823" y="879"/>
                    <a:pt x="823" y="879"/>
                  </a:cubicBezTo>
                  <a:cubicBezTo>
                    <a:pt x="791" y="884"/>
                    <a:pt x="791" y="884"/>
                    <a:pt x="791" y="884"/>
                  </a:cubicBezTo>
                  <a:cubicBezTo>
                    <a:pt x="791" y="882"/>
                    <a:pt x="791" y="882"/>
                    <a:pt x="791" y="882"/>
                  </a:cubicBezTo>
                  <a:cubicBezTo>
                    <a:pt x="795" y="880"/>
                    <a:pt x="798" y="877"/>
                    <a:pt x="800" y="874"/>
                  </a:cubicBezTo>
                  <a:cubicBezTo>
                    <a:pt x="802" y="871"/>
                    <a:pt x="802" y="866"/>
                    <a:pt x="802" y="861"/>
                  </a:cubicBezTo>
                  <a:cubicBezTo>
                    <a:pt x="802" y="860"/>
                    <a:pt x="801" y="860"/>
                    <a:pt x="801" y="859"/>
                  </a:cubicBezTo>
                  <a:cubicBezTo>
                    <a:pt x="801" y="859"/>
                    <a:pt x="801" y="858"/>
                    <a:pt x="801" y="857"/>
                  </a:cubicBezTo>
                  <a:cubicBezTo>
                    <a:pt x="781" y="860"/>
                    <a:pt x="781" y="860"/>
                    <a:pt x="781" y="860"/>
                  </a:cubicBezTo>
                  <a:cubicBezTo>
                    <a:pt x="775" y="860"/>
                    <a:pt x="771" y="862"/>
                    <a:pt x="768" y="864"/>
                  </a:cubicBezTo>
                  <a:cubicBezTo>
                    <a:pt x="766" y="866"/>
                    <a:pt x="765" y="869"/>
                    <a:pt x="765" y="873"/>
                  </a:cubicBezTo>
                  <a:cubicBezTo>
                    <a:pt x="766" y="877"/>
                    <a:pt x="769" y="882"/>
                    <a:pt x="773" y="886"/>
                  </a:cubicBezTo>
                  <a:cubicBezTo>
                    <a:pt x="778" y="890"/>
                    <a:pt x="785" y="895"/>
                    <a:pt x="793" y="899"/>
                  </a:cubicBezTo>
                  <a:cubicBezTo>
                    <a:pt x="793" y="900"/>
                    <a:pt x="793" y="900"/>
                    <a:pt x="793" y="900"/>
                  </a:cubicBezTo>
                  <a:cubicBezTo>
                    <a:pt x="764" y="898"/>
                    <a:pt x="764" y="898"/>
                    <a:pt x="764" y="898"/>
                  </a:cubicBezTo>
                  <a:cubicBezTo>
                    <a:pt x="759" y="863"/>
                    <a:pt x="759" y="863"/>
                    <a:pt x="759" y="863"/>
                  </a:cubicBezTo>
                  <a:cubicBezTo>
                    <a:pt x="759" y="861"/>
                    <a:pt x="758" y="857"/>
                    <a:pt x="757" y="852"/>
                  </a:cubicBezTo>
                  <a:cubicBezTo>
                    <a:pt x="756" y="847"/>
                    <a:pt x="755" y="841"/>
                    <a:pt x="754" y="835"/>
                  </a:cubicBezTo>
                  <a:close/>
                  <a:moveTo>
                    <a:pt x="763" y="895"/>
                  </a:moveTo>
                  <a:cubicBezTo>
                    <a:pt x="763" y="898"/>
                    <a:pt x="764" y="901"/>
                    <a:pt x="764" y="904"/>
                  </a:cubicBezTo>
                  <a:cubicBezTo>
                    <a:pt x="764" y="906"/>
                    <a:pt x="764" y="910"/>
                    <a:pt x="765" y="913"/>
                  </a:cubicBezTo>
                  <a:cubicBezTo>
                    <a:pt x="765" y="916"/>
                    <a:pt x="765" y="919"/>
                    <a:pt x="765" y="922"/>
                  </a:cubicBezTo>
                  <a:cubicBezTo>
                    <a:pt x="765" y="925"/>
                    <a:pt x="765" y="928"/>
                    <a:pt x="765" y="930"/>
                  </a:cubicBezTo>
                  <a:cubicBezTo>
                    <a:pt x="767" y="930"/>
                    <a:pt x="767" y="930"/>
                    <a:pt x="767" y="930"/>
                  </a:cubicBezTo>
                  <a:cubicBezTo>
                    <a:pt x="768" y="927"/>
                    <a:pt x="771" y="925"/>
                    <a:pt x="775" y="924"/>
                  </a:cubicBezTo>
                  <a:cubicBezTo>
                    <a:pt x="778" y="923"/>
                    <a:pt x="786" y="922"/>
                    <a:pt x="79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2"/>
                    <a:pt x="807" y="923"/>
                    <a:pt x="807" y="923"/>
                  </a:cubicBezTo>
                  <a:cubicBezTo>
                    <a:pt x="808" y="930"/>
                    <a:pt x="797" y="937"/>
                    <a:pt x="774" y="944"/>
                  </a:cubicBezTo>
                  <a:cubicBezTo>
                    <a:pt x="771" y="945"/>
                    <a:pt x="768" y="945"/>
                    <a:pt x="766" y="946"/>
                  </a:cubicBezTo>
                  <a:cubicBezTo>
                    <a:pt x="766" y="947"/>
                    <a:pt x="766" y="949"/>
                    <a:pt x="767" y="950"/>
                  </a:cubicBezTo>
                  <a:cubicBezTo>
                    <a:pt x="767" y="952"/>
                    <a:pt x="767" y="954"/>
                    <a:pt x="767" y="957"/>
                  </a:cubicBezTo>
                  <a:cubicBezTo>
                    <a:pt x="767" y="959"/>
                    <a:pt x="767" y="962"/>
                    <a:pt x="767" y="964"/>
                  </a:cubicBezTo>
                  <a:cubicBezTo>
                    <a:pt x="767" y="967"/>
                    <a:pt x="767" y="970"/>
                    <a:pt x="768" y="975"/>
                  </a:cubicBezTo>
                  <a:cubicBezTo>
                    <a:pt x="769" y="975"/>
                    <a:pt x="769" y="975"/>
                    <a:pt x="769" y="975"/>
                  </a:cubicBezTo>
                  <a:cubicBezTo>
                    <a:pt x="770" y="971"/>
                    <a:pt x="775" y="967"/>
                    <a:pt x="786" y="962"/>
                  </a:cubicBezTo>
                  <a:cubicBezTo>
                    <a:pt x="790" y="961"/>
                    <a:pt x="793" y="960"/>
                    <a:pt x="794" y="959"/>
                  </a:cubicBezTo>
                  <a:cubicBezTo>
                    <a:pt x="799" y="957"/>
                    <a:pt x="803" y="955"/>
                    <a:pt x="805" y="951"/>
                  </a:cubicBezTo>
                  <a:cubicBezTo>
                    <a:pt x="808" y="948"/>
                    <a:pt x="809" y="944"/>
                    <a:pt x="810" y="938"/>
                  </a:cubicBezTo>
                  <a:cubicBezTo>
                    <a:pt x="812" y="946"/>
                    <a:pt x="814" y="952"/>
                    <a:pt x="818" y="956"/>
                  </a:cubicBezTo>
                  <a:cubicBezTo>
                    <a:pt x="822" y="960"/>
                    <a:pt x="826" y="961"/>
                    <a:pt x="832" y="961"/>
                  </a:cubicBezTo>
                  <a:cubicBezTo>
                    <a:pt x="839" y="961"/>
                    <a:pt x="844" y="958"/>
                    <a:pt x="847" y="952"/>
                  </a:cubicBezTo>
                  <a:cubicBezTo>
                    <a:pt x="850" y="947"/>
                    <a:pt x="851" y="937"/>
                    <a:pt x="850" y="925"/>
                  </a:cubicBezTo>
                  <a:cubicBezTo>
                    <a:pt x="850" y="915"/>
                    <a:pt x="850" y="915"/>
                    <a:pt x="850" y="915"/>
                  </a:cubicBezTo>
                  <a:cubicBezTo>
                    <a:pt x="849" y="910"/>
                    <a:pt x="849" y="906"/>
                    <a:pt x="849" y="903"/>
                  </a:cubicBezTo>
                  <a:cubicBezTo>
                    <a:pt x="849" y="900"/>
                    <a:pt x="849" y="897"/>
                    <a:pt x="849" y="894"/>
                  </a:cubicBezTo>
                  <a:cubicBezTo>
                    <a:pt x="847" y="894"/>
                    <a:pt x="847" y="894"/>
                    <a:pt x="847" y="894"/>
                  </a:cubicBezTo>
                  <a:cubicBezTo>
                    <a:pt x="847" y="896"/>
                    <a:pt x="846" y="897"/>
                    <a:pt x="844" y="897"/>
                  </a:cubicBezTo>
                  <a:cubicBezTo>
                    <a:pt x="843" y="898"/>
                    <a:pt x="841" y="898"/>
                    <a:pt x="837" y="899"/>
                  </a:cubicBezTo>
                  <a:cubicBezTo>
                    <a:pt x="801" y="901"/>
                    <a:pt x="801" y="901"/>
                    <a:pt x="801" y="901"/>
                  </a:cubicBezTo>
                  <a:cubicBezTo>
                    <a:pt x="795" y="901"/>
                    <a:pt x="795" y="901"/>
                    <a:pt x="795" y="901"/>
                  </a:cubicBezTo>
                  <a:cubicBezTo>
                    <a:pt x="784" y="901"/>
                    <a:pt x="777" y="901"/>
                    <a:pt x="773" y="900"/>
                  </a:cubicBezTo>
                  <a:cubicBezTo>
                    <a:pt x="770" y="900"/>
                    <a:pt x="767" y="898"/>
                    <a:pt x="765" y="895"/>
                  </a:cubicBezTo>
                  <a:cubicBezTo>
                    <a:pt x="763" y="895"/>
                    <a:pt x="763" y="895"/>
                    <a:pt x="763" y="895"/>
                  </a:cubicBezTo>
                  <a:close/>
                  <a:moveTo>
                    <a:pt x="812" y="921"/>
                  </a:moveTo>
                  <a:cubicBezTo>
                    <a:pt x="844" y="919"/>
                    <a:pt x="844" y="919"/>
                    <a:pt x="844" y="919"/>
                  </a:cubicBezTo>
                  <a:cubicBezTo>
                    <a:pt x="845" y="920"/>
                    <a:pt x="845" y="921"/>
                    <a:pt x="845" y="921"/>
                  </a:cubicBezTo>
                  <a:cubicBezTo>
                    <a:pt x="845" y="922"/>
                    <a:pt x="845" y="923"/>
                    <a:pt x="845" y="925"/>
                  </a:cubicBezTo>
                  <a:cubicBezTo>
                    <a:pt x="845" y="929"/>
                    <a:pt x="844" y="933"/>
                    <a:pt x="841" y="935"/>
                  </a:cubicBezTo>
                  <a:cubicBezTo>
                    <a:pt x="839" y="938"/>
                    <a:pt x="835" y="939"/>
                    <a:pt x="829" y="939"/>
                  </a:cubicBezTo>
                  <a:cubicBezTo>
                    <a:pt x="824" y="939"/>
                    <a:pt x="819" y="939"/>
                    <a:pt x="817" y="936"/>
                  </a:cubicBezTo>
                  <a:cubicBezTo>
                    <a:pt x="814" y="934"/>
                    <a:pt x="812" y="931"/>
                    <a:pt x="812" y="926"/>
                  </a:cubicBezTo>
                  <a:cubicBezTo>
                    <a:pt x="812" y="924"/>
                    <a:pt x="812" y="923"/>
                    <a:pt x="812" y="923"/>
                  </a:cubicBezTo>
                  <a:cubicBezTo>
                    <a:pt x="812" y="922"/>
                    <a:pt x="812" y="921"/>
                    <a:pt x="812" y="921"/>
                  </a:cubicBezTo>
                  <a:close/>
                  <a:moveTo>
                    <a:pt x="775" y="960"/>
                  </a:moveTo>
                  <a:cubicBezTo>
                    <a:pt x="798" y="966"/>
                    <a:pt x="798" y="966"/>
                    <a:pt x="798" y="966"/>
                  </a:cubicBezTo>
                  <a:cubicBezTo>
                    <a:pt x="798" y="968"/>
                    <a:pt x="798" y="968"/>
                    <a:pt x="798" y="968"/>
                  </a:cubicBezTo>
                  <a:cubicBezTo>
                    <a:pt x="790" y="969"/>
                    <a:pt x="784" y="972"/>
                    <a:pt x="779" y="976"/>
                  </a:cubicBezTo>
                  <a:cubicBezTo>
                    <a:pt x="774" y="980"/>
                    <a:pt x="772" y="984"/>
                    <a:pt x="772" y="990"/>
                  </a:cubicBezTo>
                  <a:cubicBezTo>
                    <a:pt x="772" y="994"/>
                    <a:pt x="773" y="997"/>
                    <a:pt x="776" y="1000"/>
                  </a:cubicBezTo>
                  <a:cubicBezTo>
                    <a:pt x="780" y="1003"/>
                    <a:pt x="784" y="1004"/>
                    <a:pt x="788" y="1004"/>
                  </a:cubicBezTo>
                  <a:cubicBezTo>
                    <a:pt x="793" y="1004"/>
                    <a:pt x="796" y="1003"/>
                    <a:pt x="798" y="1001"/>
                  </a:cubicBezTo>
                  <a:cubicBezTo>
                    <a:pt x="800" y="999"/>
                    <a:pt x="802" y="996"/>
                    <a:pt x="803" y="991"/>
                  </a:cubicBezTo>
                  <a:cubicBezTo>
                    <a:pt x="803" y="990"/>
                    <a:pt x="804" y="989"/>
                    <a:pt x="804" y="987"/>
                  </a:cubicBezTo>
                  <a:cubicBezTo>
                    <a:pt x="806" y="979"/>
                    <a:pt x="808" y="973"/>
                    <a:pt x="811" y="970"/>
                  </a:cubicBezTo>
                  <a:cubicBezTo>
                    <a:pt x="813" y="968"/>
                    <a:pt x="815" y="967"/>
                    <a:pt x="818" y="966"/>
                  </a:cubicBezTo>
                  <a:cubicBezTo>
                    <a:pt x="821" y="965"/>
                    <a:pt x="824" y="964"/>
                    <a:pt x="828" y="964"/>
                  </a:cubicBezTo>
                  <a:cubicBezTo>
                    <a:pt x="836" y="964"/>
                    <a:pt x="843" y="967"/>
                    <a:pt x="848" y="972"/>
                  </a:cubicBezTo>
                  <a:cubicBezTo>
                    <a:pt x="853" y="978"/>
                    <a:pt x="856" y="985"/>
                    <a:pt x="856" y="995"/>
                  </a:cubicBezTo>
                  <a:cubicBezTo>
                    <a:pt x="856" y="999"/>
                    <a:pt x="856" y="1003"/>
                    <a:pt x="854" y="1007"/>
                  </a:cubicBezTo>
                  <a:cubicBezTo>
                    <a:pt x="853" y="1012"/>
                    <a:pt x="852" y="1016"/>
                    <a:pt x="849" y="1021"/>
                  </a:cubicBezTo>
                  <a:cubicBezTo>
                    <a:pt x="828" y="1016"/>
                    <a:pt x="828" y="1016"/>
                    <a:pt x="828" y="1016"/>
                  </a:cubicBezTo>
                  <a:cubicBezTo>
                    <a:pt x="829" y="1014"/>
                    <a:pt x="829" y="1014"/>
                    <a:pt x="829" y="1014"/>
                  </a:cubicBezTo>
                  <a:cubicBezTo>
                    <a:pt x="835" y="1013"/>
                    <a:pt x="841" y="1011"/>
                    <a:pt x="845" y="1008"/>
                  </a:cubicBezTo>
                  <a:cubicBezTo>
                    <a:pt x="849" y="1005"/>
                    <a:pt x="851" y="1001"/>
                    <a:pt x="851" y="996"/>
                  </a:cubicBezTo>
                  <a:cubicBezTo>
                    <a:pt x="851" y="992"/>
                    <a:pt x="849" y="990"/>
                    <a:pt x="846" y="987"/>
                  </a:cubicBezTo>
                  <a:cubicBezTo>
                    <a:pt x="844" y="985"/>
                    <a:pt x="840" y="984"/>
                    <a:pt x="836" y="984"/>
                  </a:cubicBezTo>
                  <a:cubicBezTo>
                    <a:pt x="832" y="984"/>
                    <a:pt x="829" y="985"/>
                    <a:pt x="827" y="987"/>
                  </a:cubicBezTo>
                  <a:cubicBezTo>
                    <a:pt x="825" y="989"/>
                    <a:pt x="824" y="993"/>
                    <a:pt x="822" y="1000"/>
                  </a:cubicBezTo>
                  <a:cubicBezTo>
                    <a:pt x="820" y="1009"/>
                    <a:pt x="817" y="1015"/>
                    <a:pt x="813" y="1019"/>
                  </a:cubicBezTo>
                  <a:cubicBezTo>
                    <a:pt x="809" y="1022"/>
                    <a:pt x="804" y="1024"/>
                    <a:pt x="796" y="1024"/>
                  </a:cubicBezTo>
                  <a:cubicBezTo>
                    <a:pt x="788" y="1024"/>
                    <a:pt x="780" y="1021"/>
                    <a:pt x="775" y="1015"/>
                  </a:cubicBezTo>
                  <a:cubicBezTo>
                    <a:pt x="769" y="1009"/>
                    <a:pt x="766" y="1001"/>
                    <a:pt x="766" y="991"/>
                  </a:cubicBezTo>
                  <a:cubicBezTo>
                    <a:pt x="766" y="985"/>
                    <a:pt x="767" y="980"/>
                    <a:pt x="768" y="975"/>
                  </a:cubicBezTo>
                  <a:cubicBezTo>
                    <a:pt x="770" y="969"/>
                    <a:pt x="772" y="965"/>
                    <a:pt x="775" y="9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6AE350F3-0600-4DFB-9396-D3D80F4A2833}"/>
                </a:ext>
              </a:extLst>
            </p:cNvPr>
            <p:cNvSpPr/>
            <p:nvPr/>
          </p:nvSpPr>
          <p:spPr bwMode="auto">
            <a:xfrm>
              <a:off x="3867151" y="3454400"/>
              <a:ext cx="73025" cy="131763"/>
            </a:xfrm>
            <a:custGeom>
              <a:avLst/>
              <a:gdLst>
                <a:gd name="T0" fmla="*/ 10 w 94"/>
                <a:gd name="T1" fmla="*/ 0 h 170"/>
                <a:gd name="T2" fmla="*/ 40 w 94"/>
                <a:gd name="T3" fmla="*/ 8 h 170"/>
                <a:gd name="T4" fmla="*/ 81 w 94"/>
                <a:gd name="T5" fmla="*/ 8 h 170"/>
                <a:gd name="T6" fmla="*/ 92 w 94"/>
                <a:gd name="T7" fmla="*/ 4 h 170"/>
                <a:gd name="T8" fmla="*/ 93 w 94"/>
                <a:gd name="T9" fmla="*/ 13 h 170"/>
                <a:gd name="T10" fmla="*/ 93 w 94"/>
                <a:gd name="T11" fmla="*/ 24 h 170"/>
                <a:gd name="T12" fmla="*/ 91 w 94"/>
                <a:gd name="T13" fmla="*/ 33 h 170"/>
                <a:gd name="T14" fmla="*/ 81 w 94"/>
                <a:gd name="T15" fmla="*/ 29 h 170"/>
                <a:gd name="T16" fmla="*/ 17 w 94"/>
                <a:gd name="T17" fmla="*/ 29 h 170"/>
                <a:gd name="T18" fmla="*/ 7 w 94"/>
                <a:gd name="T19" fmla="*/ 35 h 170"/>
                <a:gd name="T20" fmla="*/ 8 w 94"/>
                <a:gd name="T21" fmla="*/ 17 h 170"/>
                <a:gd name="T22" fmla="*/ 8 w 94"/>
                <a:gd name="T23" fmla="*/ 0 h 170"/>
                <a:gd name="T24" fmla="*/ 7 w 94"/>
                <a:gd name="T25" fmla="*/ 53 h 170"/>
                <a:gd name="T26" fmla="*/ 6 w 94"/>
                <a:gd name="T27" fmla="*/ 72 h 170"/>
                <a:gd name="T28" fmla="*/ 7 w 94"/>
                <a:gd name="T29" fmla="*/ 80 h 170"/>
                <a:gd name="T30" fmla="*/ 37 w 94"/>
                <a:gd name="T31" fmla="*/ 74 h 170"/>
                <a:gd name="T32" fmla="*/ 81 w 94"/>
                <a:gd name="T33" fmla="*/ 77 h 170"/>
                <a:gd name="T34" fmla="*/ 85 w 94"/>
                <a:gd name="T35" fmla="*/ 79 h 170"/>
                <a:gd name="T36" fmla="*/ 65 w 94"/>
                <a:gd name="T37" fmla="*/ 99 h 170"/>
                <a:gd name="T38" fmla="*/ 89 w 94"/>
                <a:gd name="T39" fmla="*/ 98 h 170"/>
                <a:gd name="T40" fmla="*/ 69 w 94"/>
                <a:gd name="T41" fmla="*/ 30 h 170"/>
                <a:gd name="T42" fmla="*/ 81 w 94"/>
                <a:gd name="T43" fmla="*/ 44 h 170"/>
                <a:gd name="T44" fmla="*/ 85 w 94"/>
                <a:gd name="T45" fmla="*/ 56 h 170"/>
                <a:gd name="T46" fmla="*/ 43 w 94"/>
                <a:gd name="T47" fmla="*/ 54 h 170"/>
                <a:gd name="T48" fmla="*/ 16 w 94"/>
                <a:gd name="T49" fmla="*/ 51 h 170"/>
                <a:gd name="T50" fmla="*/ 7 w 94"/>
                <a:gd name="T51" fmla="*/ 45 h 170"/>
                <a:gd name="T52" fmla="*/ 32 w 94"/>
                <a:gd name="T53" fmla="*/ 133 h 170"/>
                <a:gd name="T54" fmla="*/ 2 w 94"/>
                <a:gd name="T55" fmla="*/ 138 h 170"/>
                <a:gd name="T56" fmla="*/ 1 w 94"/>
                <a:gd name="T57" fmla="*/ 129 h 170"/>
                <a:gd name="T58" fmla="*/ 3 w 94"/>
                <a:gd name="T59" fmla="*/ 111 h 170"/>
                <a:gd name="T60" fmla="*/ 5 w 94"/>
                <a:gd name="T61" fmla="*/ 103 h 170"/>
                <a:gd name="T62" fmla="*/ 34 w 94"/>
                <a:gd name="T63" fmla="*/ 113 h 170"/>
                <a:gd name="T64" fmla="*/ 73 w 94"/>
                <a:gd name="T65" fmla="*/ 99 h 170"/>
                <a:gd name="T66" fmla="*/ 89 w 94"/>
                <a:gd name="T67" fmla="*/ 88 h 170"/>
                <a:gd name="T68" fmla="*/ 89 w 94"/>
                <a:gd name="T69" fmla="*/ 99 h 170"/>
                <a:gd name="T70" fmla="*/ 88 w 94"/>
                <a:gd name="T71" fmla="*/ 125 h 170"/>
                <a:gd name="T72" fmla="*/ 86 w 94"/>
                <a:gd name="T73" fmla="*/ 125 h 170"/>
                <a:gd name="T74" fmla="*/ 80 w 94"/>
                <a:gd name="T75" fmla="*/ 119 h 170"/>
                <a:gd name="T76" fmla="*/ 71 w 94"/>
                <a:gd name="T77" fmla="*/ 122 h 170"/>
                <a:gd name="T78" fmla="*/ 68 w 94"/>
                <a:gd name="T79" fmla="*/ 145 h 170"/>
                <a:gd name="T80" fmla="*/ 76 w 94"/>
                <a:gd name="T81" fmla="*/ 147 h 170"/>
                <a:gd name="T82" fmla="*/ 84 w 94"/>
                <a:gd name="T83" fmla="*/ 143 h 170"/>
                <a:gd name="T84" fmla="*/ 86 w 94"/>
                <a:gd name="T85" fmla="*/ 143 h 170"/>
                <a:gd name="T86" fmla="*/ 84 w 94"/>
                <a:gd name="T87" fmla="*/ 162 h 170"/>
                <a:gd name="T88" fmla="*/ 82 w 94"/>
                <a:gd name="T89" fmla="*/ 170 h 170"/>
                <a:gd name="T90" fmla="*/ 60 w 94"/>
                <a:gd name="T91" fmla="*/ 14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70">
                  <a:moveTo>
                    <a:pt x="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4" y="5"/>
                    <a:pt x="18" y="6"/>
                  </a:cubicBezTo>
                  <a:cubicBezTo>
                    <a:pt x="21" y="7"/>
                    <a:pt x="29" y="7"/>
                    <a:pt x="40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5" y="8"/>
                    <a:pt x="87" y="8"/>
                    <a:pt x="89" y="8"/>
                  </a:cubicBezTo>
                  <a:cubicBezTo>
                    <a:pt x="90" y="7"/>
                    <a:pt x="91" y="6"/>
                    <a:pt x="9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8"/>
                    <a:pt x="93" y="11"/>
                    <a:pt x="93" y="13"/>
                  </a:cubicBezTo>
                  <a:cubicBezTo>
                    <a:pt x="93" y="15"/>
                    <a:pt x="93" y="17"/>
                    <a:pt x="93" y="19"/>
                  </a:cubicBezTo>
                  <a:cubicBezTo>
                    <a:pt x="93" y="21"/>
                    <a:pt x="93" y="22"/>
                    <a:pt x="93" y="24"/>
                  </a:cubicBezTo>
                  <a:cubicBezTo>
                    <a:pt x="93" y="26"/>
                    <a:pt x="93" y="29"/>
                    <a:pt x="93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1"/>
                    <a:pt x="88" y="30"/>
                  </a:cubicBezTo>
                  <a:cubicBezTo>
                    <a:pt x="87" y="29"/>
                    <a:pt x="85" y="29"/>
                    <a:pt x="81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28" y="28"/>
                    <a:pt x="21" y="28"/>
                    <a:pt x="17" y="29"/>
                  </a:cubicBezTo>
                  <a:cubicBezTo>
                    <a:pt x="14" y="30"/>
                    <a:pt x="11" y="32"/>
                    <a:pt x="9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2"/>
                    <a:pt x="8" y="29"/>
                    <a:pt x="8" y="27"/>
                  </a:cubicBezTo>
                  <a:cubicBezTo>
                    <a:pt x="8" y="24"/>
                    <a:pt x="8" y="21"/>
                    <a:pt x="8" y="17"/>
                  </a:cubicBezTo>
                  <a:cubicBezTo>
                    <a:pt x="8" y="14"/>
                    <a:pt x="8" y="11"/>
                    <a:pt x="8" y="8"/>
                  </a:cubicBezTo>
                  <a:cubicBezTo>
                    <a:pt x="8" y="5"/>
                    <a:pt x="8" y="3"/>
                    <a:pt x="8" y="0"/>
                  </a:cubicBezTo>
                  <a:close/>
                  <a:moveTo>
                    <a:pt x="7" y="45"/>
                  </a:moveTo>
                  <a:cubicBezTo>
                    <a:pt x="7" y="48"/>
                    <a:pt x="7" y="50"/>
                    <a:pt x="7" y="53"/>
                  </a:cubicBezTo>
                  <a:cubicBezTo>
                    <a:pt x="6" y="56"/>
                    <a:pt x="6" y="59"/>
                    <a:pt x="6" y="62"/>
                  </a:cubicBezTo>
                  <a:cubicBezTo>
                    <a:pt x="6" y="66"/>
                    <a:pt x="6" y="69"/>
                    <a:pt x="6" y="72"/>
                  </a:cubicBezTo>
                  <a:cubicBezTo>
                    <a:pt x="5" y="75"/>
                    <a:pt x="5" y="77"/>
                    <a:pt x="5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77"/>
                    <a:pt x="11" y="76"/>
                    <a:pt x="15" y="75"/>
                  </a:cubicBezTo>
                  <a:cubicBezTo>
                    <a:pt x="19" y="74"/>
                    <a:pt x="26" y="74"/>
                    <a:pt x="37" y="74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1" y="77"/>
                    <a:pt x="81" y="77"/>
                    <a:pt x="81" y="77"/>
                  </a:cubicBezTo>
                  <a:cubicBezTo>
                    <a:pt x="82" y="77"/>
                    <a:pt x="84" y="77"/>
                    <a:pt x="84" y="77"/>
                  </a:cubicBezTo>
                  <a:cubicBezTo>
                    <a:pt x="85" y="78"/>
                    <a:pt x="85" y="78"/>
                    <a:pt x="85" y="79"/>
                  </a:cubicBezTo>
                  <a:cubicBezTo>
                    <a:pt x="85" y="82"/>
                    <a:pt x="83" y="85"/>
                    <a:pt x="79" y="88"/>
                  </a:cubicBezTo>
                  <a:cubicBezTo>
                    <a:pt x="76" y="92"/>
                    <a:pt x="71" y="96"/>
                    <a:pt x="65" y="99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74" y="36"/>
                    <a:pt x="78" y="40"/>
                    <a:pt x="81" y="44"/>
                  </a:cubicBezTo>
                  <a:cubicBezTo>
                    <a:pt x="85" y="48"/>
                    <a:pt x="86" y="52"/>
                    <a:pt x="86" y="54"/>
                  </a:cubicBezTo>
                  <a:cubicBezTo>
                    <a:pt x="86" y="55"/>
                    <a:pt x="86" y="56"/>
                    <a:pt x="85" y="56"/>
                  </a:cubicBezTo>
                  <a:cubicBezTo>
                    <a:pt x="85" y="56"/>
                    <a:pt x="84" y="56"/>
                    <a:pt x="82" y="56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7" y="53"/>
                    <a:pt x="20" y="52"/>
                    <a:pt x="16" y="51"/>
                  </a:cubicBezTo>
                  <a:cubicBezTo>
                    <a:pt x="13" y="50"/>
                    <a:pt x="10" y="48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lose/>
                  <a:moveTo>
                    <a:pt x="38" y="134"/>
                  </a:moveTo>
                  <a:cubicBezTo>
                    <a:pt x="32" y="133"/>
                    <a:pt x="32" y="133"/>
                    <a:pt x="32" y="133"/>
                  </a:cubicBezTo>
                  <a:cubicBezTo>
                    <a:pt x="22" y="132"/>
                    <a:pt x="15" y="132"/>
                    <a:pt x="11" y="133"/>
                  </a:cubicBezTo>
                  <a:cubicBezTo>
                    <a:pt x="7" y="134"/>
                    <a:pt x="4" y="135"/>
                    <a:pt x="2" y="13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" y="135"/>
                    <a:pt x="1" y="132"/>
                    <a:pt x="1" y="129"/>
                  </a:cubicBezTo>
                  <a:cubicBezTo>
                    <a:pt x="2" y="126"/>
                    <a:pt x="2" y="123"/>
                    <a:pt x="2" y="120"/>
                  </a:cubicBezTo>
                  <a:cubicBezTo>
                    <a:pt x="3" y="117"/>
                    <a:pt x="3" y="114"/>
                    <a:pt x="3" y="111"/>
                  </a:cubicBezTo>
                  <a:cubicBezTo>
                    <a:pt x="3" y="108"/>
                    <a:pt x="3" y="105"/>
                    <a:pt x="3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7" y="106"/>
                    <a:pt x="9" y="108"/>
                    <a:pt x="13" y="109"/>
                  </a:cubicBezTo>
                  <a:cubicBezTo>
                    <a:pt x="17" y="111"/>
                    <a:pt x="24" y="112"/>
                    <a:pt x="34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8" y="97"/>
                    <a:pt x="82" y="95"/>
                    <a:pt x="84" y="94"/>
                  </a:cubicBezTo>
                  <a:cubicBezTo>
                    <a:pt x="86" y="92"/>
                    <a:pt x="88" y="90"/>
                    <a:pt x="89" y="88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90" y="93"/>
                    <a:pt x="90" y="97"/>
                    <a:pt x="89" y="99"/>
                  </a:cubicBezTo>
                  <a:cubicBezTo>
                    <a:pt x="89" y="102"/>
                    <a:pt x="89" y="104"/>
                    <a:pt x="89" y="107"/>
                  </a:cubicBezTo>
                  <a:cubicBezTo>
                    <a:pt x="88" y="111"/>
                    <a:pt x="88" y="117"/>
                    <a:pt x="88" y="125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85" y="123"/>
                    <a:pt x="84" y="122"/>
                    <a:pt x="83" y="121"/>
                  </a:cubicBezTo>
                  <a:cubicBezTo>
                    <a:pt x="82" y="120"/>
                    <a:pt x="81" y="119"/>
                    <a:pt x="80" y="119"/>
                  </a:cubicBezTo>
                  <a:cubicBezTo>
                    <a:pt x="79" y="119"/>
                    <a:pt x="78" y="119"/>
                    <a:pt x="76" y="120"/>
                  </a:cubicBezTo>
                  <a:cubicBezTo>
                    <a:pt x="75" y="120"/>
                    <a:pt x="73" y="121"/>
                    <a:pt x="71" y="122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9" y="145"/>
                    <a:pt x="71" y="146"/>
                    <a:pt x="72" y="146"/>
                  </a:cubicBezTo>
                  <a:cubicBezTo>
                    <a:pt x="74" y="147"/>
                    <a:pt x="75" y="147"/>
                    <a:pt x="76" y="147"/>
                  </a:cubicBezTo>
                  <a:cubicBezTo>
                    <a:pt x="78" y="147"/>
                    <a:pt x="80" y="147"/>
                    <a:pt x="81" y="146"/>
                  </a:cubicBezTo>
                  <a:cubicBezTo>
                    <a:pt x="82" y="146"/>
                    <a:pt x="83" y="144"/>
                    <a:pt x="84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5" y="149"/>
                    <a:pt x="85" y="154"/>
                    <a:pt x="84" y="157"/>
                  </a:cubicBezTo>
                  <a:cubicBezTo>
                    <a:pt x="84" y="158"/>
                    <a:pt x="84" y="160"/>
                    <a:pt x="84" y="162"/>
                  </a:cubicBezTo>
                  <a:cubicBezTo>
                    <a:pt x="84" y="164"/>
                    <a:pt x="84" y="167"/>
                    <a:pt x="84" y="170"/>
                  </a:cubicBezTo>
                  <a:cubicBezTo>
                    <a:pt x="82" y="170"/>
                    <a:pt x="82" y="170"/>
                    <a:pt x="82" y="170"/>
                  </a:cubicBezTo>
                  <a:cubicBezTo>
                    <a:pt x="81" y="167"/>
                    <a:pt x="79" y="164"/>
                    <a:pt x="76" y="161"/>
                  </a:cubicBezTo>
                  <a:cubicBezTo>
                    <a:pt x="72" y="157"/>
                    <a:pt x="67" y="153"/>
                    <a:pt x="60" y="148"/>
                  </a:cubicBezTo>
                  <a:lnTo>
                    <a:pt x="3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CE9509A6-67CB-453A-8097-7903664A2D05}"/>
                </a:ext>
              </a:extLst>
            </p:cNvPr>
            <p:cNvSpPr/>
            <p:nvPr/>
          </p:nvSpPr>
          <p:spPr bwMode="auto">
            <a:xfrm>
              <a:off x="2768601" y="2754313"/>
              <a:ext cx="52388" cy="88900"/>
            </a:xfrm>
            <a:custGeom>
              <a:avLst/>
              <a:gdLst>
                <a:gd name="T0" fmla="*/ 29 w 66"/>
                <a:gd name="T1" fmla="*/ 112 h 115"/>
                <a:gd name="T2" fmla="*/ 41 w 66"/>
                <a:gd name="T3" fmla="*/ 112 h 115"/>
                <a:gd name="T4" fmla="*/ 57 w 66"/>
                <a:gd name="T5" fmla="*/ 89 h 115"/>
                <a:gd name="T6" fmla="*/ 53 w 66"/>
                <a:gd name="T7" fmla="*/ 75 h 115"/>
                <a:gd name="T8" fmla="*/ 52 w 66"/>
                <a:gd name="T9" fmla="*/ 58 h 115"/>
                <a:gd name="T10" fmla="*/ 60 w 66"/>
                <a:gd name="T11" fmla="*/ 29 h 115"/>
                <a:gd name="T12" fmla="*/ 57 w 66"/>
                <a:gd name="T13" fmla="*/ 4 h 115"/>
                <a:gd name="T14" fmla="*/ 44 w 66"/>
                <a:gd name="T15" fmla="*/ 2 h 115"/>
                <a:gd name="T16" fmla="*/ 30 w 66"/>
                <a:gd name="T17" fmla="*/ 18 h 115"/>
                <a:gd name="T18" fmla="*/ 12 w 66"/>
                <a:gd name="T19" fmla="*/ 12 h 115"/>
                <a:gd name="T20" fmla="*/ 18 w 66"/>
                <a:gd name="T21" fmla="*/ 35 h 115"/>
                <a:gd name="T22" fmla="*/ 0 w 66"/>
                <a:gd name="T23" fmla="*/ 56 h 115"/>
                <a:gd name="T24" fmla="*/ 23 w 66"/>
                <a:gd name="T25" fmla="*/ 62 h 115"/>
                <a:gd name="T26" fmla="*/ 20 w 66"/>
                <a:gd name="T27" fmla="*/ 98 h 115"/>
                <a:gd name="T28" fmla="*/ 29 w 66"/>
                <a:gd name="T29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115">
                  <a:moveTo>
                    <a:pt x="29" y="112"/>
                  </a:moveTo>
                  <a:cubicBezTo>
                    <a:pt x="28" y="111"/>
                    <a:pt x="36" y="115"/>
                    <a:pt x="41" y="112"/>
                  </a:cubicBezTo>
                  <a:cubicBezTo>
                    <a:pt x="45" y="110"/>
                    <a:pt x="54" y="92"/>
                    <a:pt x="57" y="89"/>
                  </a:cubicBezTo>
                  <a:cubicBezTo>
                    <a:pt x="56" y="84"/>
                    <a:pt x="54" y="79"/>
                    <a:pt x="53" y="75"/>
                  </a:cubicBezTo>
                  <a:cubicBezTo>
                    <a:pt x="51" y="70"/>
                    <a:pt x="51" y="66"/>
                    <a:pt x="52" y="58"/>
                  </a:cubicBezTo>
                  <a:cubicBezTo>
                    <a:pt x="52" y="46"/>
                    <a:pt x="46" y="37"/>
                    <a:pt x="60" y="29"/>
                  </a:cubicBezTo>
                  <a:cubicBezTo>
                    <a:pt x="66" y="16"/>
                    <a:pt x="65" y="18"/>
                    <a:pt x="57" y="4"/>
                  </a:cubicBezTo>
                  <a:cubicBezTo>
                    <a:pt x="55" y="0"/>
                    <a:pt x="49" y="2"/>
                    <a:pt x="44" y="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5" y="11"/>
                    <a:pt x="19" y="8"/>
                    <a:pt x="12" y="12"/>
                  </a:cubicBezTo>
                  <a:cubicBezTo>
                    <a:pt x="6" y="15"/>
                    <a:pt x="19" y="27"/>
                    <a:pt x="18" y="35"/>
                  </a:cubicBezTo>
                  <a:cubicBezTo>
                    <a:pt x="18" y="39"/>
                    <a:pt x="12" y="48"/>
                    <a:pt x="0" y="56"/>
                  </a:cubicBezTo>
                  <a:cubicBezTo>
                    <a:pt x="8" y="68"/>
                    <a:pt x="21" y="58"/>
                    <a:pt x="23" y="62"/>
                  </a:cubicBezTo>
                  <a:cubicBezTo>
                    <a:pt x="28" y="71"/>
                    <a:pt x="21" y="90"/>
                    <a:pt x="20" y="98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7EAB241A-5187-4772-A987-CB9A77CA9093}"/>
                </a:ext>
              </a:extLst>
            </p:cNvPr>
            <p:cNvSpPr/>
            <p:nvPr/>
          </p:nvSpPr>
          <p:spPr bwMode="auto">
            <a:xfrm>
              <a:off x="2814638" y="2792413"/>
              <a:ext cx="39688" cy="36513"/>
            </a:xfrm>
            <a:custGeom>
              <a:avLst/>
              <a:gdLst>
                <a:gd name="T0" fmla="*/ 30 w 51"/>
                <a:gd name="T1" fmla="*/ 43 h 46"/>
                <a:gd name="T2" fmla="*/ 35 w 51"/>
                <a:gd name="T3" fmla="*/ 46 h 46"/>
                <a:gd name="T4" fmla="*/ 51 w 51"/>
                <a:gd name="T5" fmla="*/ 26 h 46"/>
                <a:gd name="T6" fmla="*/ 46 w 51"/>
                <a:gd name="T7" fmla="*/ 10 h 46"/>
                <a:gd name="T8" fmla="*/ 0 w 51"/>
                <a:gd name="T9" fmla="*/ 11 h 46"/>
                <a:gd name="T10" fmla="*/ 30 w 51"/>
                <a:gd name="T1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46">
                  <a:moveTo>
                    <a:pt x="30" y="43"/>
                  </a:moveTo>
                  <a:cubicBezTo>
                    <a:pt x="35" y="46"/>
                    <a:pt x="35" y="46"/>
                    <a:pt x="35" y="46"/>
                  </a:cubicBezTo>
                  <a:cubicBezTo>
                    <a:pt x="41" y="40"/>
                    <a:pt x="47" y="33"/>
                    <a:pt x="51" y="26"/>
                  </a:cubicBezTo>
                  <a:cubicBezTo>
                    <a:pt x="50" y="20"/>
                    <a:pt x="49" y="16"/>
                    <a:pt x="46" y="10"/>
                  </a:cubicBezTo>
                  <a:cubicBezTo>
                    <a:pt x="40" y="0"/>
                    <a:pt x="6" y="2"/>
                    <a:pt x="0" y="11"/>
                  </a:cubicBezTo>
                  <a:cubicBezTo>
                    <a:pt x="13" y="20"/>
                    <a:pt x="18" y="20"/>
                    <a:pt x="3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CB60C40A-AA79-495E-BA93-8D4CBDEEA418}"/>
                </a:ext>
              </a:extLst>
            </p:cNvPr>
            <p:cNvSpPr/>
            <p:nvPr/>
          </p:nvSpPr>
          <p:spPr bwMode="auto">
            <a:xfrm>
              <a:off x="2324101" y="3351213"/>
              <a:ext cx="166688" cy="187325"/>
            </a:xfrm>
            <a:custGeom>
              <a:avLst/>
              <a:gdLst>
                <a:gd name="T0" fmla="*/ 157 w 214"/>
                <a:gd name="T1" fmla="*/ 83 h 241"/>
                <a:gd name="T2" fmla="*/ 154 w 214"/>
                <a:gd name="T3" fmla="*/ 90 h 241"/>
                <a:gd name="T4" fmla="*/ 146 w 214"/>
                <a:gd name="T5" fmla="*/ 81 h 241"/>
                <a:gd name="T6" fmla="*/ 137 w 214"/>
                <a:gd name="T7" fmla="*/ 57 h 241"/>
                <a:gd name="T8" fmla="*/ 137 w 214"/>
                <a:gd name="T9" fmla="*/ 48 h 241"/>
                <a:gd name="T10" fmla="*/ 161 w 214"/>
                <a:gd name="T11" fmla="*/ 69 h 241"/>
                <a:gd name="T12" fmla="*/ 157 w 214"/>
                <a:gd name="T13" fmla="*/ 82 h 241"/>
                <a:gd name="T14" fmla="*/ 157 w 214"/>
                <a:gd name="T15" fmla="*/ 83 h 241"/>
                <a:gd name="T16" fmla="*/ 149 w 214"/>
                <a:gd name="T17" fmla="*/ 189 h 241"/>
                <a:gd name="T18" fmla="*/ 171 w 214"/>
                <a:gd name="T19" fmla="*/ 212 h 241"/>
                <a:gd name="T20" fmla="*/ 178 w 214"/>
                <a:gd name="T21" fmla="*/ 217 h 241"/>
                <a:gd name="T22" fmla="*/ 189 w 214"/>
                <a:gd name="T23" fmla="*/ 228 h 241"/>
                <a:gd name="T24" fmla="*/ 206 w 214"/>
                <a:gd name="T25" fmla="*/ 223 h 241"/>
                <a:gd name="T26" fmla="*/ 191 w 214"/>
                <a:gd name="T27" fmla="*/ 209 h 241"/>
                <a:gd name="T28" fmla="*/ 162 w 214"/>
                <a:gd name="T29" fmla="*/ 180 h 241"/>
                <a:gd name="T30" fmla="*/ 118 w 214"/>
                <a:gd name="T31" fmla="*/ 109 h 241"/>
                <a:gd name="T32" fmla="*/ 110 w 214"/>
                <a:gd name="T33" fmla="*/ 95 h 241"/>
                <a:gd name="T34" fmla="*/ 111 w 214"/>
                <a:gd name="T35" fmla="*/ 94 h 241"/>
                <a:gd name="T36" fmla="*/ 146 w 214"/>
                <a:gd name="T37" fmla="*/ 124 h 241"/>
                <a:gd name="T38" fmla="*/ 165 w 214"/>
                <a:gd name="T39" fmla="*/ 105 h 241"/>
                <a:gd name="T40" fmla="*/ 169 w 214"/>
                <a:gd name="T41" fmla="*/ 105 h 241"/>
                <a:gd name="T42" fmla="*/ 184 w 214"/>
                <a:gd name="T43" fmla="*/ 125 h 241"/>
                <a:gd name="T44" fmla="*/ 205 w 214"/>
                <a:gd name="T45" fmla="*/ 140 h 241"/>
                <a:gd name="T46" fmla="*/ 212 w 214"/>
                <a:gd name="T47" fmla="*/ 139 h 241"/>
                <a:gd name="T48" fmla="*/ 214 w 214"/>
                <a:gd name="T49" fmla="*/ 129 h 241"/>
                <a:gd name="T50" fmla="*/ 214 w 214"/>
                <a:gd name="T51" fmla="*/ 122 h 241"/>
                <a:gd name="T52" fmla="*/ 182 w 214"/>
                <a:gd name="T53" fmla="*/ 87 h 241"/>
                <a:gd name="T54" fmla="*/ 174 w 214"/>
                <a:gd name="T55" fmla="*/ 63 h 241"/>
                <a:gd name="T56" fmla="*/ 163 w 214"/>
                <a:gd name="T57" fmla="*/ 41 h 241"/>
                <a:gd name="T58" fmla="*/ 133 w 214"/>
                <a:gd name="T59" fmla="*/ 19 h 241"/>
                <a:gd name="T60" fmla="*/ 125 w 214"/>
                <a:gd name="T61" fmla="*/ 65 h 241"/>
                <a:gd name="T62" fmla="*/ 99 w 214"/>
                <a:gd name="T63" fmla="*/ 41 h 241"/>
                <a:gd name="T64" fmla="*/ 90 w 214"/>
                <a:gd name="T65" fmla="*/ 5 h 241"/>
                <a:gd name="T66" fmla="*/ 87 w 214"/>
                <a:gd name="T67" fmla="*/ 0 h 241"/>
                <a:gd name="T68" fmla="*/ 80 w 214"/>
                <a:gd name="T69" fmla="*/ 8 h 241"/>
                <a:gd name="T70" fmla="*/ 80 w 214"/>
                <a:gd name="T71" fmla="*/ 12 h 241"/>
                <a:gd name="T72" fmla="*/ 83 w 214"/>
                <a:gd name="T73" fmla="*/ 25 h 241"/>
                <a:gd name="T74" fmla="*/ 75 w 214"/>
                <a:gd name="T75" fmla="*/ 24 h 241"/>
                <a:gd name="T76" fmla="*/ 61 w 214"/>
                <a:gd name="T77" fmla="*/ 42 h 241"/>
                <a:gd name="T78" fmla="*/ 70 w 214"/>
                <a:gd name="T79" fmla="*/ 78 h 241"/>
                <a:gd name="T80" fmla="*/ 85 w 214"/>
                <a:gd name="T81" fmla="*/ 107 h 241"/>
                <a:gd name="T82" fmla="*/ 79 w 214"/>
                <a:gd name="T83" fmla="*/ 65 h 241"/>
                <a:gd name="T84" fmla="*/ 102 w 214"/>
                <a:gd name="T85" fmla="*/ 91 h 241"/>
                <a:gd name="T86" fmla="*/ 106 w 214"/>
                <a:gd name="T87" fmla="*/ 111 h 241"/>
                <a:gd name="T88" fmla="*/ 112 w 214"/>
                <a:gd name="T89" fmla="*/ 129 h 241"/>
                <a:gd name="T90" fmla="*/ 112 w 214"/>
                <a:gd name="T91" fmla="*/ 134 h 241"/>
                <a:gd name="T92" fmla="*/ 70 w 214"/>
                <a:gd name="T93" fmla="*/ 96 h 241"/>
                <a:gd name="T94" fmla="*/ 53 w 214"/>
                <a:gd name="T95" fmla="*/ 74 h 241"/>
                <a:gd name="T96" fmla="*/ 39 w 214"/>
                <a:gd name="T97" fmla="*/ 50 h 241"/>
                <a:gd name="T98" fmla="*/ 33 w 214"/>
                <a:gd name="T99" fmla="*/ 58 h 241"/>
                <a:gd name="T100" fmla="*/ 10 w 214"/>
                <a:gd name="T101" fmla="*/ 60 h 241"/>
                <a:gd name="T102" fmla="*/ 4 w 214"/>
                <a:gd name="T103" fmla="*/ 79 h 241"/>
                <a:gd name="T104" fmla="*/ 0 w 214"/>
                <a:gd name="T105" fmla="*/ 91 h 241"/>
                <a:gd name="T106" fmla="*/ 7 w 214"/>
                <a:gd name="T107" fmla="*/ 100 h 241"/>
                <a:gd name="T108" fmla="*/ 40 w 214"/>
                <a:gd name="T109" fmla="*/ 86 h 241"/>
                <a:gd name="T110" fmla="*/ 47 w 214"/>
                <a:gd name="T111" fmla="*/ 118 h 241"/>
                <a:gd name="T112" fmla="*/ 56 w 214"/>
                <a:gd name="T113" fmla="*/ 139 h 241"/>
                <a:gd name="T114" fmla="*/ 63 w 214"/>
                <a:gd name="T115" fmla="*/ 121 h 241"/>
                <a:gd name="T116" fmla="*/ 61 w 214"/>
                <a:gd name="T117" fmla="*/ 108 h 241"/>
                <a:gd name="T118" fmla="*/ 61 w 214"/>
                <a:gd name="T119" fmla="*/ 103 h 241"/>
                <a:gd name="T120" fmla="*/ 83 w 214"/>
                <a:gd name="T121" fmla="*/ 125 h 241"/>
                <a:gd name="T122" fmla="*/ 107 w 214"/>
                <a:gd name="T123" fmla="*/ 144 h 241"/>
                <a:gd name="T124" fmla="*/ 149 w 214"/>
                <a:gd name="T125" fmla="*/ 189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241">
                  <a:moveTo>
                    <a:pt x="157" y="83"/>
                  </a:moveTo>
                  <a:cubicBezTo>
                    <a:pt x="158" y="86"/>
                    <a:pt x="165" y="94"/>
                    <a:pt x="154" y="90"/>
                  </a:cubicBezTo>
                  <a:cubicBezTo>
                    <a:pt x="150" y="88"/>
                    <a:pt x="149" y="84"/>
                    <a:pt x="146" y="81"/>
                  </a:cubicBezTo>
                  <a:cubicBezTo>
                    <a:pt x="143" y="77"/>
                    <a:pt x="137" y="62"/>
                    <a:pt x="137" y="57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49" y="50"/>
                    <a:pt x="155" y="64"/>
                    <a:pt x="161" y="69"/>
                  </a:cubicBezTo>
                  <a:cubicBezTo>
                    <a:pt x="161" y="79"/>
                    <a:pt x="157" y="75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lose/>
                  <a:moveTo>
                    <a:pt x="149" y="189"/>
                  </a:moveTo>
                  <a:cubicBezTo>
                    <a:pt x="171" y="212"/>
                    <a:pt x="171" y="212"/>
                    <a:pt x="171" y="212"/>
                  </a:cubicBezTo>
                  <a:cubicBezTo>
                    <a:pt x="171" y="212"/>
                    <a:pt x="174" y="211"/>
                    <a:pt x="178" y="217"/>
                  </a:cubicBezTo>
                  <a:cubicBezTo>
                    <a:pt x="182" y="222"/>
                    <a:pt x="183" y="227"/>
                    <a:pt x="189" y="228"/>
                  </a:cubicBezTo>
                  <a:cubicBezTo>
                    <a:pt x="199" y="230"/>
                    <a:pt x="211" y="241"/>
                    <a:pt x="206" y="223"/>
                  </a:cubicBezTo>
                  <a:cubicBezTo>
                    <a:pt x="202" y="211"/>
                    <a:pt x="197" y="215"/>
                    <a:pt x="191" y="209"/>
                  </a:cubicBezTo>
                  <a:cubicBezTo>
                    <a:pt x="177" y="198"/>
                    <a:pt x="173" y="193"/>
                    <a:pt x="162" y="180"/>
                  </a:cubicBezTo>
                  <a:cubicBezTo>
                    <a:pt x="143" y="160"/>
                    <a:pt x="118" y="145"/>
                    <a:pt x="118" y="109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25" y="98"/>
                    <a:pt x="133" y="123"/>
                    <a:pt x="146" y="124"/>
                  </a:cubicBezTo>
                  <a:cubicBezTo>
                    <a:pt x="158" y="124"/>
                    <a:pt x="162" y="114"/>
                    <a:pt x="165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1" y="112"/>
                    <a:pt x="180" y="118"/>
                    <a:pt x="184" y="125"/>
                  </a:cubicBezTo>
                  <a:cubicBezTo>
                    <a:pt x="188" y="132"/>
                    <a:pt x="193" y="140"/>
                    <a:pt x="205" y="140"/>
                  </a:cubicBezTo>
                  <a:cubicBezTo>
                    <a:pt x="208" y="140"/>
                    <a:pt x="209" y="140"/>
                    <a:pt x="212" y="139"/>
                  </a:cubicBezTo>
                  <a:cubicBezTo>
                    <a:pt x="212" y="135"/>
                    <a:pt x="213" y="134"/>
                    <a:pt x="214" y="129"/>
                  </a:cubicBezTo>
                  <a:cubicBezTo>
                    <a:pt x="214" y="122"/>
                    <a:pt x="214" y="122"/>
                    <a:pt x="214" y="122"/>
                  </a:cubicBezTo>
                  <a:cubicBezTo>
                    <a:pt x="214" y="110"/>
                    <a:pt x="190" y="100"/>
                    <a:pt x="182" y="87"/>
                  </a:cubicBezTo>
                  <a:cubicBezTo>
                    <a:pt x="176" y="78"/>
                    <a:pt x="176" y="75"/>
                    <a:pt x="174" y="63"/>
                  </a:cubicBezTo>
                  <a:cubicBezTo>
                    <a:pt x="171" y="52"/>
                    <a:pt x="168" y="48"/>
                    <a:pt x="163" y="41"/>
                  </a:cubicBezTo>
                  <a:cubicBezTo>
                    <a:pt x="150" y="27"/>
                    <a:pt x="151" y="16"/>
                    <a:pt x="133" y="19"/>
                  </a:cubicBezTo>
                  <a:cubicBezTo>
                    <a:pt x="122" y="21"/>
                    <a:pt x="124" y="47"/>
                    <a:pt x="125" y="65"/>
                  </a:cubicBezTo>
                  <a:cubicBezTo>
                    <a:pt x="117" y="64"/>
                    <a:pt x="104" y="47"/>
                    <a:pt x="99" y="41"/>
                  </a:cubicBezTo>
                  <a:cubicBezTo>
                    <a:pt x="92" y="33"/>
                    <a:pt x="91" y="21"/>
                    <a:pt x="90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4" y="2"/>
                    <a:pt x="81" y="4"/>
                    <a:pt x="80" y="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8"/>
                    <a:pt x="82" y="20"/>
                    <a:pt x="83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8" y="23"/>
                    <a:pt x="61" y="33"/>
                    <a:pt x="61" y="42"/>
                  </a:cubicBezTo>
                  <a:cubicBezTo>
                    <a:pt x="61" y="42"/>
                    <a:pt x="69" y="74"/>
                    <a:pt x="70" y="78"/>
                  </a:cubicBezTo>
                  <a:cubicBezTo>
                    <a:pt x="73" y="88"/>
                    <a:pt x="84" y="98"/>
                    <a:pt x="85" y="107"/>
                  </a:cubicBezTo>
                  <a:cubicBezTo>
                    <a:pt x="98" y="107"/>
                    <a:pt x="78" y="77"/>
                    <a:pt x="79" y="65"/>
                  </a:cubicBezTo>
                  <a:cubicBezTo>
                    <a:pt x="90" y="67"/>
                    <a:pt x="100" y="80"/>
                    <a:pt x="102" y="91"/>
                  </a:cubicBezTo>
                  <a:cubicBezTo>
                    <a:pt x="104" y="98"/>
                    <a:pt x="104" y="104"/>
                    <a:pt x="106" y="111"/>
                  </a:cubicBezTo>
                  <a:cubicBezTo>
                    <a:pt x="107" y="115"/>
                    <a:pt x="111" y="129"/>
                    <a:pt x="112" y="129"/>
                  </a:cubicBezTo>
                  <a:cubicBezTo>
                    <a:pt x="112" y="134"/>
                    <a:pt x="112" y="134"/>
                    <a:pt x="112" y="134"/>
                  </a:cubicBezTo>
                  <a:cubicBezTo>
                    <a:pt x="104" y="132"/>
                    <a:pt x="77" y="104"/>
                    <a:pt x="70" y="96"/>
                  </a:cubicBezTo>
                  <a:cubicBezTo>
                    <a:pt x="62" y="88"/>
                    <a:pt x="59" y="85"/>
                    <a:pt x="53" y="74"/>
                  </a:cubicBezTo>
                  <a:cubicBezTo>
                    <a:pt x="50" y="69"/>
                    <a:pt x="44" y="50"/>
                    <a:pt x="39" y="50"/>
                  </a:cubicBezTo>
                  <a:cubicBezTo>
                    <a:pt x="34" y="50"/>
                    <a:pt x="33" y="53"/>
                    <a:pt x="33" y="58"/>
                  </a:cubicBezTo>
                  <a:cubicBezTo>
                    <a:pt x="27" y="57"/>
                    <a:pt x="17" y="58"/>
                    <a:pt x="10" y="60"/>
                  </a:cubicBezTo>
                  <a:cubicBezTo>
                    <a:pt x="0" y="65"/>
                    <a:pt x="4" y="69"/>
                    <a:pt x="4" y="79"/>
                  </a:cubicBezTo>
                  <a:cubicBezTo>
                    <a:pt x="4" y="82"/>
                    <a:pt x="1" y="84"/>
                    <a:pt x="0" y="91"/>
                  </a:cubicBezTo>
                  <a:cubicBezTo>
                    <a:pt x="0" y="95"/>
                    <a:pt x="3" y="100"/>
                    <a:pt x="7" y="100"/>
                  </a:cubicBezTo>
                  <a:cubicBezTo>
                    <a:pt x="16" y="100"/>
                    <a:pt x="29" y="85"/>
                    <a:pt x="40" y="86"/>
                  </a:cubicBezTo>
                  <a:cubicBezTo>
                    <a:pt x="41" y="91"/>
                    <a:pt x="44" y="105"/>
                    <a:pt x="47" y="118"/>
                  </a:cubicBezTo>
                  <a:cubicBezTo>
                    <a:pt x="54" y="125"/>
                    <a:pt x="53" y="144"/>
                    <a:pt x="56" y="139"/>
                  </a:cubicBezTo>
                  <a:cubicBezTo>
                    <a:pt x="60" y="134"/>
                    <a:pt x="62" y="131"/>
                    <a:pt x="63" y="121"/>
                  </a:cubicBezTo>
                  <a:cubicBezTo>
                    <a:pt x="63" y="117"/>
                    <a:pt x="61" y="114"/>
                    <a:pt x="61" y="108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8" y="105"/>
                    <a:pt x="78" y="120"/>
                    <a:pt x="83" y="125"/>
                  </a:cubicBezTo>
                  <a:cubicBezTo>
                    <a:pt x="90" y="132"/>
                    <a:pt x="99" y="138"/>
                    <a:pt x="107" y="144"/>
                  </a:cubicBezTo>
                  <a:cubicBezTo>
                    <a:pt x="114" y="150"/>
                    <a:pt x="145" y="183"/>
                    <a:pt x="149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E95C910D-1CE7-491B-BB48-B69875360868}"/>
                </a:ext>
              </a:extLst>
            </p:cNvPr>
            <p:cNvSpPr/>
            <p:nvPr/>
          </p:nvSpPr>
          <p:spPr bwMode="auto">
            <a:xfrm>
              <a:off x="2466976" y="3365500"/>
              <a:ext cx="26988" cy="33338"/>
            </a:xfrm>
            <a:custGeom>
              <a:avLst/>
              <a:gdLst>
                <a:gd name="T0" fmla="*/ 1 w 35"/>
                <a:gd name="T1" fmla="*/ 41 h 41"/>
                <a:gd name="T2" fmla="*/ 19 w 35"/>
                <a:gd name="T3" fmla="*/ 29 h 41"/>
                <a:gd name="T4" fmla="*/ 35 w 35"/>
                <a:gd name="T5" fmla="*/ 15 h 41"/>
                <a:gd name="T6" fmla="*/ 35 w 35"/>
                <a:gd name="T7" fmla="*/ 7 h 41"/>
                <a:gd name="T8" fmla="*/ 31 w 35"/>
                <a:gd name="T9" fmla="*/ 1 h 41"/>
                <a:gd name="T10" fmla="*/ 0 w 35"/>
                <a:gd name="T11" fmla="*/ 29 h 41"/>
                <a:gd name="T12" fmla="*/ 0 w 35"/>
                <a:gd name="T13" fmla="*/ 37 h 41"/>
                <a:gd name="T14" fmla="*/ 1 w 3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1">
                  <a:moveTo>
                    <a:pt x="1" y="41"/>
                  </a:moveTo>
                  <a:cubicBezTo>
                    <a:pt x="5" y="40"/>
                    <a:pt x="14" y="32"/>
                    <a:pt x="19" y="29"/>
                  </a:cubicBezTo>
                  <a:cubicBezTo>
                    <a:pt x="26" y="26"/>
                    <a:pt x="34" y="25"/>
                    <a:pt x="35" y="15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4"/>
                    <a:pt x="33" y="1"/>
                    <a:pt x="31" y="1"/>
                  </a:cubicBezTo>
                  <a:cubicBezTo>
                    <a:pt x="18" y="0"/>
                    <a:pt x="0" y="16"/>
                    <a:pt x="0" y="2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1" y="40"/>
                    <a:pt x="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14C7A639-8C2E-41BA-91EE-B8BFE2ACF66E}"/>
                </a:ext>
              </a:extLst>
            </p:cNvPr>
            <p:cNvSpPr/>
            <p:nvPr/>
          </p:nvSpPr>
          <p:spPr bwMode="auto">
            <a:xfrm>
              <a:off x="2408238" y="3208338"/>
              <a:ext cx="22225" cy="26988"/>
            </a:xfrm>
            <a:custGeom>
              <a:avLst/>
              <a:gdLst>
                <a:gd name="T0" fmla="*/ 2 w 29"/>
                <a:gd name="T1" fmla="*/ 36 h 36"/>
                <a:gd name="T2" fmla="*/ 5 w 29"/>
                <a:gd name="T3" fmla="*/ 36 h 36"/>
                <a:gd name="T4" fmla="*/ 27 w 29"/>
                <a:gd name="T5" fmla="*/ 17 h 36"/>
                <a:gd name="T6" fmla="*/ 28 w 29"/>
                <a:gd name="T7" fmla="*/ 12 h 36"/>
                <a:gd name="T8" fmla="*/ 26 w 29"/>
                <a:gd name="T9" fmla="*/ 2 h 36"/>
                <a:gd name="T10" fmla="*/ 17 w 29"/>
                <a:gd name="T11" fmla="*/ 0 h 36"/>
                <a:gd name="T12" fmla="*/ 2 w 29"/>
                <a:gd name="T13" fmla="*/ 16 h 36"/>
                <a:gd name="T14" fmla="*/ 2 w 29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6">
                  <a:moveTo>
                    <a:pt x="2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9" y="30"/>
                    <a:pt x="26" y="23"/>
                    <a:pt x="27" y="1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7"/>
                    <a:pt x="27" y="7"/>
                    <a:pt x="26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2" y="12"/>
                    <a:pt x="2" y="16"/>
                  </a:cubicBezTo>
                  <a:cubicBezTo>
                    <a:pt x="0" y="26"/>
                    <a:pt x="1" y="29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FD4F274C-A5A2-4A69-9909-3BCA4402DBF5}"/>
                </a:ext>
              </a:extLst>
            </p:cNvPr>
            <p:cNvSpPr/>
            <p:nvPr/>
          </p:nvSpPr>
          <p:spPr bwMode="auto">
            <a:xfrm>
              <a:off x="2439988" y="3170238"/>
              <a:ext cx="63500" cy="109538"/>
            </a:xfrm>
            <a:custGeom>
              <a:avLst/>
              <a:gdLst>
                <a:gd name="T0" fmla="*/ 54 w 82"/>
                <a:gd name="T1" fmla="*/ 68 h 141"/>
                <a:gd name="T2" fmla="*/ 21 w 82"/>
                <a:gd name="T3" fmla="*/ 51 h 141"/>
                <a:gd name="T4" fmla="*/ 28 w 82"/>
                <a:gd name="T5" fmla="*/ 25 h 141"/>
                <a:gd name="T6" fmla="*/ 29 w 82"/>
                <a:gd name="T7" fmla="*/ 19 h 141"/>
                <a:gd name="T8" fmla="*/ 52 w 82"/>
                <a:gd name="T9" fmla="*/ 38 h 141"/>
                <a:gd name="T10" fmla="*/ 63 w 82"/>
                <a:gd name="T11" fmla="*/ 66 h 141"/>
                <a:gd name="T12" fmla="*/ 54 w 82"/>
                <a:gd name="T13" fmla="*/ 68 h 141"/>
                <a:gd name="T14" fmla="*/ 34 w 82"/>
                <a:gd name="T15" fmla="*/ 84 h 141"/>
                <a:gd name="T16" fmla="*/ 49 w 82"/>
                <a:gd name="T17" fmla="*/ 79 h 141"/>
                <a:gd name="T18" fmla="*/ 34 w 82"/>
                <a:gd name="T19" fmla="*/ 84 h 141"/>
                <a:gd name="T20" fmla="*/ 55 w 82"/>
                <a:gd name="T21" fmla="*/ 133 h 141"/>
                <a:gd name="T22" fmla="*/ 36 w 82"/>
                <a:gd name="T23" fmla="*/ 103 h 141"/>
                <a:gd name="T24" fmla="*/ 56 w 82"/>
                <a:gd name="T25" fmla="*/ 101 h 141"/>
                <a:gd name="T26" fmla="*/ 66 w 82"/>
                <a:gd name="T27" fmla="*/ 94 h 141"/>
                <a:gd name="T28" fmla="*/ 75 w 82"/>
                <a:gd name="T29" fmla="*/ 94 h 141"/>
                <a:gd name="T30" fmla="*/ 80 w 82"/>
                <a:gd name="T31" fmla="*/ 89 h 141"/>
                <a:gd name="T32" fmla="*/ 81 w 82"/>
                <a:gd name="T33" fmla="*/ 61 h 141"/>
                <a:gd name="T34" fmla="*/ 79 w 82"/>
                <a:gd name="T35" fmla="*/ 54 h 141"/>
                <a:gd name="T36" fmla="*/ 60 w 82"/>
                <a:gd name="T37" fmla="*/ 30 h 141"/>
                <a:gd name="T38" fmla="*/ 33 w 82"/>
                <a:gd name="T39" fmla="*/ 0 h 141"/>
                <a:gd name="T40" fmla="*/ 20 w 82"/>
                <a:gd name="T41" fmla="*/ 17 h 141"/>
                <a:gd name="T42" fmla="*/ 17 w 82"/>
                <a:gd name="T43" fmla="*/ 38 h 141"/>
                <a:gd name="T44" fmla="*/ 16 w 82"/>
                <a:gd name="T45" fmla="*/ 49 h 141"/>
                <a:gd name="T46" fmla="*/ 1 w 82"/>
                <a:gd name="T47" fmla="*/ 51 h 141"/>
                <a:gd name="T48" fmla="*/ 19 w 82"/>
                <a:gd name="T49" fmla="*/ 70 h 141"/>
                <a:gd name="T50" fmla="*/ 3 w 82"/>
                <a:gd name="T51" fmla="*/ 83 h 141"/>
                <a:gd name="T52" fmla="*/ 2 w 82"/>
                <a:gd name="T53" fmla="*/ 85 h 141"/>
                <a:gd name="T54" fmla="*/ 26 w 82"/>
                <a:gd name="T55" fmla="*/ 94 h 141"/>
                <a:gd name="T56" fmla="*/ 34 w 82"/>
                <a:gd name="T57" fmla="*/ 122 h 141"/>
                <a:gd name="T58" fmla="*/ 0 w 82"/>
                <a:gd name="T59" fmla="*/ 131 h 141"/>
                <a:gd name="T60" fmla="*/ 26 w 82"/>
                <a:gd name="T61" fmla="*/ 139 h 141"/>
                <a:gd name="T62" fmla="*/ 39 w 82"/>
                <a:gd name="T63" fmla="*/ 140 h 141"/>
                <a:gd name="T64" fmla="*/ 54 w 82"/>
                <a:gd name="T65" fmla="*/ 137 h 141"/>
                <a:gd name="T66" fmla="*/ 55 w 82"/>
                <a:gd name="T67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" h="141">
                  <a:moveTo>
                    <a:pt x="54" y="68"/>
                  </a:moveTo>
                  <a:cubicBezTo>
                    <a:pt x="51" y="68"/>
                    <a:pt x="27" y="53"/>
                    <a:pt x="21" y="5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7" y="21"/>
                    <a:pt x="48" y="33"/>
                    <a:pt x="52" y="38"/>
                  </a:cubicBezTo>
                  <a:cubicBezTo>
                    <a:pt x="63" y="54"/>
                    <a:pt x="60" y="50"/>
                    <a:pt x="63" y="66"/>
                  </a:cubicBezTo>
                  <a:cubicBezTo>
                    <a:pt x="59" y="67"/>
                    <a:pt x="58" y="68"/>
                    <a:pt x="54" y="68"/>
                  </a:cubicBezTo>
                  <a:close/>
                  <a:moveTo>
                    <a:pt x="34" y="84"/>
                  </a:moveTo>
                  <a:cubicBezTo>
                    <a:pt x="48" y="85"/>
                    <a:pt x="59" y="85"/>
                    <a:pt x="49" y="79"/>
                  </a:cubicBezTo>
                  <a:cubicBezTo>
                    <a:pt x="28" y="68"/>
                    <a:pt x="23" y="70"/>
                    <a:pt x="34" y="84"/>
                  </a:cubicBezTo>
                  <a:close/>
                  <a:moveTo>
                    <a:pt x="55" y="133"/>
                  </a:moveTo>
                  <a:cubicBezTo>
                    <a:pt x="53" y="129"/>
                    <a:pt x="36" y="106"/>
                    <a:pt x="36" y="103"/>
                  </a:cubicBezTo>
                  <a:cubicBezTo>
                    <a:pt x="37" y="96"/>
                    <a:pt x="47" y="100"/>
                    <a:pt x="56" y="101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5" y="94"/>
                    <a:pt x="80" y="89"/>
                    <a:pt x="80" y="89"/>
                  </a:cubicBezTo>
                  <a:cubicBezTo>
                    <a:pt x="77" y="89"/>
                    <a:pt x="77" y="74"/>
                    <a:pt x="81" y="61"/>
                  </a:cubicBezTo>
                  <a:cubicBezTo>
                    <a:pt x="82" y="57"/>
                    <a:pt x="78" y="55"/>
                    <a:pt x="79" y="54"/>
                  </a:cubicBezTo>
                  <a:cubicBezTo>
                    <a:pt x="76" y="48"/>
                    <a:pt x="65" y="35"/>
                    <a:pt x="60" y="3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5" y="3"/>
                    <a:pt x="22" y="7"/>
                    <a:pt x="20" y="1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7" y="44"/>
                    <a:pt x="16" y="49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62"/>
                    <a:pt x="14" y="56"/>
                    <a:pt x="19" y="70"/>
                  </a:cubicBezTo>
                  <a:cubicBezTo>
                    <a:pt x="26" y="86"/>
                    <a:pt x="17" y="79"/>
                    <a:pt x="3" y="8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25" y="124"/>
                    <a:pt x="2" y="122"/>
                    <a:pt x="0" y="131"/>
                  </a:cubicBezTo>
                  <a:cubicBezTo>
                    <a:pt x="8" y="134"/>
                    <a:pt x="16" y="138"/>
                    <a:pt x="26" y="139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44" y="141"/>
                    <a:pt x="50" y="139"/>
                    <a:pt x="54" y="137"/>
                  </a:cubicBezTo>
                  <a:lnTo>
                    <a:pt x="55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D09781CC-BB3E-4589-866E-7BFFECE2ED83}"/>
                </a:ext>
              </a:extLst>
            </p:cNvPr>
            <p:cNvSpPr/>
            <p:nvPr/>
          </p:nvSpPr>
          <p:spPr bwMode="auto">
            <a:xfrm>
              <a:off x="2441576" y="2978150"/>
              <a:ext cx="169863" cy="138113"/>
            </a:xfrm>
            <a:custGeom>
              <a:avLst/>
              <a:gdLst>
                <a:gd name="T0" fmla="*/ 103 w 218"/>
                <a:gd name="T1" fmla="*/ 176 h 178"/>
                <a:gd name="T2" fmla="*/ 73 w 218"/>
                <a:gd name="T3" fmla="*/ 154 h 178"/>
                <a:gd name="T4" fmla="*/ 83 w 218"/>
                <a:gd name="T5" fmla="*/ 146 h 178"/>
                <a:gd name="T6" fmla="*/ 96 w 218"/>
                <a:gd name="T7" fmla="*/ 155 h 178"/>
                <a:gd name="T8" fmla="*/ 97 w 218"/>
                <a:gd name="T9" fmla="*/ 132 h 178"/>
                <a:gd name="T10" fmla="*/ 105 w 218"/>
                <a:gd name="T11" fmla="*/ 96 h 178"/>
                <a:gd name="T12" fmla="*/ 160 w 218"/>
                <a:gd name="T13" fmla="*/ 125 h 178"/>
                <a:gd name="T14" fmla="*/ 216 w 218"/>
                <a:gd name="T15" fmla="*/ 154 h 178"/>
                <a:gd name="T16" fmla="*/ 210 w 218"/>
                <a:gd name="T17" fmla="*/ 142 h 178"/>
                <a:gd name="T18" fmla="*/ 136 w 218"/>
                <a:gd name="T19" fmla="*/ 52 h 178"/>
                <a:gd name="T20" fmla="*/ 119 w 218"/>
                <a:gd name="T21" fmla="*/ 10 h 178"/>
                <a:gd name="T22" fmla="*/ 97 w 218"/>
                <a:gd name="T23" fmla="*/ 26 h 178"/>
                <a:gd name="T24" fmla="*/ 91 w 218"/>
                <a:gd name="T25" fmla="*/ 42 h 178"/>
                <a:gd name="T26" fmla="*/ 69 w 218"/>
                <a:gd name="T27" fmla="*/ 0 h 178"/>
                <a:gd name="T28" fmla="*/ 49 w 218"/>
                <a:gd name="T29" fmla="*/ 70 h 178"/>
                <a:gd name="T30" fmla="*/ 64 w 218"/>
                <a:gd name="T31" fmla="*/ 127 h 178"/>
                <a:gd name="T32" fmla="*/ 62 w 218"/>
                <a:gd name="T33" fmla="*/ 148 h 178"/>
                <a:gd name="T34" fmla="*/ 44 w 218"/>
                <a:gd name="T35" fmla="*/ 133 h 178"/>
                <a:gd name="T36" fmla="*/ 52 w 218"/>
                <a:gd name="T37" fmla="*/ 132 h 178"/>
                <a:gd name="T38" fmla="*/ 44 w 218"/>
                <a:gd name="T39" fmla="*/ 100 h 178"/>
                <a:gd name="T40" fmla="*/ 25 w 218"/>
                <a:gd name="T41" fmla="*/ 72 h 178"/>
                <a:gd name="T42" fmla="*/ 10 w 218"/>
                <a:gd name="T43" fmla="*/ 75 h 178"/>
                <a:gd name="T44" fmla="*/ 6 w 218"/>
                <a:gd name="T45" fmla="*/ 97 h 178"/>
                <a:gd name="T46" fmla="*/ 14 w 218"/>
                <a:gd name="T47" fmla="*/ 93 h 178"/>
                <a:gd name="T48" fmla="*/ 18 w 218"/>
                <a:gd name="T49" fmla="*/ 107 h 178"/>
                <a:gd name="T50" fmla="*/ 42 w 218"/>
                <a:gd name="T51" fmla="*/ 148 h 178"/>
                <a:gd name="T52" fmla="*/ 98 w 218"/>
                <a:gd name="T53" fmla="*/ 178 h 178"/>
                <a:gd name="T54" fmla="*/ 105 w 218"/>
                <a:gd name="T55" fmla="*/ 44 h 178"/>
                <a:gd name="T56" fmla="*/ 120 w 218"/>
                <a:gd name="T57" fmla="*/ 67 h 178"/>
                <a:gd name="T58" fmla="*/ 105 w 218"/>
                <a:gd name="T59" fmla="*/ 86 h 178"/>
                <a:gd name="T60" fmla="*/ 102 w 218"/>
                <a:gd name="T61" fmla="*/ 90 h 178"/>
                <a:gd name="T62" fmla="*/ 66 w 218"/>
                <a:gd name="T63" fmla="*/ 62 h 178"/>
                <a:gd name="T64" fmla="*/ 85 w 218"/>
                <a:gd name="T65" fmla="*/ 124 h 178"/>
                <a:gd name="T66" fmla="*/ 66 w 218"/>
                <a:gd name="T67" fmla="*/ 6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8" h="178">
                  <a:moveTo>
                    <a:pt x="98" y="178"/>
                  </a:moveTo>
                  <a:cubicBezTo>
                    <a:pt x="103" y="176"/>
                    <a:pt x="103" y="176"/>
                    <a:pt x="103" y="176"/>
                  </a:cubicBezTo>
                  <a:cubicBezTo>
                    <a:pt x="105" y="174"/>
                    <a:pt x="101" y="169"/>
                    <a:pt x="98" y="167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6" y="148"/>
                    <a:pt x="86" y="149"/>
                    <a:pt x="90" y="151"/>
                  </a:cubicBezTo>
                  <a:cubicBezTo>
                    <a:pt x="96" y="155"/>
                    <a:pt x="96" y="155"/>
                    <a:pt x="96" y="155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110" y="124"/>
                    <a:pt x="110" y="124"/>
                    <a:pt x="110" y="124"/>
                  </a:cubicBezTo>
                  <a:cubicBezTo>
                    <a:pt x="109" y="115"/>
                    <a:pt x="101" y="105"/>
                    <a:pt x="105" y="96"/>
                  </a:cubicBezTo>
                  <a:cubicBezTo>
                    <a:pt x="114" y="101"/>
                    <a:pt x="121" y="101"/>
                    <a:pt x="131" y="107"/>
                  </a:cubicBezTo>
                  <a:cubicBezTo>
                    <a:pt x="141" y="113"/>
                    <a:pt x="150" y="119"/>
                    <a:pt x="160" y="125"/>
                  </a:cubicBezTo>
                  <a:cubicBezTo>
                    <a:pt x="170" y="131"/>
                    <a:pt x="179" y="137"/>
                    <a:pt x="189" y="143"/>
                  </a:cubicBezTo>
                  <a:cubicBezTo>
                    <a:pt x="195" y="146"/>
                    <a:pt x="212" y="160"/>
                    <a:pt x="216" y="154"/>
                  </a:cubicBezTo>
                  <a:cubicBezTo>
                    <a:pt x="218" y="151"/>
                    <a:pt x="216" y="150"/>
                    <a:pt x="216" y="146"/>
                  </a:cubicBezTo>
                  <a:cubicBezTo>
                    <a:pt x="210" y="142"/>
                    <a:pt x="210" y="142"/>
                    <a:pt x="210" y="142"/>
                  </a:cubicBezTo>
                  <a:cubicBezTo>
                    <a:pt x="209" y="122"/>
                    <a:pt x="172" y="109"/>
                    <a:pt x="155" y="93"/>
                  </a:cubicBezTo>
                  <a:cubicBezTo>
                    <a:pt x="134" y="80"/>
                    <a:pt x="138" y="69"/>
                    <a:pt x="136" y="52"/>
                  </a:cubicBezTo>
                  <a:cubicBezTo>
                    <a:pt x="136" y="46"/>
                    <a:pt x="125" y="14"/>
                    <a:pt x="120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6" y="8"/>
                    <a:pt x="107" y="10"/>
                    <a:pt x="105" y="13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3" y="32"/>
                    <a:pt x="96" y="34"/>
                    <a:pt x="92" y="41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0" y="44"/>
                    <a:pt x="88" y="45"/>
                    <a:pt x="86" y="44"/>
                  </a:cubicBezTo>
                  <a:cubicBezTo>
                    <a:pt x="74" y="36"/>
                    <a:pt x="82" y="13"/>
                    <a:pt x="69" y="0"/>
                  </a:cubicBezTo>
                  <a:cubicBezTo>
                    <a:pt x="65" y="2"/>
                    <a:pt x="58" y="4"/>
                    <a:pt x="55" y="9"/>
                  </a:cubicBezTo>
                  <a:cubicBezTo>
                    <a:pt x="45" y="26"/>
                    <a:pt x="46" y="56"/>
                    <a:pt x="49" y="70"/>
                  </a:cubicBezTo>
                  <a:cubicBezTo>
                    <a:pt x="51" y="76"/>
                    <a:pt x="56" y="93"/>
                    <a:pt x="59" y="97"/>
                  </a:cubicBezTo>
                  <a:cubicBezTo>
                    <a:pt x="66" y="108"/>
                    <a:pt x="72" y="113"/>
                    <a:pt x="64" y="127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62" y="148"/>
                    <a:pt x="62" y="148"/>
                    <a:pt x="62" y="148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2" y="135"/>
                    <a:pt x="44" y="135"/>
                    <a:pt x="44" y="133"/>
                  </a:cubicBezTo>
                  <a:cubicBezTo>
                    <a:pt x="47" y="135"/>
                    <a:pt x="49" y="137"/>
                    <a:pt x="52" y="133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5" y="128"/>
                    <a:pt x="54" y="101"/>
                    <a:pt x="52" y="97"/>
                  </a:cubicBezTo>
                  <a:cubicBezTo>
                    <a:pt x="49" y="97"/>
                    <a:pt x="46" y="97"/>
                    <a:pt x="44" y="100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6" y="71"/>
                    <a:pt x="11" y="73"/>
                    <a:pt x="10" y="75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84"/>
                    <a:pt x="0" y="93"/>
                    <a:pt x="6" y="97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9" y="84"/>
                    <a:pt x="39" y="117"/>
                    <a:pt x="34" y="127"/>
                  </a:cubicBezTo>
                  <a:cubicBezTo>
                    <a:pt x="27" y="122"/>
                    <a:pt x="24" y="111"/>
                    <a:pt x="18" y="107"/>
                  </a:cubicBezTo>
                  <a:cubicBezTo>
                    <a:pt x="16" y="106"/>
                    <a:pt x="7" y="106"/>
                    <a:pt x="6" y="108"/>
                  </a:cubicBezTo>
                  <a:cubicBezTo>
                    <a:pt x="2" y="115"/>
                    <a:pt x="33" y="143"/>
                    <a:pt x="42" y="148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7" y="176"/>
                    <a:pt x="91" y="175"/>
                    <a:pt x="98" y="178"/>
                  </a:cubicBezTo>
                  <a:close/>
                  <a:moveTo>
                    <a:pt x="120" y="67"/>
                  </a:moveTo>
                  <a:cubicBezTo>
                    <a:pt x="111" y="66"/>
                    <a:pt x="101" y="56"/>
                    <a:pt x="105" y="44"/>
                  </a:cubicBezTo>
                  <a:cubicBezTo>
                    <a:pt x="106" y="38"/>
                    <a:pt x="111" y="34"/>
                    <a:pt x="113" y="40"/>
                  </a:cubicBezTo>
                  <a:cubicBezTo>
                    <a:pt x="117" y="49"/>
                    <a:pt x="121" y="63"/>
                    <a:pt x="120" y="67"/>
                  </a:cubicBezTo>
                  <a:close/>
                  <a:moveTo>
                    <a:pt x="99" y="85"/>
                  </a:moveTo>
                  <a:cubicBezTo>
                    <a:pt x="100" y="83"/>
                    <a:pt x="103" y="84"/>
                    <a:pt x="105" y="86"/>
                  </a:cubicBezTo>
                  <a:cubicBezTo>
                    <a:pt x="108" y="87"/>
                    <a:pt x="110" y="90"/>
                    <a:pt x="109" y="91"/>
                  </a:cubicBezTo>
                  <a:cubicBezTo>
                    <a:pt x="108" y="92"/>
                    <a:pt x="105" y="92"/>
                    <a:pt x="102" y="90"/>
                  </a:cubicBezTo>
                  <a:cubicBezTo>
                    <a:pt x="100" y="89"/>
                    <a:pt x="98" y="86"/>
                    <a:pt x="99" y="85"/>
                  </a:cubicBezTo>
                  <a:close/>
                  <a:moveTo>
                    <a:pt x="66" y="62"/>
                  </a:moveTo>
                  <a:cubicBezTo>
                    <a:pt x="76" y="84"/>
                    <a:pt x="76" y="105"/>
                    <a:pt x="89" y="123"/>
                  </a:cubicBezTo>
                  <a:cubicBezTo>
                    <a:pt x="91" y="128"/>
                    <a:pt x="90" y="128"/>
                    <a:pt x="85" y="124"/>
                  </a:cubicBezTo>
                  <a:cubicBezTo>
                    <a:pt x="76" y="111"/>
                    <a:pt x="66" y="98"/>
                    <a:pt x="61" y="81"/>
                  </a:cubicBezTo>
                  <a:cubicBezTo>
                    <a:pt x="56" y="66"/>
                    <a:pt x="60" y="53"/>
                    <a:pt x="6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0" name="任意多边形: 形状 99">
              <a:extLst>
                <a:ext uri="{FF2B5EF4-FFF2-40B4-BE49-F238E27FC236}">
                  <a16:creationId xmlns:a16="http://schemas.microsoft.com/office/drawing/2014/main" id="{114B4CCC-0F1D-48C2-A26D-9C7DC7B47827}"/>
                </a:ext>
              </a:extLst>
            </p:cNvPr>
            <p:cNvSpPr/>
            <p:nvPr/>
          </p:nvSpPr>
          <p:spPr bwMode="auto">
            <a:xfrm>
              <a:off x="2586038" y="2813050"/>
              <a:ext cx="152400" cy="165100"/>
            </a:xfrm>
            <a:custGeom>
              <a:avLst/>
              <a:gdLst>
                <a:gd name="T0" fmla="*/ 78 w 198"/>
                <a:gd name="T1" fmla="*/ 197 h 213"/>
                <a:gd name="T2" fmla="*/ 98 w 198"/>
                <a:gd name="T3" fmla="*/ 209 h 213"/>
                <a:gd name="T4" fmla="*/ 108 w 198"/>
                <a:gd name="T5" fmla="*/ 210 h 213"/>
                <a:gd name="T6" fmla="*/ 110 w 198"/>
                <a:gd name="T7" fmla="*/ 205 h 213"/>
                <a:gd name="T8" fmla="*/ 109 w 198"/>
                <a:gd name="T9" fmla="*/ 170 h 213"/>
                <a:gd name="T10" fmla="*/ 116 w 198"/>
                <a:gd name="T11" fmla="*/ 77 h 213"/>
                <a:gd name="T12" fmla="*/ 126 w 198"/>
                <a:gd name="T13" fmla="*/ 131 h 213"/>
                <a:gd name="T14" fmla="*/ 180 w 198"/>
                <a:gd name="T15" fmla="*/ 129 h 213"/>
                <a:gd name="T16" fmla="*/ 193 w 198"/>
                <a:gd name="T17" fmla="*/ 102 h 213"/>
                <a:gd name="T18" fmla="*/ 178 w 198"/>
                <a:gd name="T19" fmla="*/ 103 h 213"/>
                <a:gd name="T20" fmla="*/ 154 w 198"/>
                <a:gd name="T21" fmla="*/ 126 h 213"/>
                <a:gd name="T22" fmla="*/ 133 w 198"/>
                <a:gd name="T23" fmla="*/ 110 h 213"/>
                <a:gd name="T24" fmla="*/ 127 w 198"/>
                <a:gd name="T25" fmla="*/ 62 h 213"/>
                <a:gd name="T26" fmla="*/ 109 w 198"/>
                <a:gd name="T27" fmla="*/ 74 h 213"/>
                <a:gd name="T28" fmla="*/ 92 w 198"/>
                <a:gd name="T29" fmla="*/ 132 h 213"/>
                <a:gd name="T30" fmla="*/ 83 w 198"/>
                <a:gd name="T31" fmla="*/ 157 h 213"/>
                <a:gd name="T32" fmla="*/ 75 w 198"/>
                <a:gd name="T33" fmla="*/ 181 h 213"/>
                <a:gd name="T34" fmla="*/ 81 w 198"/>
                <a:gd name="T35" fmla="*/ 100 h 213"/>
                <a:gd name="T36" fmla="*/ 63 w 198"/>
                <a:gd name="T37" fmla="*/ 107 h 213"/>
                <a:gd name="T38" fmla="*/ 86 w 198"/>
                <a:gd name="T39" fmla="*/ 0 h 213"/>
                <a:gd name="T40" fmla="*/ 72 w 198"/>
                <a:gd name="T41" fmla="*/ 17 h 213"/>
                <a:gd name="T42" fmla="*/ 55 w 198"/>
                <a:gd name="T43" fmla="*/ 29 h 213"/>
                <a:gd name="T44" fmla="*/ 21 w 198"/>
                <a:gd name="T45" fmla="*/ 96 h 213"/>
                <a:gd name="T46" fmla="*/ 40 w 198"/>
                <a:gd name="T47" fmla="*/ 99 h 213"/>
                <a:gd name="T48" fmla="*/ 57 w 198"/>
                <a:gd name="T49" fmla="*/ 34 h 213"/>
                <a:gd name="T50" fmla="*/ 61 w 198"/>
                <a:gd name="T51" fmla="*/ 96 h 213"/>
                <a:gd name="T52" fmla="*/ 49 w 198"/>
                <a:gd name="T53" fmla="*/ 146 h 213"/>
                <a:gd name="T54" fmla="*/ 44 w 198"/>
                <a:gd name="T55" fmla="*/ 192 h 213"/>
                <a:gd name="T56" fmla="*/ 60 w 198"/>
                <a:gd name="T57" fmla="*/ 172 h 213"/>
                <a:gd name="T58" fmla="*/ 87 w 198"/>
                <a:gd name="T59" fmla="*/ 147 h 213"/>
                <a:gd name="T60" fmla="*/ 89 w 198"/>
                <a:gd name="T61" fmla="*/ 149 h 213"/>
                <a:gd name="T62" fmla="*/ 87 w 198"/>
                <a:gd name="T63" fmla="*/ 147 h 213"/>
                <a:gd name="T64" fmla="*/ 109 w 198"/>
                <a:gd name="T65" fmla="*/ 196 h 213"/>
                <a:gd name="T66" fmla="*/ 106 w 198"/>
                <a:gd name="T67" fmla="*/ 198 h 213"/>
                <a:gd name="T68" fmla="*/ 52 w 198"/>
                <a:gd name="T69" fmla="*/ 162 h 213"/>
                <a:gd name="T70" fmla="*/ 58 w 198"/>
                <a:gd name="T71" fmla="*/ 137 h 213"/>
                <a:gd name="T72" fmla="*/ 52 w 198"/>
                <a:gd name="T73" fmla="*/ 162 h 213"/>
                <a:gd name="T74" fmla="*/ 72 w 198"/>
                <a:gd name="T75" fmla="*/ 115 h 213"/>
                <a:gd name="T76" fmla="*/ 67 w 198"/>
                <a:gd name="T77" fmla="*/ 131 h 213"/>
                <a:gd name="T78" fmla="*/ 2 w 198"/>
                <a:gd name="T79" fmla="*/ 91 h 213"/>
                <a:gd name="T80" fmla="*/ 16 w 198"/>
                <a:gd name="T81" fmla="*/ 145 h 213"/>
                <a:gd name="T82" fmla="*/ 13 w 198"/>
                <a:gd name="T83" fmla="*/ 10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8" h="213">
                  <a:moveTo>
                    <a:pt x="73" y="198"/>
                  </a:moveTo>
                  <a:cubicBezTo>
                    <a:pt x="76" y="198"/>
                    <a:pt x="75" y="200"/>
                    <a:pt x="78" y="197"/>
                  </a:cubicBezTo>
                  <a:cubicBezTo>
                    <a:pt x="83" y="193"/>
                    <a:pt x="83" y="176"/>
                    <a:pt x="89" y="170"/>
                  </a:cubicBezTo>
                  <a:cubicBezTo>
                    <a:pt x="95" y="178"/>
                    <a:pt x="91" y="202"/>
                    <a:pt x="98" y="209"/>
                  </a:cubicBezTo>
                  <a:cubicBezTo>
                    <a:pt x="100" y="211"/>
                    <a:pt x="102" y="211"/>
                    <a:pt x="106" y="213"/>
                  </a:cubicBezTo>
                  <a:cubicBezTo>
                    <a:pt x="106" y="213"/>
                    <a:pt x="106" y="212"/>
                    <a:pt x="108" y="210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5" y="201"/>
                    <a:pt x="123" y="209"/>
                    <a:pt x="127" y="202"/>
                  </a:cubicBezTo>
                  <a:cubicBezTo>
                    <a:pt x="126" y="192"/>
                    <a:pt x="118" y="183"/>
                    <a:pt x="109" y="170"/>
                  </a:cubicBezTo>
                  <a:cubicBezTo>
                    <a:pt x="99" y="158"/>
                    <a:pt x="98" y="150"/>
                    <a:pt x="99" y="138"/>
                  </a:cubicBezTo>
                  <a:cubicBezTo>
                    <a:pt x="100" y="132"/>
                    <a:pt x="113" y="80"/>
                    <a:pt x="116" y="77"/>
                  </a:cubicBezTo>
                  <a:cubicBezTo>
                    <a:pt x="120" y="84"/>
                    <a:pt x="121" y="94"/>
                    <a:pt x="119" y="101"/>
                  </a:cubicBezTo>
                  <a:cubicBezTo>
                    <a:pt x="117" y="111"/>
                    <a:pt x="115" y="120"/>
                    <a:pt x="126" y="131"/>
                  </a:cubicBezTo>
                  <a:cubicBezTo>
                    <a:pt x="143" y="149"/>
                    <a:pt x="145" y="148"/>
                    <a:pt x="162" y="144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92" y="118"/>
                    <a:pt x="198" y="107"/>
                    <a:pt x="193" y="102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87" y="95"/>
                    <a:pt x="182" y="99"/>
                    <a:pt x="178" y="103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0" y="110"/>
                    <a:pt x="158" y="124"/>
                    <a:pt x="154" y="126"/>
                  </a:cubicBezTo>
                  <a:cubicBezTo>
                    <a:pt x="146" y="130"/>
                    <a:pt x="137" y="120"/>
                    <a:pt x="136" y="113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6" y="98"/>
                    <a:pt x="130" y="96"/>
                    <a:pt x="129" y="85"/>
                  </a:cubicBezTo>
                  <a:cubicBezTo>
                    <a:pt x="129" y="81"/>
                    <a:pt x="131" y="65"/>
                    <a:pt x="127" y="62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15" y="64"/>
                    <a:pt x="113" y="60"/>
                    <a:pt x="109" y="74"/>
                  </a:cubicBezTo>
                  <a:cubicBezTo>
                    <a:pt x="106" y="80"/>
                    <a:pt x="104" y="87"/>
                    <a:pt x="102" y="93"/>
                  </a:cubicBezTo>
                  <a:cubicBezTo>
                    <a:pt x="100" y="102"/>
                    <a:pt x="98" y="127"/>
                    <a:pt x="92" y="132"/>
                  </a:cubicBezTo>
                  <a:cubicBezTo>
                    <a:pt x="90" y="134"/>
                    <a:pt x="84" y="131"/>
                    <a:pt x="81" y="129"/>
                  </a:cubicBezTo>
                  <a:cubicBezTo>
                    <a:pt x="73" y="138"/>
                    <a:pt x="75" y="147"/>
                    <a:pt x="83" y="157"/>
                  </a:cubicBezTo>
                  <a:cubicBezTo>
                    <a:pt x="83" y="166"/>
                    <a:pt x="81" y="174"/>
                    <a:pt x="77" y="181"/>
                  </a:cubicBezTo>
                  <a:cubicBezTo>
                    <a:pt x="75" y="181"/>
                    <a:pt x="75" y="181"/>
                    <a:pt x="75" y="181"/>
                  </a:cubicBezTo>
                  <a:cubicBezTo>
                    <a:pt x="68" y="172"/>
                    <a:pt x="70" y="144"/>
                    <a:pt x="73" y="134"/>
                  </a:cubicBezTo>
                  <a:cubicBezTo>
                    <a:pt x="82" y="125"/>
                    <a:pt x="88" y="108"/>
                    <a:pt x="81" y="100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0" y="88"/>
                    <a:pt x="94" y="7"/>
                    <a:pt x="90" y="3"/>
                  </a:cubicBezTo>
                  <a:cubicBezTo>
                    <a:pt x="88" y="1"/>
                    <a:pt x="89" y="2"/>
                    <a:pt x="86" y="0"/>
                  </a:cubicBezTo>
                  <a:cubicBezTo>
                    <a:pt x="83" y="2"/>
                    <a:pt x="83" y="2"/>
                    <a:pt x="80" y="4"/>
                  </a:cubicBezTo>
                  <a:cubicBezTo>
                    <a:pt x="76" y="8"/>
                    <a:pt x="77" y="12"/>
                    <a:pt x="72" y="17"/>
                  </a:cubicBezTo>
                  <a:cubicBezTo>
                    <a:pt x="68" y="21"/>
                    <a:pt x="64" y="21"/>
                    <a:pt x="59" y="26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36" y="48"/>
                    <a:pt x="38" y="82"/>
                    <a:pt x="32" y="88"/>
                  </a:cubicBezTo>
                  <a:cubicBezTo>
                    <a:pt x="28" y="91"/>
                    <a:pt x="26" y="91"/>
                    <a:pt x="21" y="96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2" y="100"/>
                    <a:pt x="37" y="102"/>
                    <a:pt x="40" y="99"/>
                  </a:cubicBezTo>
                  <a:cubicBezTo>
                    <a:pt x="47" y="94"/>
                    <a:pt x="31" y="64"/>
                    <a:pt x="55" y="36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63" y="28"/>
                    <a:pt x="65" y="33"/>
                    <a:pt x="74" y="26"/>
                  </a:cubicBezTo>
                  <a:cubicBezTo>
                    <a:pt x="78" y="32"/>
                    <a:pt x="64" y="86"/>
                    <a:pt x="61" y="96"/>
                  </a:cubicBezTo>
                  <a:cubicBezTo>
                    <a:pt x="58" y="108"/>
                    <a:pt x="55" y="118"/>
                    <a:pt x="53" y="130"/>
                  </a:cubicBezTo>
                  <a:cubicBezTo>
                    <a:pt x="52" y="135"/>
                    <a:pt x="51" y="140"/>
                    <a:pt x="49" y="146"/>
                  </a:cubicBezTo>
                  <a:cubicBezTo>
                    <a:pt x="47" y="153"/>
                    <a:pt x="45" y="160"/>
                    <a:pt x="46" y="165"/>
                  </a:cubicBezTo>
                  <a:cubicBezTo>
                    <a:pt x="38" y="172"/>
                    <a:pt x="38" y="185"/>
                    <a:pt x="44" y="192"/>
                  </a:cubicBezTo>
                  <a:cubicBezTo>
                    <a:pt x="47" y="194"/>
                    <a:pt x="50" y="197"/>
                    <a:pt x="52" y="192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5" y="179"/>
                    <a:pt x="59" y="184"/>
                    <a:pt x="73" y="198"/>
                  </a:cubicBezTo>
                  <a:close/>
                  <a:moveTo>
                    <a:pt x="87" y="147"/>
                  </a:moveTo>
                  <a:cubicBezTo>
                    <a:pt x="88" y="147"/>
                    <a:pt x="88" y="147"/>
                    <a:pt x="89" y="148"/>
                  </a:cubicBezTo>
                  <a:cubicBezTo>
                    <a:pt x="89" y="148"/>
                    <a:pt x="89" y="149"/>
                    <a:pt x="89" y="149"/>
                  </a:cubicBezTo>
                  <a:cubicBezTo>
                    <a:pt x="89" y="149"/>
                    <a:pt x="88" y="149"/>
                    <a:pt x="87" y="149"/>
                  </a:cubicBezTo>
                  <a:cubicBezTo>
                    <a:pt x="87" y="148"/>
                    <a:pt x="87" y="148"/>
                    <a:pt x="87" y="147"/>
                  </a:cubicBezTo>
                  <a:close/>
                  <a:moveTo>
                    <a:pt x="105" y="195"/>
                  </a:moveTo>
                  <a:cubicBezTo>
                    <a:pt x="106" y="194"/>
                    <a:pt x="108" y="195"/>
                    <a:pt x="109" y="196"/>
                  </a:cubicBezTo>
                  <a:cubicBezTo>
                    <a:pt x="110" y="197"/>
                    <a:pt x="110" y="198"/>
                    <a:pt x="109" y="199"/>
                  </a:cubicBezTo>
                  <a:cubicBezTo>
                    <a:pt x="109" y="200"/>
                    <a:pt x="107" y="199"/>
                    <a:pt x="106" y="198"/>
                  </a:cubicBezTo>
                  <a:cubicBezTo>
                    <a:pt x="105" y="197"/>
                    <a:pt x="105" y="196"/>
                    <a:pt x="105" y="195"/>
                  </a:cubicBezTo>
                  <a:close/>
                  <a:moveTo>
                    <a:pt x="52" y="162"/>
                  </a:moveTo>
                  <a:cubicBezTo>
                    <a:pt x="52" y="154"/>
                    <a:pt x="54" y="146"/>
                    <a:pt x="56" y="138"/>
                  </a:cubicBezTo>
                  <a:cubicBezTo>
                    <a:pt x="56" y="136"/>
                    <a:pt x="57" y="136"/>
                    <a:pt x="58" y="137"/>
                  </a:cubicBezTo>
                  <a:cubicBezTo>
                    <a:pt x="59" y="142"/>
                    <a:pt x="59" y="150"/>
                    <a:pt x="57" y="157"/>
                  </a:cubicBezTo>
                  <a:cubicBezTo>
                    <a:pt x="55" y="162"/>
                    <a:pt x="52" y="163"/>
                    <a:pt x="52" y="162"/>
                  </a:cubicBezTo>
                  <a:close/>
                  <a:moveTo>
                    <a:pt x="65" y="122"/>
                  </a:moveTo>
                  <a:cubicBezTo>
                    <a:pt x="66" y="117"/>
                    <a:pt x="69" y="115"/>
                    <a:pt x="72" y="115"/>
                  </a:cubicBezTo>
                  <a:cubicBezTo>
                    <a:pt x="74" y="116"/>
                    <a:pt x="75" y="120"/>
                    <a:pt x="73" y="124"/>
                  </a:cubicBezTo>
                  <a:cubicBezTo>
                    <a:pt x="72" y="128"/>
                    <a:pt x="69" y="131"/>
                    <a:pt x="67" y="131"/>
                  </a:cubicBezTo>
                  <a:cubicBezTo>
                    <a:pt x="65" y="130"/>
                    <a:pt x="64" y="126"/>
                    <a:pt x="65" y="122"/>
                  </a:cubicBezTo>
                  <a:close/>
                  <a:moveTo>
                    <a:pt x="2" y="91"/>
                  </a:moveTo>
                  <a:cubicBezTo>
                    <a:pt x="8" y="109"/>
                    <a:pt x="8" y="125"/>
                    <a:pt x="7" y="141"/>
                  </a:cubicBezTo>
                  <a:cubicBezTo>
                    <a:pt x="7" y="155"/>
                    <a:pt x="15" y="159"/>
                    <a:pt x="16" y="145"/>
                  </a:cubicBezTo>
                  <a:cubicBezTo>
                    <a:pt x="16" y="134"/>
                    <a:pt x="16" y="125"/>
                    <a:pt x="15" y="116"/>
                  </a:cubicBezTo>
                  <a:cubicBezTo>
                    <a:pt x="14" y="111"/>
                    <a:pt x="15" y="105"/>
                    <a:pt x="13" y="101"/>
                  </a:cubicBezTo>
                  <a:cubicBezTo>
                    <a:pt x="6" y="84"/>
                    <a:pt x="0" y="86"/>
                    <a:pt x="2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1" name="任意多边形: 形状 100">
              <a:extLst>
                <a:ext uri="{FF2B5EF4-FFF2-40B4-BE49-F238E27FC236}">
                  <a16:creationId xmlns:a16="http://schemas.microsoft.com/office/drawing/2014/main" id="{88A5AF4E-C09D-4859-9FB0-0822DC9E60D4}"/>
                </a:ext>
              </a:extLst>
            </p:cNvPr>
            <p:cNvSpPr/>
            <p:nvPr/>
          </p:nvSpPr>
          <p:spPr bwMode="auto">
            <a:xfrm>
              <a:off x="2919413" y="2616200"/>
              <a:ext cx="157163" cy="149225"/>
            </a:xfrm>
            <a:custGeom>
              <a:avLst/>
              <a:gdLst>
                <a:gd name="T0" fmla="*/ 116 w 202"/>
                <a:gd name="T1" fmla="*/ 176 h 193"/>
                <a:gd name="T2" fmla="*/ 105 w 202"/>
                <a:gd name="T3" fmla="*/ 161 h 193"/>
                <a:gd name="T4" fmla="*/ 119 w 202"/>
                <a:gd name="T5" fmla="*/ 175 h 193"/>
                <a:gd name="T6" fmla="*/ 85 w 202"/>
                <a:gd name="T7" fmla="*/ 109 h 193"/>
                <a:gd name="T8" fmla="*/ 80 w 202"/>
                <a:gd name="T9" fmla="*/ 109 h 193"/>
                <a:gd name="T10" fmla="*/ 84 w 202"/>
                <a:gd name="T11" fmla="*/ 94 h 193"/>
                <a:gd name="T12" fmla="*/ 85 w 202"/>
                <a:gd name="T13" fmla="*/ 99 h 193"/>
                <a:gd name="T14" fmla="*/ 84 w 202"/>
                <a:gd name="T15" fmla="*/ 94 h 193"/>
                <a:gd name="T16" fmla="*/ 127 w 202"/>
                <a:gd name="T17" fmla="*/ 74 h 193"/>
                <a:gd name="T18" fmla="*/ 122 w 202"/>
                <a:gd name="T19" fmla="*/ 74 h 193"/>
                <a:gd name="T20" fmla="*/ 129 w 202"/>
                <a:gd name="T21" fmla="*/ 100 h 193"/>
                <a:gd name="T22" fmla="*/ 106 w 202"/>
                <a:gd name="T23" fmla="*/ 115 h 193"/>
                <a:gd name="T24" fmla="*/ 129 w 202"/>
                <a:gd name="T25" fmla="*/ 100 h 193"/>
                <a:gd name="T26" fmla="*/ 121 w 202"/>
                <a:gd name="T27" fmla="*/ 57 h 193"/>
                <a:gd name="T28" fmla="*/ 141 w 202"/>
                <a:gd name="T29" fmla="*/ 72 h 193"/>
                <a:gd name="T30" fmla="*/ 144 w 202"/>
                <a:gd name="T31" fmla="*/ 28 h 193"/>
                <a:gd name="T32" fmla="*/ 121 w 202"/>
                <a:gd name="T33" fmla="*/ 52 h 193"/>
                <a:gd name="T34" fmla="*/ 0 w 202"/>
                <a:gd name="T35" fmla="*/ 169 h 193"/>
                <a:gd name="T36" fmla="*/ 21 w 202"/>
                <a:gd name="T37" fmla="*/ 174 h 193"/>
                <a:gd name="T38" fmla="*/ 50 w 202"/>
                <a:gd name="T39" fmla="*/ 135 h 193"/>
                <a:gd name="T40" fmla="*/ 96 w 202"/>
                <a:gd name="T41" fmla="*/ 118 h 193"/>
                <a:gd name="T42" fmla="*/ 92 w 202"/>
                <a:gd name="T43" fmla="*/ 137 h 193"/>
                <a:gd name="T44" fmla="*/ 122 w 202"/>
                <a:gd name="T45" fmla="*/ 121 h 193"/>
                <a:gd name="T46" fmla="*/ 97 w 202"/>
                <a:gd name="T47" fmla="*/ 158 h 193"/>
                <a:gd name="T48" fmla="*/ 128 w 202"/>
                <a:gd name="T49" fmla="*/ 191 h 193"/>
                <a:gd name="T50" fmla="*/ 154 w 202"/>
                <a:gd name="T51" fmla="*/ 160 h 193"/>
                <a:gd name="T52" fmla="*/ 150 w 202"/>
                <a:gd name="T53" fmla="*/ 144 h 193"/>
                <a:gd name="T54" fmla="*/ 158 w 202"/>
                <a:gd name="T55" fmla="*/ 135 h 193"/>
                <a:gd name="T56" fmla="*/ 144 w 202"/>
                <a:gd name="T57" fmla="*/ 113 h 193"/>
                <a:gd name="T58" fmla="*/ 138 w 202"/>
                <a:gd name="T59" fmla="*/ 103 h 193"/>
                <a:gd name="T60" fmla="*/ 200 w 202"/>
                <a:gd name="T61" fmla="*/ 82 h 193"/>
                <a:gd name="T62" fmla="*/ 186 w 202"/>
                <a:gd name="T63" fmla="*/ 71 h 193"/>
                <a:gd name="T64" fmla="*/ 162 w 202"/>
                <a:gd name="T65" fmla="*/ 31 h 193"/>
                <a:gd name="T66" fmla="*/ 121 w 202"/>
                <a:gd name="T67" fmla="*/ 13 h 193"/>
                <a:gd name="T68" fmla="*/ 102 w 202"/>
                <a:gd name="T69" fmla="*/ 10 h 193"/>
                <a:gd name="T70" fmla="*/ 103 w 202"/>
                <a:gd name="T71" fmla="*/ 40 h 193"/>
                <a:gd name="T72" fmla="*/ 105 w 202"/>
                <a:gd name="T73" fmla="*/ 66 h 193"/>
                <a:gd name="T74" fmla="*/ 101 w 202"/>
                <a:gd name="T75" fmla="*/ 91 h 193"/>
                <a:gd name="T76" fmla="*/ 105 w 202"/>
                <a:gd name="T77" fmla="*/ 99 h 193"/>
                <a:gd name="T78" fmla="*/ 96 w 202"/>
                <a:gd name="T79" fmla="*/ 103 h 193"/>
                <a:gd name="T80" fmla="*/ 77 w 202"/>
                <a:gd name="T81" fmla="*/ 40 h 193"/>
                <a:gd name="T82" fmla="*/ 76 w 202"/>
                <a:gd name="T83" fmla="*/ 67 h 193"/>
                <a:gd name="T84" fmla="*/ 72 w 202"/>
                <a:gd name="T85" fmla="*/ 95 h 193"/>
                <a:gd name="T86" fmla="*/ 37 w 202"/>
                <a:gd name="T87" fmla="*/ 72 h 193"/>
                <a:gd name="T88" fmla="*/ 68 w 202"/>
                <a:gd name="T89" fmla="*/ 109 h 193"/>
                <a:gd name="T90" fmla="*/ 50 w 202"/>
                <a:gd name="T91" fmla="*/ 125 h 193"/>
                <a:gd name="T92" fmla="*/ 49 w 202"/>
                <a:gd name="T93" fmla="*/ 107 h 193"/>
                <a:gd name="T94" fmla="*/ 44 w 202"/>
                <a:gd name="T95" fmla="*/ 104 h 193"/>
                <a:gd name="T96" fmla="*/ 16 w 202"/>
                <a:gd name="T97" fmla="*/ 13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193">
                  <a:moveTo>
                    <a:pt x="119" y="175"/>
                  </a:moveTo>
                  <a:cubicBezTo>
                    <a:pt x="116" y="176"/>
                    <a:pt x="116" y="176"/>
                    <a:pt x="116" y="176"/>
                  </a:cubicBezTo>
                  <a:cubicBezTo>
                    <a:pt x="112" y="177"/>
                    <a:pt x="107" y="171"/>
                    <a:pt x="106" y="166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11" y="158"/>
                    <a:pt x="119" y="156"/>
                    <a:pt x="127" y="154"/>
                  </a:cubicBezTo>
                  <a:cubicBezTo>
                    <a:pt x="128" y="162"/>
                    <a:pt x="126" y="174"/>
                    <a:pt x="119" y="175"/>
                  </a:cubicBezTo>
                  <a:close/>
                  <a:moveTo>
                    <a:pt x="82" y="106"/>
                  </a:moveTo>
                  <a:cubicBezTo>
                    <a:pt x="84" y="106"/>
                    <a:pt x="85" y="107"/>
                    <a:pt x="85" y="109"/>
                  </a:cubicBezTo>
                  <a:cubicBezTo>
                    <a:pt x="86" y="110"/>
                    <a:pt x="85" y="112"/>
                    <a:pt x="83" y="112"/>
                  </a:cubicBezTo>
                  <a:cubicBezTo>
                    <a:pt x="82" y="112"/>
                    <a:pt x="80" y="111"/>
                    <a:pt x="80" y="109"/>
                  </a:cubicBezTo>
                  <a:cubicBezTo>
                    <a:pt x="80" y="108"/>
                    <a:pt x="81" y="106"/>
                    <a:pt x="82" y="106"/>
                  </a:cubicBezTo>
                  <a:close/>
                  <a:moveTo>
                    <a:pt x="84" y="94"/>
                  </a:moveTo>
                  <a:cubicBezTo>
                    <a:pt x="84" y="94"/>
                    <a:pt x="85" y="95"/>
                    <a:pt x="85" y="96"/>
                  </a:cubicBezTo>
                  <a:cubicBezTo>
                    <a:pt x="85" y="98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83" y="96"/>
                    <a:pt x="83" y="94"/>
                    <a:pt x="84" y="94"/>
                  </a:cubicBezTo>
                  <a:close/>
                  <a:moveTo>
                    <a:pt x="124" y="66"/>
                  </a:moveTo>
                  <a:cubicBezTo>
                    <a:pt x="126" y="66"/>
                    <a:pt x="127" y="69"/>
                    <a:pt x="127" y="74"/>
                  </a:cubicBezTo>
                  <a:cubicBezTo>
                    <a:pt x="127" y="78"/>
                    <a:pt x="127" y="81"/>
                    <a:pt x="125" y="81"/>
                  </a:cubicBezTo>
                  <a:cubicBezTo>
                    <a:pt x="123" y="81"/>
                    <a:pt x="122" y="78"/>
                    <a:pt x="122" y="74"/>
                  </a:cubicBezTo>
                  <a:cubicBezTo>
                    <a:pt x="121" y="71"/>
                    <a:pt x="123" y="66"/>
                    <a:pt x="124" y="66"/>
                  </a:cubicBezTo>
                  <a:close/>
                  <a:moveTo>
                    <a:pt x="129" y="100"/>
                  </a:moveTo>
                  <a:cubicBezTo>
                    <a:pt x="130" y="100"/>
                    <a:pt x="130" y="102"/>
                    <a:pt x="127" y="103"/>
                  </a:cubicBezTo>
                  <a:cubicBezTo>
                    <a:pt x="118" y="106"/>
                    <a:pt x="114" y="110"/>
                    <a:pt x="106" y="115"/>
                  </a:cubicBezTo>
                  <a:cubicBezTo>
                    <a:pt x="102" y="118"/>
                    <a:pt x="98" y="114"/>
                    <a:pt x="106" y="108"/>
                  </a:cubicBezTo>
                  <a:cubicBezTo>
                    <a:pt x="112" y="103"/>
                    <a:pt x="120" y="101"/>
                    <a:pt x="129" y="100"/>
                  </a:cubicBezTo>
                  <a:close/>
                  <a:moveTo>
                    <a:pt x="121" y="52"/>
                  </a:moveTo>
                  <a:cubicBezTo>
                    <a:pt x="121" y="57"/>
                    <a:pt x="121" y="57"/>
                    <a:pt x="121" y="57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41" y="54"/>
                    <a:pt x="140" y="67"/>
                    <a:pt x="141" y="72"/>
                  </a:cubicBezTo>
                  <a:cubicBezTo>
                    <a:pt x="147" y="66"/>
                    <a:pt x="150" y="44"/>
                    <a:pt x="150" y="33"/>
                  </a:cubicBezTo>
                  <a:cubicBezTo>
                    <a:pt x="148" y="30"/>
                    <a:pt x="148" y="28"/>
                    <a:pt x="144" y="28"/>
                  </a:cubicBezTo>
                  <a:cubicBezTo>
                    <a:pt x="141" y="29"/>
                    <a:pt x="141" y="29"/>
                    <a:pt x="141" y="29"/>
                  </a:cubicBezTo>
                  <a:cubicBezTo>
                    <a:pt x="133" y="30"/>
                    <a:pt x="120" y="45"/>
                    <a:pt x="121" y="52"/>
                  </a:cubicBezTo>
                  <a:close/>
                  <a:moveTo>
                    <a:pt x="1" y="161"/>
                  </a:moveTo>
                  <a:cubicBezTo>
                    <a:pt x="0" y="165"/>
                    <a:pt x="0" y="165"/>
                    <a:pt x="0" y="169"/>
                  </a:cubicBezTo>
                  <a:cubicBezTo>
                    <a:pt x="2" y="177"/>
                    <a:pt x="2" y="177"/>
                    <a:pt x="2" y="177"/>
                  </a:cubicBezTo>
                  <a:cubicBezTo>
                    <a:pt x="3" y="185"/>
                    <a:pt x="18" y="176"/>
                    <a:pt x="21" y="174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8" y="150"/>
                    <a:pt x="38" y="139"/>
                    <a:pt x="50" y="135"/>
                  </a:cubicBezTo>
                  <a:cubicBezTo>
                    <a:pt x="58" y="132"/>
                    <a:pt x="89" y="119"/>
                    <a:pt x="89" y="119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6" y="124"/>
                    <a:pt x="91" y="128"/>
                    <a:pt x="92" y="135"/>
                  </a:cubicBezTo>
                  <a:cubicBezTo>
                    <a:pt x="92" y="137"/>
                    <a:pt x="92" y="137"/>
                    <a:pt x="92" y="137"/>
                  </a:cubicBezTo>
                  <a:cubicBezTo>
                    <a:pt x="93" y="143"/>
                    <a:pt x="99" y="138"/>
                    <a:pt x="106" y="137"/>
                  </a:cubicBezTo>
                  <a:cubicBezTo>
                    <a:pt x="110" y="129"/>
                    <a:pt x="112" y="125"/>
                    <a:pt x="122" y="121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26" y="143"/>
                    <a:pt x="95" y="143"/>
                    <a:pt x="97" y="158"/>
                  </a:cubicBezTo>
                  <a:cubicBezTo>
                    <a:pt x="100" y="175"/>
                    <a:pt x="112" y="193"/>
                    <a:pt x="127" y="191"/>
                  </a:cubicBezTo>
                  <a:cubicBezTo>
                    <a:pt x="128" y="191"/>
                    <a:pt x="128" y="191"/>
                    <a:pt x="128" y="191"/>
                  </a:cubicBezTo>
                  <a:cubicBezTo>
                    <a:pt x="136" y="190"/>
                    <a:pt x="145" y="186"/>
                    <a:pt x="148" y="180"/>
                  </a:cubicBezTo>
                  <a:cubicBezTo>
                    <a:pt x="149" y="178"/>
                    <a:pt x="154" y="162"/>
                    <a:pt x="154" y="16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1" y="127"/>
                    <a:pt x="153" y="130"/>
                    <a:pt x="141" y="129"/>
                  </a:cubicBezTo>
                  <a:cubicBezTo>
                    <a:pt x="140" y="118"/>
                    <a:pt x="145" y="119"/>
                    <a:pt x="144" y="113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6"/>
                    <a:pt x="141" y="109"/>
                    <a:pt x="138" y="103"/>
                  </a:cubicBezTo>
                  <a:cubicBezTo>
                    <a:pt x="152" y="101"/>
                    <a:pt x="170" y="87"/>
                    <a:pt x="185" y="85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78"/>
                    <a:pt x="202" y="77"/>
                    <a:pt x="202" y="75"/>
                  </a:cubicBezTo>
                  <a:cubicBezTo>
                    <a:pt x="201" y="71"/>
                    <a:pt x="194" y="69"/>
                    <a:pt x="186" y="71"/>
                  </a:cubicBezTo>
                  <a:cubicBezTo>
                    <a:pt x="174" y="74"/>
                    <a:pt x="161" y="75"/>
                    <a:pt x="154" y="78"/>
                  </a:cubicBezTo>
                  <a:cubicBezTo>
                    <a:pt x="153" y="67"/>
                    <a:pt x="163" y="44"/>
                    <a:pt x="162" y="31"/>
                  </a:cubicBezTo>
                  <a:cubicBezTo>
                    <a:pt x="157" y="0"/>
                    <a:pt x="122" y="34"/>
                    <a:pt x="118" y="37"/>
                  </a:cubicBezTo>
                  <a:cubicBezTo>
                    <a:pt x="121" y="29"/>
                    <a:pt x="122" y="21"/>
                    <a:pt x="121" y="13"/>
                  </a:cubicBezTo>
                  <a:cubicBezTo>
                    <a:pt x="117" y="9"/>
                    <a:pt x="114" y="6"/>
                    <a:pt x="107" y="7"/>
                  </a:cubicBezTo>
                  <a:cubicBezTo>
                    <a:pt x="105" y="7"/>
                    <a:pt x="106" y="8"/>
                    <a:pt x="102" y="10"/>
                  </a:cubicBezTo>
                  <a:cubicBezTo>
                    <a:pt x="104" y="19"/>
                    <a:pt x="106" y="14"/>
                    <a:pt x="107" y="20"/>
                  </a:cubicBezTo>
                  <a:cubicBezTo>
                    <a:pt x="108" y="27"/>
                    <a:pt x="102" y="32"/>
                    <a:pt x="103" y="4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6" y="59"/>
                    <a:pt x="110" y="54"/>
                    <a:pt x="105" y="66"/>
                  </a:cubicBezTo>
                  <a:cubicBezTo>
                    <a:pt x="102" y="72"/>
                    <a:pt x="101" y="79"/>
                    <a:pt x="99" y="85"/>
                  </a:cubicBezTo>
                  <a:cubicBezTo>
                    <a:pt x="100" y="88"/>
                    <a:pt x="100" y="88"/>
                    <a:pt x="101" y="91"/>
                  </a:cubicBezTo>
                  <a:cubicBezTo>
                    <a:pt x="101" y="95"/>
                    <a:pt x="101" y="95"/>
                    <a:pt x="101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102"/>
                    <a:pt x="105" y="103"/>
                    <a:pt x="101" y="104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93" y="91"/>
                    <a:pt x="88" y="73"/>
                    <a:pt x="83" y="62"/>
                  </a:cubicBezTo>
                  <a:cubicBezTo>
                    <a:pt x="81" y="56"/>
                    <a:pt x="79" y="48"/>
                    <a:pt x="77" y="40"/>
                  </a:cubicBezTo>
                  <a:cubicBezTo>
                    <a:pt x="74" y="31"/>
                    <a:pt x="77" y="22"/>
                    <a:pt x="69" y="22"/>
                  </a:cubicBezTo>
                  <a:cubicBezTo>
                    <a:pt x="69" y="37"/>
                    <a:pt x="72" y="53"/>
                    <a:pt x="76" y="67"/>
                  </a:cubicBezTo>
                  <a:cubicBezTo>
                    <a:pt x="77" y="73"/>
                    <a:pt x="78" y="79"/>
                    <a:pt x="80" y="85"/>
                  </a:cubicBezTo>
                  <a:cubicBezTo>
                    <a:pt x="79" y="88"/>
                    <a:pt x="76" y="95"/>
                    <a:pt x="72" y="95"/>
                  </a:cubicBezTo>
                  <a:cubicBezTo>
                    <a:pt x="69" y="96"/>
                    <a:pt x="53" y="62"/>
                    <a:pt x="46" y="63"/>
                  </a:cubicBezTo>
                  <a:cubicBezTo>
                    <a:pt x="39" y="64"/>
                    <a:pt x="38" y="67"/>
                    <a:pt x="37" y="72"/>
                  </a:cubicBezTo>
                  <a:cubicBezTo>
                    <a:pt x="48" y="74"/>
                    <a:pt x="53" y="81"/>
                    <a:pt x="59" y="90"/>
                  </a:cubicBezTo>
                  <a:cubicBezTo>
                    <a:pt x="60" y="93"/>
                    <a:pt x="65" y="103"/>
                    <a:pt x="68" y="109"/>
                  </a:cubicBezTo>
                  <a:cubicBezTo>
                    <a:pt x="70" y="111"/>
                    <a:pt x="73" y="115"/>
                    <a:pt x="73" y="117"/>
                  </a:cubicBezTo>
                  <a:cubicBezTo>
                    <a:pt x="68" y="120"/>
                    <a:pt x="58" y="122"/>
                    <a:pt x="50" y="125"/>
                  </a:cubicBezTo>
                  <a:cubicBezTo>
                    <a:pt x="39" y="129"/>
                    <a:pt x="37" y="134"/>
                    <a:pt x="30" y="137"/>
                  </a:cubicBezTo>
                  <a:cubicBezTo>
                    <a:pt x="31" y="124"/>
                    <a:pt x="34" y="110"/>
                    <a:pt x="49" y="107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5" y="102"/>
                    <a:pt x="50" y="103"/>
                    <a:pt x="44" y="104"/>
                  </a:cubicBezTo>
                  <a:cubicBezTo>
                    <a:pt x="34" y="105"/>
                    <a:pt x="32" y="109"/>
                    <a:pt x="25" y="117"/>
                  </a:cubicBezTo>
                  <a:cubicBezTo>
                    <a:pt x="21" y="123"/>
                    <a:pt x="20" y="126"/>
                    <a:pt x="16" y="131"/>
                  </a:cubicBezTo>
                  <a:cubicBezTo>
                    <a:pt x="9" y="142"/>
                    <a:pt x="5" y="149"/>
                    <a:pt x="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2" name="任意多边形: 形状 101">
              <a:extLst>
                <a:ext uri="{FF2B5EF4-FFF2-40B4-BE49-F238E27FC236}">
                  <a16:creationId xmlns:a16="http://schemas.microsoft.com/office/drawing/2014/main" id="{45BF2076-3EFF-45CD-9F1F-3CCBCE9AA9AB}"/>
                </a:ext>
              </a:extLst>
            </p:cNvPr>
            <p:cNvSpPr/>
            <p:nvPr/>
          </p:nvSpPr>
          <p:spPr bwMode="auto">
            <a:xfrm>
              <a:off x="3011488" y="4102100"/>
              <a:ext cx="293688" cy="95250"/>
            </a:xfrm>
            <a:custGeom>
              <a:avLst/>
              <a:gdLst>
                <a:gd name="T0" fmla="*/ 0 w 380"/>
                <a:gd name="T1" fmla="*/ 44 h 124"/>
                <a:gd name="T2" fmla="*/ 27 w 380"/>
                <a:gd name="T3" fmla="*/ 29 h 124"/>
                <a:gd name="T4" fmla="*/ 27 w 380"/>
                <a:gd name="T5" fmla="*/ 122 h 124"/>
                <a:gd name="T6" fmla="*/ 53 w 380"/>
                <a:gd name="T7" fmla="*/ 122 h 124"/>
                <a:gd name="T8" fmla="*/ 53 w 380"/>
                <a:gd name="T9" fmla="*/ 3 h 124"/>
                <a:gd name="T10" fmla="*/ 29 w 380"/>
                <a:gd name="T11" fmla="*/ 3 h 124"/>
                <a:gd name="T12" fmla="*/ 0 w 380"/>
                <a:gd name="T13" fmla="*/ 20 h 124"/>
                <a:gd name="T14" fmla="*/ 0 w 380"/>
                <a:gd name="T15" fmla="*/ 44 h 124"/>
                <a:gd name="T16" fmla="*/ 92 w 380"/>
                <a:gd name="T17" fmla="*/ 92 h 124"/>
                <a:gd name="T18" fmla="*/ 131 w 380"/>
                <a:gd name="T19" fmla="*/ 123 h 124"/>
                <a:gd name="T20" fmla="*/ 165 w 380"/>
                <a:gd name="T21" fmla="*/ 107 h 124"/>
                <a:gd name="T22" fmla="*/ 174 w 380"/>
                <a:gd name="T23" fmla="*/ 53 h 124"/>
                <a:gd name="T24" fmla="*/ 132 w 380"/>
                <a:gd name="T25" fmla="*/ 0 h 124"/>
                <a:gd name="T26" fmla="*/ 90 w 380"/>
                <a:gd name="T27" fmla="*/ 41 h 124"/>
                <a:gd name="T28" fmla="*/ 125 w 380"/>
                <a:gd name="T29" fmla="*/ 77 h 124"/>
                <a:gd name="T30" fmla="*/ 148 w 380"/>
                <a:gd name="T31" fmla="*/ 69 h 124"/>
                <a:gd name="T32" fmla="*/ 130 w 380"/>
                <a:gd name="T33" fmla="*/ 107 h 124"/>
                <a:gd name="T34" fmla="*/ 118 w 380"/>
                <a:gd name="T35" fmla="*/ 92 h 124"/>
                <a:gd name="T36" fmla="*/ 92 w 380"/>
                <a:gd name="T37" fmla="*/ 92 h 124"/>
                <a:gd name="T38" fmla="*/ 116 w 380"/>
                <a:gd name="T39" fmla="*/ 39 h 124"/>
                <a:gd name="T40" fmla="*/ 133 w 380"/>
                <a:gd name="T41" fmla="*/ 18 h 124"/>
                <a:gd name="T42" fmla="*/ 148 w 380"/>
                <a:gd name="T43" fmla="*/ 39 h 124"/>
                <a:gd name="T44" fmla="*/ 133 w 380"/>
                <a:gd name="T45" fmla="*/ 59 h 124"/>
                <a:gd name="T46" fmla="*/ 116 w 380"/>
                <a:gd name="T47" fmla="*/ 39 h 124"/>
                <a:gd name="T48" fmla="*/ 194 w 380"/>
                <a:gd name="T49" fmla="*/ 89 h 124"/>
                <a:gd name="T50" fmla="*/ 233 w 380"/>
                <a:gd name="T51" fmla="*/ 123 h 124"/>
                <a:gd name="T52" fmla="*/ 275 w 380"/>
                <a:gd name="T53" fmla="*/ 92 h 124"/>
                <a:gd name="T54" fmla="*/ 252 w 380"/>
                <a:gd name="T55" fmla="*/ 60 h 124"/>
                <a:gd name="T56" fmla="*/ 252 w 380"/>
                <a:gd name="T57" fmla="*/ 60 h 124"/>
                <a:gd name="T58" fmla="*/ 274 w 380"/>
                <a:gd name="T59" fmla="*/ 31 h 124"/>
                <a:gd name="T60" fmla="*/ 234 w 380"/>
                <a:gd name="T61" fmla="*/ 0 h 124"/>
                <a:gd name="T62" fmla="*/ 195 w 380"/>
                <a:gd name="T63" fmla="*/ 34 h 124"/>
                <a:gd name="T64" fmla="*/ 221 w 380"/>
                <a:gd name="T65" fmla="*/ 34 h 124"/>
                <a:gd name="T66" fmla="*/ 234 w 380"/>
                <a:gd name="T67" fmla="*/ 18 h 124"/>
                <a:gd name="T68" fmla="*/ 249 w 380"/>
                <a:gd name="T69" fmla="*/ 34 h 124"/>
                <a:gd name="T70" fmla="*/ 221 w 380"/>
                <a:gd name="T71" fmla="*/ 53 h 124"/>
                <a:gd name="T72" fmla="*/ 221 w 380"/>
                <a:gd name="T73" fmla="*/ 69 h 124"/>
                <a:gd name="T74" fmla="*/ 249 w 380"/>
                <a:gd name="T75" fmla="*/ 89 h 124"/>
                <a:gd name="T76" fmla="*/ 234 w 380"/>
                <a:gd name="T77" fmla="*/ 107 h 124"/>
                <a:gd name="T78" fmla="*/ 219 w 380"/>
                <a:gd name="T79" fmla="*/ 89 h 124"/>
                <a:gd name="T80" fmla="*/ 194 w 380"/>
                <a:gd name="T81" fmla="*/ 89 h 124"/>
                <a:gd name="T82" fmla="*/ 296 w 380"/>
                <a:gd name="T83" fmla="*/ 122 h 124"/>
                <a:gd name="T84" fmla="*/ 379 w 380"/>
                <a:gd name="T85" fmla="*/ 122 h 124"/>
                <a:gd name="T86" fmla="*/ 379 w 380"/>
                <a:gd name="T87" fmla="*/ 104 h 124"/>
                <a:gd name="T88" fmla="*/ 322 w 380"/>
                <a:gd name="T89" fmla="*/ 104 h 124"/>
                <a:gd name="T90" fmla="*/ 322 w 380"/>
                <a:gd name="T91" fmla="*/ 104 h 124"/>
                <a:gd name="T92" fmla="*/ 340 w 380"/>
                <a:gd name="T93" fmla="*/ 87 h 124"/>
                <a:gd name="T94" fmla="*/ 379 w 380"/>
                <a:gd name="T95" fmla="*/ 34 h 124"/>
                <a:gd name="T96" fmla="*/ 339 w 380"/>
                <a:gd name="T97" fmla="*/ 0 h 124"/>
                <a:gd name="T98" fmla="*/ 298 w 380"/>
                <a:gd name="T99" fmla="*/ 36 h 124"/>
                <a:gd name="T100" fmla="*/ 324 w 380"/>
                <a:gd name="T101" fmla="*/ 36 h 124"/>
                <a:gd name="T102" fmla="*/ 339 w 380"/>
                <a:gd name="T103" fmla="*/ 18 h 124"/>
                <a:gd name="T104" fmla="*/ 353 w 380"/>
                <a:gd name="T105" fmla="*/ 33 h 124"/>
                <a:gd name="T106" fmla="*/ 310 w 380"/>
                <a:gd name="T107" fmla="*/ 85 h 124"/>
                <a:gd name="T108" fmla="*/ 296 w 380"/>
                <a:gd name="T109" fmla="*/ 98 h 124"/>
                <a:gd name="T110" fmla="*/ 296 w 380"/>
                <a:gd name="T111" fmla="*/ 1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124">
                  <a:moveTo>
                    <a:pt x="0" y="44"/>
                  </a:moveTo>
                  <a:cubicBezTo>
                    <a:pt x="10" y="40"/>
                    <a:pt x="19" y="35"/>
                    <a:pt x="27" y="29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0" y="10"/>
                    <a:pt x="10" y="16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lose/>
                  <a:moveTo>
                    <a:pt x="92" y="92"/>
                  </a:moveTo>
                  <a:cubicBezTo>
                    <a:pt x="93" y="113"/>
                    <a:pt x="105" y="124"/>
                    <a:pt x="131" y="123"/>
                  </a:cubicBezTo>
                  <a:cubicBezTo>
                    <a:pt x="146" y="123"/>
                    <a:pt x="157" y="118"/>
                    <a:pt x="165" y="107"/>
                  </a:cubicBezTo>
                  <a:cubicBezTo>
                    <a:pt x="171" y="97"/>
                    <a:pt x="174" y="79"/>
                    <a:pt x="174" y="53"/>
                  </a:cubicBezTo>
                  <a:cubicBezTo>
                    <a:pt x="174" y="18"/>
                    <a:pt x="160" y="0"/>
                    <a:pt x="132" y="0"/>
                  </a:cubicBezTo>
                  <a:cubicBezTo>
                    <a:pt x="106" y="2"/>
                    <a:pt x="92" y="16"/>
                    <a:pt x="90" y="41"/>
                  </a:cubicBezTo>
                  <a:cubicBezTo>
                    <a:pt x="92" y="63"/>
                    <a:pt x="104" y="75"/>
                    <a:pt x="125" y="77"/>
                  </a:cubicBezTo>
                  <a:cubicBezTo>
                    <a:pt x="134" y="77"/>
                    <a:pt x="141" y="75"/>
                    <a:pt x="148" y="69"/>
                  </a:cubicBezTo>
                  <a:cubicBezTo>
                    <a:pt x="149" y="94"/>
                    <a:pt x="143" y="107"/>
                    <a:pt x="130" y="107"/>
                  </a:cubicBezTo>
                  <a:cubicBezTo>
                    <a:pt x="124" y="107"/>
                    <a:pt x="120" y="102"/>
                    <a:pt x="118" y="92"/>
                  </a:cubicBezTo>
                  <a:cubicBezTo>
                    <a:pt x="92" y="92"/>
                    <a:pt x="92" y="92"/>
                    <a:pt x="92" y="92"/>
                  </a:cubicBezTo>
                  <a:close/>
                  <a:moveTo>
                    <a:pt x="116" y="39"/>
                  </a:moveTo>
                  <a:cubicBezTo>
                    <a:pt x="116" y="25"/>
                    <a:pt x="122" y="18"/>
                    <a:pt x="133" y="18"/>
                  </a:cubicBezTo>
                  <a:cubicBezTo>
                    <a:pt x="143" y="18"/>
                    <a:pt x="148" y="25"/>
                    <a:pt x="148" y="39"/>
                  </a:cubicBezTo>
                  <a:cubicBezTo>
                    <a:pt x="148" y="52"/>
                    <a:pt x="143" y="59"/>
                    <a:pt x="133" y="59"/>
                  </a:cubicBezTo>
                  <a:cubicBezTo>
                    <a:pt x="122" y="59"/>
                    <a:pt x="116" y="53"/>
                    <a:pt x="116" y="39"/>
                  </a:cubicBezTo>
                  <a:close/>
                  <a:moveTo>
                    <a:pt x="194" y="89"/>
                  </a:moveTo>
                  <a:cubicBezTo>
                    <a:pt x="194" y="112"/>
                    <a:pt x="207" y="123"/>
                    <a:pt x="233" y="123"/>
                  </a:cubicBezTo>
                  <a:cubicBezTo>
                    <a:pt x="259" y="121"/>
                    <a:pt x="272" y="111"/>
                    <a:pt x="275" y="92"/>
                  </a:cubicBezTo>
                  <a:cubicBezTo>
                    <a:pt x="275" y="75"/>
                    <a:pt x="267" y="65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66" y="56"/>
                    <a:pt x="273" y="47"/>
                    <a:pt x="274" y="31"/>
                  </a:cubicBezTo>
                  <a:cubicBezTo>
                    <a:pt x="272" y="13"/>
                    <a:pt x="259" y="3"/>
                    <a:pt x="234" y="0"/>
                  </a:cubicBezTo>
                  <a:cubicBezTo>
                    <a:pt x="209" y="1"/>
                    <a:pt x="196" y="12"/>
                    <a:pt x="195" y="3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2" y="25"/>
                    <a:pt x="227" y="19"/>
                    <a:pt x="234" y="18"/>
                  </a:cubicBezTo>
                  <a:cubicBezTo>
                    <a:pt x="244" y="18"/>
                    <a:pt x="248" y="24"/>
                    <a:pt x="249" y="34"/>
                  </a:cubicBezTo>
                  <a:cubicBezTo>
                    <a:pt x="249" y="46"/>
                    <a:pt x="240" y="52"/>
                    <a:pt x="221" y="53"/>
                  </a:cubicBezTo>
                  <a:cubicBezTo>
                    <a:pt x="221" y="69"/>
                    <a:pt x="221" y="69"/>
                    <a:pt x="221" y="69"/>
                  </a:cubicBezTo>
                  <a:cubicBezTo>
                    <a:pt x="239" y="69"/>
                    <a:pt x="248" y="75"/>
                    <a:pt x="249" y="89"/>
                  </a:cubicBezTo>
                  <a:cubicBezTo>
                    <a:pt x="248" y="100"/>
                    <a:pt x="243" y="106"/>
                    <a:pt x="234" y="107"/>
                  </a:cubicBezTo>
                  <a:cubicBezTo>
                    <a:pt x="225" y="106"/>
                    <a:pt x="220" y="100"/>
                    <a:pt x="219" y="89"/>
                  </a:cubicBezTo>
                  <a:cubicBezTo>
                    <a:pt x="194" y="89"/>
                    <a:pt x="194" y="89"/>
                    <a:pt x="194" y="89"/>
                  </a:cubicBezTo>
                  <a:close/>
                  <a:moveTo>
                    <a:pt x="296" y="122"/>
                  </a:moveTo>
                  <a:cubicBezTo>
                    <a:pt x="379" y="122"/>
                    <a:pt x="379" y="122"/>
                    <a:pt x="379" y="122"/>
                  </a:cubicBezTo>
                  <a:cubicBezTo>
                    <a:pt x="379" y="104"/>
                    <a:pt x="379" y="104"/>
                    <a:pt x="379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5" y="101"/>
                    <a:pt x="331" y="95"/>
                    <a:pt x="340" y="87"/>
                  </a:cubicBezTo>
                  <a:cubicBezTo>
                    <a:pt x="367" y="66"/>
                    <a:pt x="380" y="48"/>
                    <a:pt x="379" y="34"/>
                  </a:cubicBezTo>
                  <a:cubicBezTo>
                    <a:pt x="378" y="13"/>
                    <a:pt x="364" y="2"/>
                    <a:pt x="339" y="0"/>
                  </a:cubicBezTo>
                  <a:cubicBezTo>
                    <a:pt x="312" y="1"/>
                    <a:pt x="299" y="13"/>
                    <a:pt x="298" y="36"/>
                  </a:cubicBezTo>
                  <a:cubicBezTo>
                    <a:pt x="324" y="36"/>
                    <a:pt x="324" y="36"/>
                    <a:pt x="324" y="36"/>
                  </a:cubicBezTo>
                  <a:cubicBezTo>
                    <a:pt x="325" y="25"/>
                    <a:pt x="330" y="19"/>
                    <a:pt x="339" y="18"/>
                  </a:cubicBezTo>
                  <a:cubicBezTo>
                    <a:pt x="347" y="18"/>
                    <a:pt x="352" y="23"/>
                    <a:pt x="353" y="33"/>
                  </a:cubicBezTo>
                  <a:cubicBezTo>
                    <a:pt x="353" y="43"/>
                    <a:pt x="339" y="60"/>
                    <a:pt x="310" y="85"/>
                  </a:cubicBezTo>
                  <a:cubicBezTo>
                    <a:pt x="303" y="91"/>
                    <a:pt x="298" y="95"/>
                    <a:pt x="296" y="98"/>
                  </a:cubicBezTo>
                  <a:lnTo>
                    <a:pt x="296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  <p:sp>
          <p:nvSpPr>
            <p:cNvPr id="103" name="任意多边形: 形状 102">
              <a:extLst>
                <a:ext uri="{FF2B5EF4-FFF2-40B4-BE49-F238E27FC236}">
                  <a16:creationId xmlns:a16="http://schemas.microsoft.com/office/drawing/2014/main" id="{2B83268C-DF77-4685-A47C-1B521881A7F2}"/>
                </a:ext>
              </a:extLst>
            </p:cNvPr>
            <p:cNvSpPr/>
            <p:nvPr/>
          </p:nvSpPr>
          <p:spPr bwMode="auto">
            <a:xfrm>
              <a:off x="2246313" y="2511425"/>
              <a:ext cx="1822450" cy="1835150"/>
            </a:xfrm>
            <a:custGeom>
              <a:avLst/>
              <a:gdLst>
                <a:gd name="T0" fmla="*/ 1288 w 2348"/>
                <a:gd name="T1" fmla="*/ 1573 h 2365"/>
                <a:gd name="T2" fmla="*/ 1403 w 2348"/>
                <a:gd name="T3" fmla="*/ 1374 h 2365"/>
                <a:gd name="T4" fmla="*/ 1322 w 2348"/>
                <a:gd name="T5" fmla="*/ 725 h 2365"/>
                <a:gd name="T6" fmla="*/ 958 w 2348"/>
                <a:gd name="T7" fmla="*/ 1374 h 2365"/>
                <a:gd name="T8" fmla="*/ 1072 w 2348"/>
                <a:gd name="T9" fmla="*/ 1575 h 2365"/>
                <a:gd name="T10" fmla="*/ 1245 w 2348"/>
                <a:gd name="T11" fmla="*/ 1925 h 2365"/>
                <a:gd name="T12" fmla="*/ 1389 w 2348"/>
                <a:gd name="T13" fmla="*/ 1953 h 2365"/>
                <a:gd name="T14" fmla="*/ 958 w 2348"/>
                <a:gd name="T15" fmla="*/ 1893 h 2365"/>
                <a:gd name="T16" fmla="*/ 1270 w 2348"/>
                <a:gd name="T17" fmla="*/ 1937 h 2365"/>
                <a:gd name="T18" fmla="*/ 1415 w 2348"/>
                <a:gd name="T19" fmla="*/ 1829 h 2365"/>
                <a:gd name="T20" fmla="*/ 1194 w 2348"/>
                <a:gd name="T21" fmla="*/ 1876 h 2365"/>
                <a:gd name="T22" fmla="*/ 1098 w 2348"/>
                <a:gd name="T23" fmla="*/ 1796 h 2365"/>
                <a:gd name="T24" fmla="*/ 1200 w 2348"/>
                <a:gd name="T25" fmla="*/ 1803 h 2365"/>
                <a:gd name="T26" fmla="*/ 756 w 2348"/>
                <a:gd name="T27" fmla="*/ 1820 h 2365"/>
                <a:gd name="T28" fmla="*/ 446 w 2348"/>
                <a:gd name="T29" fmla="*/ 1811 h 2365"/>
                <a:gd name="T30" fmla="*/ 518 w 2348"/>
                <a:gd name="T31" fmla="*/ 1811 h 2365"/>
                <a:gd name="T32" fmla="*/ 582 w 2348"/>
                <a:gd name="T33" fmla="*/ 1766 h 2365"/>
                <a:gd name="T34" fmla="*/ 639 w 2348"/>
                <a:gd name="T35" fmla="*/ 1766 h 2365"/>
                <a:gd name="T36" fmla="*/ 704 w 2348"/>
                <a:gd name="T37" fmla="*/ 1811 h 2365"/>
                <a:gd name="T38" fmla="*/ 781 w 2348"/>
                <a:gd name="T39" fmla="*/ 1811 h 2365"/>
                <a:gd name="T40" fmla="*/ 1179 w 2348"/>
                <a:gd name="T41" fmla="*/ 377 h 2365"/>
                <a:gd name="T42" fmla="*/ 316 w 2348"/>
                <a:gd name="T43" fmla="*/ 1522 h 2365"/>
                <a:gd name="T44" fmla="*/ 2003 w 2348"/>
                <a:gd name="T45" fmla="*/ 1581 h 2365"/>
                <a:gd name="T46" fmla="*/ 1546 w 2348"/>
                <a:gd name="T47" fmla="*/ 1766 h 2365"/>
                <a:gd name="T48" fmla="*/ 1611 w 2348"/>
                <a:gd name="T49" fmla="*/ 1811 h 2365"/>
                <a:gd name="T50" fmla="*/ 1688 w 2348"/>
                <a:gd name="T51" fmla="*/ 1811 h 2365"/>
                <a:gd name="T52" fmla="*/ 1760 w 2348"/>
                <a:gd name="T53" fmla="*/ 1811 h 2365"/>
                <a:gd name="T54" fmla="*/ 1824 w 2348"/>
                <a:gd name="T55" fmla="*/ 1766 h 2365"/>
                <a:gd name="T56" fmla="*/ 1881 w 2348"/>
                <a:gd name="T57" fmla="*/ 1687 h 2365"/>
                <a:gd name="T58" fmla="*/ 1946 w 2348"/>
                <a:gd name="T59" fmla="*/ 1811 h 2365"/>
                <a:gd name="T60" fmla="*/ 1121 w 2348"/>
                <a:gd name="T61" fmla="*/ 1909 h 2365"/>
                <a:gd name="T62" fmla="*/ 951 w 2348"/>
                <a:gd name="T63" fmla="*/ 1832 h 2365"/>
                <a:gd name="T64" fmla="*/ 1121 w 2348"/>
                <a:gd name="T65" fmla="*/ 1856 h 2365"/>
                <a:gd name="T66" fmla="*/ 1121 w 2348"/>
                <a:gd name="T67" fmla="*/ 1803 h 2365"/>
                <a:gd name="T68" fmla="*/ 2082 w 2348"/>
                <a:gd name="T69" fmla="*/ 1622 h 2365"/>
                <a:gd name="T70" fmla="*/ 358 w 2348"/>
                <a:gd name="T71" fmla="*/ 1731 h 2365"/>
                <a:gd name="T72" fmla="*/ 917 w 2348"/>
                <a:gd name="T73" fmla="*/ 1797 h 2365"/>
                <a:gd name="T74" fmla="*/ 1452 w 2348"/>
                <a:gd name="T75" fmla="*/ 1259 h 2365"/>
                <a:gd name="T76" fmla="*/ 1911 w 2348"/>
                <a:gd name="T77" fmla="*/ 1358 h 2365"/>
                <a:gd name="T78" fmla="*/ 1830 w 2348"/>
                <a:gd name="T79" fmla="*/ 1126 h 2365"/>
                <a:gd name="T80" fmla="*/ 1162 w 2348"/>
                <a:gd name="T81" fmla="*/ 439 h 2365"/>
                <a:gd name="T82" fmla="*/ 677 w 2348"/>
                <a:gd name="T83" fmla="*/ 1183 h 2365"/>
                <a:gd name="T84" fmla="*/ 1195 w 2348"/>
                <a:gd name="T85" fmla="*/ 503 h 2365"/>
                <a:gd name="T86" fmla="*/ 386 w 2348"/>
                <a:gd name="T87" fmla="*/ 1302 h 2365"/>
                <a:gd name="T88" fmla="*/ 525 w 2348"/>
                <a:gd name="T89" fmla="*/ 1544 h 2365"/>
                <a:gd name="T90" fmla="*/ 1318 w 2348"/>
                <a:gd name="T91" fmla="*/ 1534 h 2365"/>
                <a:gd name="T92" fmla="*/ 1318 w 2348"/>
                <a:gd name="T93" fmla="*/ 1588 h 2365"/>
                <a:gd name="T94" fmla="*/ 1365 w 2348"/>
                <a:gd name="T95" fmla="*/ 1649 h 2365"/>
                <a:gd name="T96" fmla="*/ 1365 w 2348"/>
                <a:gd name="T97" fmla="*/ 1721 h 2365"/>
                <a:gd name="T98" fmla="*/ 1518 w 2348"/>
                <a:gd name="T99" fmla="*/ 1547 h 2365"/>
                <a:gd name="T100" fmla="*/ 1471 w 2348"/>
                <a:gd name="T101" fmla="*/ 1605 h 2365"/>
                <a:gd name="T102" fmla="*/ 1471 w 2348"/>
                <a:gd name="T103" fmla="*/ 1661 h 2365"/>
                <a:gd name="T104" fmla="*/ 1518 w 2348"/>
                <a:gd name="T105" fmla="*/ 1721 h 2365"/>
                <a:gd name="T106" fmla="*/ 997 w 2348"/>
                <a:gd name="T107" fmla="*/ 1541 h 2365"/>
                <a:gd name="T108" fmla="*/ 1043 w 2348"/>
                <a:gd name="T109" fmla="*/ 1600 h 2365"/>
                <a:gd name="T110" fmla="*/ 1043 w 2348"/>
                <a:gd name="T111" fmla="*/ 1667 h 2365"/>
                <a:gd name="T112" fmla="*/ 997 w 2348"/>
                <a:gd name="T113" fmla="*/ 1726 h 2365"/>
                <a:gd name="T114" fmla="*/ 844 w 2348"/>
                <a:gd name="T115" fmla="*/ 1541 h 2365"/>
                <a:gd name="T116" fmla="*/ 844 w 2348"/>
                <a:gd name="T117" fmla="*/ 1612 h 2365"/>
                <a:gd name="T118" fmla="*/ 891 w 2348"/>
                <a:gd name="T119" fmla="*/ 1673 h 2365"/>
                <a:gd name="T120" fmla="*/ 891 w 2348"/>
                <a:gd name="T121" fmla="*/ 1738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8" h="2365">
                  <a:moveTo>
                    <a:pt x="842" y="1508"/>
                  </a:moveTo>
                  <a:cubicBezTo>
                    <a:pt x="916" y="1508"/>
                    <a:pt x="916" y="1508"/>
                    <a:pt x="916" y="1508"/>
                  </a:cubicBezTo>
                  <a:cubicBezTo>
                    <a:pt x="916" y="1529"/>
                    <a:pt x="916" y="1529"/>
                    <a:pt x="916" y="1529"/>
                  </a:cubicBezTo>
                  <a:cubicBezTo>
                    <a:pt x="971" y="1529"/>
                    <a:pt x="971" y="1529"/>
                    <a:pt x="971" y="1529"/>
                  </a:cubicBezTo>
                  <a:cubicBezTo>
                    <a:pt x="971" y="1508"/>
                    <a:pt x="971" y="1508"/>
                    <a:pt x="971" y="1508"/>
                  </a:cubicBezTo>
                  <a:cubicBezTo>
                    <a:pt x="1053" y="1508"/>
                    <a:pt x="1053" y="1508"/>
                    <a:pt x="1053" y="1508"/>
                  </a:cubicBezTo>
                  <a:cubicBezTo>
                    <a:pt x="1053" y="1797"/>
                    <a:pt x="1053" y="1797"/>
                    <a:pt x="1053" y="1797"/>
                  </a:cubicBezTo>
                  <a:cubicBezTo>
                    <a:pt x="1067" y="1797"/>
                    <a:pt x="1067" y="1797"/>
                    <a:pt x="1067" y="1797"/>
                  </a:cubicBezTo>
                  <a:cubicBezTo>
                    <a:pt x="1067" y="1580"/>
                    <a:pt x="1067" y="1580"/>
                    <a:pt x="1067" y="1580"/>
                  </a:cubicBezTo>
                  <a:cubicBezTo>
                    <a:pt x="1100" y="1545"/>
                    <a:pt x="1139" y="1518"/>
                    <a:pt x="1188" y="1518"/>
                  </a:cubicBezTo>
                  <a:cubicBezTo>
                    <a:pt x="1230" y="1519"/>
                    <a:pt x="1266" y="1548"/>
                    <a:pt x="1297" y="1583"/>
                  </a:cubicBezTo>
                  <a:cubicBezTo>
                    <a:pt x="1297" y="1797"/>
                    <a:pt x="1297" y="1797"/>
                    <a:pt x="1297" y="1797"/>
                  </a:cubicBezTo>
                  <a:cubicBezTo>
                    <a:pt x="1309" y="1797"/>
                    <a:pt x="1309" y="1797"/>
                    <a:pt x="1309" y="1797"/>
                  </a:cubicBezTo>
                  <a:cubicBezTo>
                    <a:pt x="1309" y="1508"/>
                    <a:pt x="1309" y="1508"/>
                    <a:pt x="1309" y="1508"/>
                  </a:cubicBezTo>
                  <a:cubicBezTo>
                    <a:pt x="1390" y="1508"/>
                    <a:pt x="1390" y="1508"/>
                    <a:pt x="1390" y="1508"/>
                  </a:cubicBezTo>
                  <a:cubicBezTo>
                    <a:pt x="1390" y="1529"/>
                    <a:pt x="1390" y="1529"/>
                    <a:pt x="1390" y="1529"/>
                  </a:cubicBezTo>
                  <a:cubicBezTo>
                    <a:pt x="1445" y="1529"/>
                    <a:pt x="1445" y="1529"/>
                    <a:pt x="1445" y="1529"/>
                  </a:cubicBezTo>
                  <a:cubicBezTo>
                    <a:pt x="1445" y="1508"/>
                    <a:pt x="1445" y="1508"/>
                    <a:pt x="1445" y="1508"/>
                  </a:cubicBezTo>
                  <a:cubicBezTo>
                    <a:pt x="1519" y="1508"/>
                    <a:pt x="1519" y="1508"/>
                    <a:pt x="1519" y="1508"/>
                  </a:cubicBezTo>
                  <a:cubicBezTo>
                    <a:pt x="1519" y="1487"/>
                    <a:pt x="1519" y="1487"/>
                    <a:pt x="1519" y="1487"/>
                  </a:cubicBezTo>
                  <a:cubicBezTo>
                    <a:pt x="1307" y="1487"/>
                    <a:pt x="1307" y="1487"/>
                    <a:pt x="1307" y="1487"/>
                  </a:cubicBezTo>
                  <a:cubicBezTo>
                    <a:pt x="1398" y="1399"/>
                    <a:pt x="1398" y="1399"/>
                    <a:pt x="1398" y="1399"/>
                  </a:cubicBezTo>
                  <a:cubicBezTo>
                    <a:pt x="1294" y="1399"/>
                    <a:pt x="1294" y="1399"/>
                    <a:pt x="1294" y="1399"/>
                  </a:cubicBezTo>
                  <a:cubicBezTo>
                    <a:pt x="1294" y="1576"/>
                    <a:pt x="1294" y="1576"/>
                    <a:pt x="1294" y="1576"/>
                  </a:cubicBezTo>
                  <a:cubicBezTo>
                    <a:pt x="1290" y="1576"/>
                    <a:pt x="1290" y="1576"/>
                    <a:pt x="1290" y="1576"/>
                  </a:cubicBezTo>
                  <a:cubicBezTo>
                    <a:pt x="1290" y="1575"/>
                    <a:pt x="1289" y="1574"/>
                    <a:pt x="1288" y="1573"/>
                  </a:cubicBezTo>
                  <a:cubicBezTo>
                    <a:pt x="1288" y="1485"/>
                    <a:pt x="1288" y="1485"/>
                    <a:pt x="1288" y="1485"/>
                  </a:cubicBezTo>
                  <a:cubicBezTo>
                    <a:pt x="1266" y="1485"/>
                    <a:pt x="1266" y="1485"/>
                    <a:pt x="1266" y="1485"/>
                  </a:cubicBezTo>
                  <a:cubicBezTo>
                    <a:pt x="1266" y="1552"/>
                    <a:pt x="1266" y="1552"/>
                    <a:pt x="1266" y="1552"/>
                  </a:cubicBezTo>
                  <a:cubicBezTo>
                    <a:pt x="1263" y="1550"/>
                    <a:pt x="1261" y="1548"/>
                    <a:pt x="1259" y="1546"/>
                  </a:cubicBezTo>
                  <a:cubicBezTo>
                    <a:pt x="1259" y="1485"/>
                    <a:pt x="1259" y="1485"/>
                    <a:pt x="1259" y="1485"/>
                  </a:cubicBezTo>
                  <a:cubicBezTo>
                    <a:pt x="1253" y="1485"/>
                    <a:pt x="1253" y="1485"/>
                    <a:pt x="1253" y="1485"/>
                  </a:cubicBezTo>
                  <a:cubicBezTo>
                    <a:pt x="1253" y="1542"/>
                    <a:pt x="1253" y="1542"/>
                    <a:pt x="1253" y="1542"/>
                  </a:cubicBezTo>
                  <a:cubicBezTo>
                    <a:pt x="1251" y="1541"/>
                    <a:pt x="1250" y="1540"/>
                    <a:pt x="1248" y="1538"/>
                  </a:cubicBezTo>
                  <a:cubicBezTo>
                    <a:pt x="1248" y="1485"/>
                    <a:pt x="1248" y="1485"/>
                    <a:pt x="1248" y="1485"/>
                  </a:cubicBezTo>
                  <a:cubicBezTo>
                    <a:pt x="1241" y="1485"/>
                    <a:pt x="1241" y="1485"/>
                    <a:pt x="1241" y="1485"/>
                  </a:cubicBezTo>
                  <a:cubicBezTo>
                    <a:pt x="1241" y="1534"/>
                    <a:pt x="1241" y="1534"/>
                    <a:pt x="1241" y="1534"/>
                  </a:cubicBezTo>
                  <a:cubicBezTo>
                    <a:pt x="1239" y="1533"/>
                    <a:pt x="1237" y="1532"/>
                    <a:pt x="1235" y="1531"/>
                  </a:cubicBezTo>
                  <a:cubicBezTo>
                    <a:pt x="1235" y="1399"/>
                    <a:pt x="1235" y="1399"/>
                    <a:pt x="1235" y="1399"/>
                  </a:cubicBezTo>
                  <a:cubicBezTo>
                    <a:pt x="1221" y="1399"/>
                    <a:pt x="1221" y="1399"/>
                    <a:pt x="1221" y="1399"/>
                  </a:cubicBezTo>
                  <a:cubicBezTo>
                    <a:pt x="1221" y="1524"/>
                    <a:pt x="1221" y="1524"/>
                    <a:pt x="1221" y="1524"/>
                  </a:cubicBezTo>
                  <a:cubicBezTo>
                    <a:pt x="1219" y="1523"/>
                    <a:pt x="1216" y="1523"/>
                    <a:pt x="1214" y="1522"/>
                  </a:cubicBezTo>
                  <a:cubicBezTo>
                    <a:pt x="1214" y="1382"/>
                    <a:pt x="1214" y="1382"/>
                    <a:pt x="1214" y="1382"/>
                  </a:cubicBezTo>
                  <a:cubicBezTo>
                    <a:pt x="1403" y="1382"/>
                    <a:pt x="1403" y="1382"/>
                    <a:pt x="1403" y="1382"/>
                  </a:cubicBezTo>
                  <a:cubicBezTo>
                    <a:pt x="1403" y="1377"/>
                    <a:pt x="1403" y="1377"/>
                    <a:pt x="1403" y="1377"/>
                  </a:cubicBezTo>
                  <a:cubicBezTo>
                    <a:pt x="1207" y="1377"/>
                    <a:pt x="1207" y="1377"/>
                    <a:pt x="1207" y="1377"/>
                  </a:cubicBezTo>
                  <a:cubicBezTo>
                    <a:pt x="1206" y="1520"/>
                    <a:pt x="1206" y="1520"/>
                    <a:pt x="1206" y="1520"/>
                  </a:cubicBezTo>
                  <a:cubicBezTo>
                    <a:pt x="1204" y="1519"/>
                    <a:pt x="1203" y="1519"/>
                    <a:pt x="1201" y="1519"/>
                  </a:cubicBezTo>
                  <a:cubicBezTo>
                    <a:pt x="1201" y="1370"/>
                    <a:pt x="1201" y="1370"/>
                    <a:pt x="1201" y="1370"/>
                  </a:cubicBezTo>
                  <a:cubicBezTo>
                    <a:pt x="1207" y="1370"/>
                    <a:pt x="1207" y="1370"/>
                    <a:pt x="1207" y="1370"/>
                  </a:cubicBezTo>
                  <a:cubicBezTo>
                    <a:pt x="1207" y="1374"/>
                    <a:pt x="1207" y="1374"/>
                    <a:pt x="1207" y="1374"/>
                  </a:cubicBezTo>
                  <a:cubicBezTo>
                    <a:pt x="1403" y="1374"/>
                    <a:pt x="1403" y="1374"/>
                    <a:pt x="1403" y="1374"/>
                  </a:cubicBezTo>
                  <a:cubicBezTo>
                    <a:pt x="1403" y="1369"/>
                    <a:pt x="1403" y="1369"/>
                    <a:pt x="1403" y="1369"/>
                  </a:cubicBezTo>
                  <a:cubicBezTo>
                    <a:pt x="1406" y="1369"/>
                    <a:pt x="1406" y="1369"/>
                    <a:pt x="1406" y="1369"/>
                  </a:cubicBezTo>
                  <a:cubicBezTo>
                    <a:pt x="1428" y="1418"/>
                    <a:pt x="1455" y="1438"/>
                    <a:pt x="1489" y="1438"/>
                  </a:cubicBezTo>
                  <a:cubicBezTo>
                    <a:pt x="1496" y="1438"/>
                    <a:pt x="1503" y="1437"/>
                    <a:pt x="1510" y="1436"/>
                  </a:cubicBezTo>
                  <a:cubicBezTo>
                    <a:pt x="1511" y="1393"/>
                    <a:pt x="1490" y="1347"/>
                    <a:pt x="1460" y="1316"/>
                  </a:cubicBezTo>
                  <a:cubicBezTo>
                    <a:pt x="1446" y="1338"/>
                    <a:pt x="1430" y="1354"/>
                    <a:pt x="1414" y="1363"/>
                  </a:cubicBezTo>
                  <a:cubicBezTo>
                    <a:pt x="1259" y="1363"/>
                    <a:pt x="1103" y="1363"/>
                    <a:pt x="948" y="1363"/>
                  </a:cubicBezTo>
                  <a:cubicBezTo>
                    <a:pt x="905" y="1335"/>
                    <a:pt x="891" y="1300"/>
                    <a:pt x="875" y="1267"/>
                  </a:cubicBezTo>
                  <a:cubicBezTo>
                    <a:pt x="926" y="1305"/>
                    <a:pt x="1021" y="1279"/>
                    <a:pt x="1004" y="1194"/>
                  </a:cubicBezTo>
                  <a:cubicBezTo>
                    <a:pt x="1012" y="1194"/>
                    <a:pt x="1020" y="1194"/>
                    <a:pt x="1028" y="1194"/>
                  </a:cubicBezTo>
                  <a:cubicBezTo>
                    <a:pt x="1031" y="1200"/>
                    <a:pt x="1035" y="1205"/>
                    <a:pt x="1038" y="1211"/>
                  </a:cubicBezTo>
                  <a:cubicBezTo>
                    <a:pt x="1045" y="1211"/>
                    <a:pt x="1051" y="1211"/>
                    <a:pt x="1058" y="1211"/>
                  </a:cubicBezTo>
                  <a:cubicBezTo>
                    <a:pt x="1061" y="1218"/>
                    <a:pt x="1064" y="1226"/>
                    <a:pt x="1067" y="1233"/>
                  </a:cubicBezTo>
                  <a:cubicBezTo>
                    <a:pt x="1144" y="1233"/>
                    <a:pt x="1221" y="1233"/>
                    <a:pt x="1297" y="1233"/>
                  </a:cubicBezTo>
                  <a:cubicBezTo>
                    <a:pt x="1301" y="1227"/>
                    <a:pt x="1305" y="1220"/>
                    <a:pt x="1308" y="1214"/>
                  </a:cubicBezTo>
                  <a:cubicBezTo>
                    <a:pt x="1314" y="1214"/>
                    <a:pt x="1321" y="1214"/>
                    <a:pt x="1327" y="1214"/>
                  </a:cubicBezTo>
                  <a:cubicBezTo>
                    <a:pt x="1328" y="1208"/>
                    <a:pt x="1330" y="1201"/>
                    <a:pt x="1332" y="1195"/>
                  </a:cubicBezTo>
                  <a:cubicBezTo>
                    <a:pt x="1344" y="1195"/>
                    <a:pt x="1356" y="1195"/>
                    <a:pt x="1369" y="1195"/>
                  </a:cubicBezTo>
                  <a:cubicBezTo>
                    <a:pt x="1361" y="1262"/>
                    <a:pt x="1394" y="1286"/>
                    <a:pt x="1437" y="1283"/>
                  </a:cubicBezTo>
                  <a:cubicBezTo>
                    <a:pt x="1433" y="1169"/>
                    <a:pt x="1423" y="1060"/>
                    <a:pt x="1407" y="956"/>
                  </a:cubicBezTo>
                  <a:cubicBezTo>
                    <a:pt x="1407" y="916"/>
                    <a:pt x="1394" y="893"/>
                    <a:pt x="1364" y="856"/>
                  </a:cubicBezTo>
                  <a:cubicBezTo>
                    <a:pt x="1363" y="857"/>
                    <a:pt x="1362" y="857"/>
                    <a:pt x="1362" y="857"/>
                  </a:cubicBezTo>
                  <a:cubicBezTo>
                    <a:pt x="1365" y="887"/>
                    <a:pt x="1369" y="918"/>
                    <a:pt x="1372" y="948"/>
                  </a:cubicBezTo>
                  <a:cubicBezTo>
                    <a:pt x="1365" y="957"/>
                    <a:pt x="1359" y="958"/>
                    <a:pt x="1354" y="950"/>
                  </a:cubicBezTo>
                  <a:cubicBezTo>
                    <a:pt x="1350" y="910"/>
                    <a:pt x="1346" y="869"/>
                    <a:pt x="1343" y="828"/>
                  </a:cubicBezTo>
                  <a:cubicBezTo>
                    <a:pt x="1339" y="792"/>
                    <a:pt x="1330" y="759"/>
                    <a:pt x="1322" y="725"/>
                  </a:cubicBezTo>
                  <a:cubicBezTo>
                    <a:pt x="1307" y="700"/>
                    <a:pt x="1294" y="688"/>
                    <a:pt x="1281" y="674"/>
                  </a:cubicBezTo>
                  <a:cubicBezTo>
                    <a:pt x="1283" y="697"/>
                    <a:pt x="1284" y="719"/>
                    <a:pt x="1286" y="742"/>
                  </a:cubicBezTo>
                  <a:cubicBezTo>
                    <a:pt x="1281" y="742"/>
                    <a:pt x="1277" y="742"/>
                    <a:pt x="1272" y="742"/>
                  </a:cubicBezTo>
                  <a:cubicBezTo>
                    <a:pt x="1267" y="695"/>
                    <a:pt x="1263" y="647"/>
                    <a:pt x="1259" y="600"/>
                  </a:cubicBezTo>
                  <a:cubicBezTo>
                    <a:pt x="1251" y="568"/>
                    <a:pt x="1244" y="546"/>
                    <a:pt x="1227" y="547"/>
                  </a:cubicBezTo>
                  <a:cubicBezTo>
                    <a:pt x="1154" y="559"/>
                    <a:pt x="1120" y="584"/>
                    <a:pt x="1071" y="604"/>
                  </a:cubicBezTo>
                  <a:cubicBezTo>
                    <a:pt x="1040" y="618"/>
                    <a:pt x="1015" y="639"/>
                    <a:pt x="997" y="672"/>
                  </a:cubicBezTo>
                  <a:cubicBezTo>
                    <a:pt x="994" y="702"/>
                    <a:pt x="991" y="732"/>
                    <a:pt x="988" y="763"/>
                  </a:cubicBezTo>
                  <a:cubicBezTo>
                    <a:pt x="979" y="784"/>
                    <a:pt x="969" y="806"/>
                    <a:pt x="959" y="827"/>
                  </a:cubicBezTo>
                  <a:cubicBezTo>
                    <a:pt x="958" y="879"/>
                    <a:pt x="957" y="931"/>
                    <a:pt x="956" y="983"/>
                  </a:cubicBezTo>
                  <a:cubicBezTo>
                    <a:pt x="951" y="984"/>
                    <a:pt x="946" y="985"/>
                    <a:pt x="941" y="986"/>
                  </a:cubicBezTo>
                  <a:cubicBezTo>
                    <a:pt x="942" y="937"/>
                    <a:pt x="943" y="888"/>
                    <a:pt x="944" y="839"/>
                  </a:cubicBezTo>
                  <a:cubicBezTo>
                    <a:pt x="944" y="812"/>
                    <a:pt x="955" y="785"/>
                    <a:pt x="972" y="759"/>
                  </a:cubicBezTo>
                  <a:cubicBezTo>
                    <a:pt x="973" y="745"/>
                    <a:pt x="975" y="731"/>
                    <a:pt x="977" y="718"/>
                  </a:cubicBezTo>
                  <a:cubicBezTo>
                    <a:pt x="974" y="718"/>
                    <a:pt x="971" y="718"/>
                    <a:pt x="968" y="718"/>
                  </a:cubicBezTo>
                  <a:cubicBezTo>
                    <a:pt x="955" y="728"/>
                    <a:pt x="946" y="739"/>
                    <a:pt x="940" y="749"/>
                  </a:cubicBezTo>
                  <a:cubicBezTo>
                    <a:pt x="934" y="778"/>
                    <a:pt x="927" y="807"/>
                    <a:pt x="925" y="836"/>
                  </a:cubicBezTo>
                  <a:cubicBezTo>
                    <a:pt x="931" y="914"/>
                    <a:pt x="887" y="1024"/>
                    <a:pt x="911" y="1120"/>
                  </a:cubicBezTo>
                  <a:cubicBezTo>
                    <a:pt x="894" y="1120"/>
                    <a:pt x="894" y="1120"/>
                    <a:pt x="894" y="1120"/>
                  </a:cubicBezTo>
                  <a:cubicBezTo>
                    <a:pt x="879" y="1061"/>
                    <a:pt x="892" y="966"/>
                    <a:pt x="909" y="857"/>
                  </a:cubicBezTo>
                  <a:cubicBezTo>
                    <a:pt x="884" y="875"/>
                    <a:pt x="864" y="911"/>
                    <a:pt x="864" y="988"/>
                  </a:cubicBezTo>
                  <a:cubicBezTo>
                    <a:pt x="843" y="1435"/>
                    <a:pt x="843" y="1435"/>
                    <a:pt x="843" y="1435"/>
                  </a:cubicBezTo>
                  <a:cubicBezTo>
                    <a:pt x="852" y="1437"/>
                    <a:pt x="861" y="1438"/>
                    <a:pt x="872" y="1438"/>
                  </a:cubicBezTo>
                  <a:cubicBezTo>
                    <a:pt x="905" y="1438"/>
                    <a:pt x="932" y="1418"/>
                    <a:pt x="955" y="1369"/>
                  </a:cubicBezTo>
                  <a:cubicBezTo>
                    <a:pt x="958" y="1369"/>
                    <a:pt x="958" y="1369"/>
                    <a:pt x="958" y="1369"/>
                  </a:cubicBezTo>
                  <a:cubicBezTo>
                    <a:pt x="958" y="1374"/>
                    <a:pt x="958" y="1374"/>
                    <a:pt x="958" y="1374"/>
                  </a:cubicBezTo>
                  <a:cubicBezTo>
                    <a:pt x="1154" y="1374"/>
                    <a:pt x="1154" y="1374"/>
                    <a:pt x="1154" y="1374"/>
                  </a:cubicBezTo>
                  <a:cubicBezTo>
                    <a:pt x="1154" y="1370"/>
                    <a:pt x="1154" y="1370"/>
                    <a:pt x="1154" y="1370"/>
                  </a:cubicBezTo>
                  <a:cubicBezTo>
                    <a:pt x="1160" y="1370"/>
                    <a:pt x="1160" y="1370"/>
                    <a:pt x="1160" y="1370"/>
                  </a:cubicBezTo>
                  <a:cubicBezTo>
                    <a:pt x="1160" y="1521"/>
                    <a:pt x="1160" y="1521"/>
                    <a:pt x="1160" y="1521"/>
                  </a:cubicBezTo>
                  <a:cubicBezTo>
                    <a:pt x="1158" y="1521"/>
                    <a:pt x="1156" y="1522"/>
                    <a:pt x="1154" y="1522"/>
                  </a:cubicBezTo>
                  <a:cubicBezTo>
                    <a:pt x="1154" y="1377"/>
                    <a:pt x="1154" y="1377"/>
                    <a:pt x="1154" y="1377"/>
                  </a:cubicBezTo>
                  <a:cubicBezTo>
                    <a:pt x="958" y="1377"/>
                    <a:pt x="958" y="1377"/>
                    <a:pt x="958" y="1377"/>
                  </a:cubicBezTo>
                  <a:cubicBezTo>
                    <a:pt x="958" y="1382"/>
                    <a:pt x="958" y="1382"/>
                    <a:pt x="958" y="1382"/>
                  </a:cubicBezTo>
                  <a:cubicBezTo>
                    <a:pt x="1146" y="1382"/>
                    <a:pt x="1146" y="1382"/>
                    <a:pt x="1146" y="1382"/>
                  </a:cubicBezTo>
                  <a:cubicBezTo>
                    <a:pt x="1146" y="1525"/>
                    <a:pt x="1146" y="1525"/>
                    <a:pt x="1146" y="1525"/>
                  </a:cubicBezTo>
                  <a:cubicBezTo>
                    <a:pt x="1144" y="1526"/>
                    <a:pt x="1142" y="1526"/>
                    <a:pt x="1140" y="1527"/>
                  </a:cubicBezTo>
                  <a:cubicBezTo>
                    <a:pt x="1140" y="1399"/>
                    <a:pt x="1140" y="1399"/>
                    <a:pt x="1140" y="1399"/>
                  </a:cubicBezTo>
                  <a:cubicBezTo>
                    <a:pt x="1125" y="1399"/>
                    <a:pt x="1125" y="1399"/>
                    <a:pt x="1125" y="1399"/>
                  </a:cubicBezTo>
                  <a:cubicBezTo>
                    <a:pt x="1125" y="1534"/>
                    <a:pt x="1125" y="1534"/>
                    <a:pt x="1125" y="1534"/>
                  </a:cubicBezTo>
                  <a:cubicBezTo>
                    <a:pt x="1123" y="1535"/>
                    <a:pt x="1121" y="1536"/>
                    <a:pt x="1119" y="1537"/>
                  </a:cubicBezTo>
                  <a:cubicBezTo>
                    <a:pt x="1119" y="1485"/>
                    <a:pt x="1119" y="1485"/>
                    <a:pt x="1119" y="1485"/>
                  </a:cubicBezTo>
                  <a:cubicBezTo>
                    <a:pt x="1113" y="1485"/>
                    <a:pt x="1113" y="1485"/>
                    <a:pt x="1113" y="1485"/>
                  </a:cubicBezTo>
                  <a:cubicBezTo>
                    <a:pt x="1113" y="1541"/>
                    <a:pt x="1113" y="1541"/>
                    <a:pt x="1113" y="1541"/>
                  </a:cubicBezTo>
                  <a:cubicBezTo>
                    <a:pt x="1111" y="1542"/>
                    <a:pt x="1109" y="1544"/>
                    <a:pt x="1107" y="1545"/>
                  </a:cubicBezTo>
                  <a:cubicBezTo>
                    <a:pt x="1107" y="1485"/>
                    <a:pt x="1107" y="1485"/>
                    <a:pt x="1107" y="1485"/>
                  </a:cubicBezTo>
                  <a:cubicBezTo>
                    <a:pt x="1101" y="1485"/>
                    <a:pt x="1101" y="1485"/>
                    <a:pt x="1101" y="1485"/>
                  </a:cubicBezTo>
                  <a:cubicBezTo>
                    <a:pt x="1101" y="1549"/>
                    <a:pt x="1101" y="1549"/>
                    <a:pt x="1101" y="1549"/>
                  </a:cubicBezTo>
                  <a:cubicBezTo>
                    <a:pt x="1099" y="1551"/>
                    <a:pt x="1097" y="1552"/>
                    <a:pt x="1095" y="1554"/>
                  </a:cubicBezTo>
                  <a:cubicBezTo>
                    <a:pt x="1095" y="1485"/>
                    <a:pt x="1095" y="1485"/>
                    <a:pt x="1095" y="1485"/>
                  </a:cubicBezTo>
                  <a:cubicBezTo>
                    <a:pt x="1072" y="1485"/>
                    <a:pt x="1072" y="1485"/>
                    <a:pt x="1072" y="1485"/>
                  </a:cubicBezTo>
                  <a:cubicBezTo>
                    <a:pt x="1072" y="1575"/>
                    <a:pt x="1072" y="1575"/>
                    <a:pt x="1072" y="1575"/>
                  </a:cubicBezTo>
                  <a:cubicBezTo>
                    <a:pt x="1072" y="1575"/>
                    <a:pt x="1072" y="1575"/>
                    <a:pt x="1071" y="1576"/>
                  </a:cubicBezTo>
                  <a:cubicBezTo>
                    <a:pt x="1067" y="1576"/>
                    <a:pt x="1067" y="1576"/>
                    <a:pt x="1067" y="1576"/>
                  </a:cubicBezTo>
                  <a:cubicBezTo>
                    <a:pt x="1067" y="1399"/>
                    <a:pt x="1067" y="1399"/>
                    <a:pt x="1067" y="1399"/>
                  </a:cubicBezTo>
                  <a:cubicBezTo>
                    <a:pt x="962" y="1399"/>
                    <a:pt x="962" y="1399"/>
                    <a:pt x="962" y="1399"/>
                  </a:cubicBezTo>
                  <a:cubicBezTo>
                    <a:pt x="1054" y="1487"/>
                    <a:pt x="1054" y="1487"/>
                    <a:pt x="1054" y="1487"/>
                  </a:cubicBezTo>
                  <a:cubicBezTo>
                    <a:pt x="842" y="1487"/>
                    <a:pt x="842" y="1487"/>
                    <a:pt x="842" y="1487"/>
                  </a:cubicBezTo>
                  <a:cubicBezTo>
                    <a:pt x="842" y="1508"/>
                    <a:pt x="842" y="1508"/>
                    <a:pt x="842" y="1508"/>
                  </a:cubicBezTo>
                  <a:close/>
                  <a:moveTo>
                    <a:pt x="1605" y="1820"/>
                  </a:moveTo>
                  <a:cubicBezTo>
                    <a:pt x="1415" y="1820"/>
                    <a:pt x="1415" y="1820"/>
                    <a:pt x="1415" y="1820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605" y="1829"/>
                    <a:pt x="1605" y="1829"/>
                    <a:pt x="1605" y="1829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245" y="1931"/>
                  </a:moveTo>
                  <a:cubicBezTo>
                    <a:pt x="1194" y="1931"/>
                    <a:pt x="1194" y="1931"/>
                    <a:pt x="1194" y="1931"/>
                  </a:cubicBezTo>
                  <a:cubicBezTo>
                    <a:pt x="1194" y="1953"/>
                    <a:pt x="1194" y="1953"/>
                    <a:pt x="1194" y="1953"/>
                  </a:cubicBezTo>
                  <a:cubicBezTo>
                    <a:pt x="1245" y="1953"/>
                    <a:pt x="1245" y="1953"/>
                    <a:pt x="1245" y="1953"/>
                  </a:cubicBezTo>
                  <a:cubicBezTo>
                    <a:pt x="1245" y="1931"/>
                    <a:pt x="1245" y="1931"/>
                    <a:pt x="1245" y="1931"/>
                  </a:cubicBezTo>
                  <a:close/>
                  <a:moveTo>
                    <a:pt x="1239" y="1937"/>
                  </a:moveTo>
                  <a:cubicBezTo>
                    <a:pt x="1239" y="1945"/>
                    <a:pt x="1239" y="1945"/>
                    <a:pt x="1239" y="1945"/>
                  </a:cubicBezTo>
                  <a:cubicBezTo>
                    <a:pt x="1200" y="1945"/>
                    <a:pt x="1200" y="1945"/>
                    <a:pt x="1200" y="1945"/>
                  </a:cubicBezTo>
                  <a:cubicBezTo>
                    <a:pt x="1200" y="1937"/>
                    <a:pt x="1200" y="1937"/>
                    <a:pt x="1200" y="1937"/>
                  </a:cubicBezTo>
                  <a:cubicBezTo>
                    <a:pt x="1239" y="1937"/>
                    <a:pt x="1239" y="1937"/>
                    <a:pt x="1239" y="1937"/>
                  </a:cubicBezTo>
                  <a:close/>
                  <a:moveTo>
                    <a:pt x="1245" y="1904"/>
                  </a:moveTo>
                  <a:cubicBezTo>
                    <a:pt x="1194" y="1904"/>
                    <a:pt x="1194" y="1904"/>
                    <a:pt x="1194" y="1904"/>
                  </a:cubicBezTo>
                  <a:cubicBezTo>
                    <a:pt x="1194" y="1925"/>
                    <a:pt x="1194" y="1925"/>
                    <a:pt x="1194" y="1925"/>
                  </a:cubicBezTo>
                  <a:cubicBezTo>
                    <a:pt x="1245" y="1925"/>
                    <a:pt x="1245" y="1925"/>
                    <a:pt x="1245" y="1925"/>
                  </a:cubicBezTo>
                  <a:cubicBezTo>
                    <a:pt x="1245" y="1904"/>
                    <a:pt x="1245" y="1904"/>
                    <a:pt x="1245" y="1904"/>
                  </a:cubicBezTo>
                  <a:close/>
                  <a:moveTo>
                    <a:pt x="1239" y="1909"/>
                  </a:moveTo>
                  <a:cubicBezTo>
                    <a:pt x="1239" y="1918"/>
                    <a:pt x="1239" y="1918"/>
                    <a:pt x="1239" y="1918"/>
                  </a:cubicBezTo>
                  <a:cubicBezTo>
                    <a:pt x="1200" y="1918"/>
                    <a:pt x="1200" y="1918"/>
                    <a:pt x="1200" y="1918"/>
                  </a:cubicBezTo>
                  <a:cubicBezTo>
                    <a:pt x="1200" y="1909"/>
                    <a:pt x="1200" y="1909"/>
                    <a:pt x="1200" y="1909"/>
                  </a:cubicBezTo>
                  <a:cubicBezTo>
                    <a:pt x="1239" y="1909"/>
                    <a:pt x="1239" y="1909"/>
                    <a:pt x="1239" y="1909"/>
                  </a:cubicBezTo>
                  <a:close/>
                  <a:moveTo>
                    <a:pt x="1264" y="1812"/>
                  </a:moveTo>
                  <a:cubicBezTo>
                    <a:pt x="1264" y="1812"/>
                    <a:pt x="1264" y="1812"/>
                    <a:pt x="1264" y="1812"/>
                  </a:cubicBezTo>
                  <a:cubicBezTo>
                    <a:pt x="1264" y="1838"/>
                    <a:pt x="1264" y="1838"/>
                    <a:pt x="1264" y="1838"/>
                  </a:cubicBezTo>
                  <a:cubicBezTo>
                    <a:pt x="1409" y="1838"/>
                    <a:pt x="1409" y="1838"/>
                    <a:pt x="1409" y="1838"/>
                  </a:cubicBezTo>
                  <a:cubicBezTo>
                    <a:pt x="1409" y="1845"/>
                    <a:pt x="1409" y="1845"/>
                    <a:pt x="1409" y="1845"/>
                  </a:cubicBezTo>
                  <a:cubicBezTo>
                    <a:pt x="1264" y="1845"/>
                    <a:pt x="1264" y="1845"/>
                    <a:pt x="1264" y="1845"/>
                  </a:cubicBezTo>
                  <a:cubicBezTo>
                    <a:pt x="1264" y="1866"/>
                    <a:pt x="1264" y="1866"/>
                    <a:pt x="1264" y="1866"/>
                  </a:cubicBezTo>
                  <a:cubicBezTo>
                    <a:pt x="1408" y="1866"/>
                    <a:pt x="1408" y="1866"/>
                    <a:pt x="1408" y="1866"/>
                  </a:cubicBezTo>
                  <a:cubicBezTo>
                    <a:pt x="1408" y="1872"/>
                    <a:pt x="1408" y="1872"/>
                    <a:pt x="1408" y="1872"/>
                  </a:cubicBezTo>
                  <a:cubicBezTo>
                    <a:pt x="1264" y="1872"/>
                    <a:pt x="1264" y="1872"/>
                    <a:pt x="1264" y="1872"/>
                  </a:cubicBezTo>
                  <a:cubicBezTo>
                    <a:pt x="1264" y="1893"/>
                    <a:pt x="1264" y="1893"/>
                    <a:pt x="1264" y="1893"/>
                  </a:cubicBezTo>
                  <a:cubicBezTo>
                    <a:pt x="1402" y="1893"/>
                    <a:pt x="1402" y="1893"/>
                    <a:pt x="1402" y="1893"/>
                  </a:cubicBezTo>
                  <a:cubicBezTo>
                    <a:pt x="1397" y="1897"/>
                    <a:pt x="1393" y="1902"/>
                    <a:pt x="1389" y="1906"/>
                  </a:cubicBezTo>
                  <a:cubicBezTo>
                    <a:pt x="1264" y="1906"/>
                    <a:pt x="1264" y="1906"/>
                    <a:pt x="1264" y="1906"/>
                  </a:cubicBezTo>
                  <a:cubicBezTo>
                    <a:pt x="1264" y="1924"/>
                    <a:pt x="1264" y="1924"/>
                    <a:pt x="1264" y="1924"/>
                  </a:cubicBezTo>
                  <a:cubicBezTo>
                    <a:pt x="1384" y="1924"/>
                    <a:pt x="1384" y="1924"/>
                    <a:pt x="1384" y="1924"/>
                  </a:cubicBezTo>
                  <a:cubicBezTo>
                    <a:pt x="1384" y="1931"/>
                    <a:pt x="1384" y="1931"/>
                    <a:pt x="1384" y="1931"/>
                  </a:cubicBezTo>
                  <a:cubicBezTo>
                    <a:pt x="1264" y="1931"/>
                    <a:pt x="1264" y="1931"/>
                    <a:pt x="1264" y="1931"/>
                  </a:cubicBezTo>
                  <a:cubicBezTo>
                    <a:pt x="1264" y="1953"/>
                    <a:pt x="1264" y="1953"/>
                    <a:pt x="1264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611" y="1953"/>
                    <a:pt x="1611" y="1953"/>
                    <a:pt x="1611" y="1953"/>
                  </a:cubicBezTo>
                  <a:cubicBezTo>
                    <a:pt x="1611" y="1908"/>
                    <a:pt x="1611" y="1908"/>
                    <a:pt x="1611" y="1908"/>
                  </a:cubicBezTo>
                  <a:cubicBezTo>
                    <a:pt x="1610" y="1900"/>
                    <a:pt x="1606" y="1893"/>
                    <a:pt x="1597" y="1888"/>
                  </a:cubicBezTo>
                  <a:cubicBezTo>
                    <a:pt x="1595" y="1834"/>
                    <a:pt x="1595" y="1834"/>
                    <a:pt x="1595" y="1834"/>
                  </a:cubicBezTo>
                  <a:cubicBezTo>
                    <a:pt x="1611" y="1834"/>
                    <a:pt x="1611" y="1834"/>
                    <a:pt x="1611" y="1834"/>
                  </a:cubicBezTo>
                  <a:cubicBezTo>
                    <a:pt x="1611" y="1816"/>
                    <a:pt x="1611" y="1816"/>
                    <a:pt x="1611" y="1816"/>
                  </a:cubicBezTo>
                  <a:cubicBezTo>
                    <a:pt x="2081" y="1821"/>
                    <a:pt x="2081" y="1821"/>
                    <a:pt x="2081" y="1821"/>
                  </a:cubicBezTo>
                  <a:cubicBezTo>
                    <a:pt x="1880" y="2109"/>
                    <a:pt x="1548" y="2298"/>
                    <a:pt x="1174" y="2298"/>
                  </a:cubicBezTo>
                  <a:cubicBezTo>
                    <a:pt x="799" y="2298"/>
                    <a:pt x="466" y="2109"/>
                    <a:pt x="266" y="1820"/>
                  </a:cubicBezTo>
                  <a:cubicBezTo>
                    <a:pt x="749" y="1820"/>
                    <a:pt x="749" y="1820"/>
                    <a:pt x="749" y="1820"/>
                  </a:cubicBezTo>
                  <a:cubicBezTo>
                    <a:pt x="749" y="1834"/>
                    <a:pt x="749" y="1834"/>
                    <a:pt x="749" y="1834"/>
                  </a:cubicBezTo>
                  <a:cubicBezTo>
                    <a:pt x="765" y="1834"/>
                    <a:pt x="765" y="1834"/>
                    <a:pt x="765" y="1834"/>
                  </a:cubicBezTo>
                  <a:cubicBezTo>
                    <a:pt x="764" y="1888"/>
                    <a:pt x="764" y="1888"/>
                    <a:pt x="764" y="1888"/>
                  </a:cubicBezTo>
                  <a:cubicBezTo>
                    <a:pt x="754" y="1893"/>
                    <a:pt x="751" y="1900"/>
                    <a:pt x="750" y="1908"/>
                  </a:cubicBezTo>
                  <a:cubicBezTo>
                    <a:pt x="749" y="1953"/>
                    <a:pt x="749" y="1953"/>
                    <a:pt x="749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1096" y="1953"/>
                    <a:pt x="1096" y="1953"/>
                    <a:pt x="1096" y="1953"/>
                  </a:cubicBezTo>
                  <a:cubicBezTo>
                    <a:pt x="1096" y="1931"/>
                    <a:pt x="1096" y="1931"/>
                    <a:pt x="1096" y="1931"/>
                  </a:cubicBezTo>
                  <a:cubicBezTo>
                    <a:pt x="976" y="1931"/>
                    <a:pt x="976" y="1931"/>
                    <a:pt x="976" y="1931"/>
                  </a:cubicBezTo>
                  <a:cubicBezTo>
                    <a:pt x="976" y="1924"/>
                    <a:pt x="976" y="1924"/>
                    <a:pt x="976" y="1924"/>
                  </a:cubicBezTo>
                  <a:cubicBezTo>
                    <a:pt x="1096" y="1924"/>
                    <a:pt x="1096" y="1924"/>
                    <a:pt x="1096" y="1924"/>
                  </a:cubicBezTo>
                  <a:cubicBezTo>
                    <a:pt x="1096" y="1906"/>
                    <a:pt x="1096" y="1906"/>
                    <a:pt x="1096" y="1906"/>
                  </a:cubicBezTo>
                  <a:cubicBezTo>
                    <a:pt x="971" y="1906"/>
                    <a:pt x="971" y="1906"/>
                    <a:pt x="971" y="1906"/>
                  </a:cubicBezTo>
                  <a:cubicBezTo>
                    <a:pt x="967" y="1902"/>
                    <a:pt x="963" y="1897"/>
                    <a:pt x="958" y="1893"/>
                  </a:cubicBezTo>
                  <a:cubicBezTo>
                    <a:pt x="1096" y="1893"/>
                    <a:pt x="1096" y="1893"/>
                    <a:pt x="1096" y="1893"/>
                  </a:cubicBezTo>
                  <a:cubicBezTo>
                    <a:pt x="1096" y="1872"/>
                    <a:pt x="1096" y="1872"/>
                    <a:pt x="1096" y="1872"/>
                  </a:cubicBezTo>
                  <a:cubicBezTo>
                    <a:pt x="953" y="1872"/>
                    <a:pt x="953" y="1872"/>
                    <a:pt x="953" y="1872"/>
                  </a:cubicBezTo>
                  <a:cubicBezTo>
                    <a:pt x="952" y="1866"/>
                    <a:pt x="952" y="1866"/>
                    <a:pt x="952" y="1866"/>
                  </a:cubicBezTo>
                  <a:cubicBezTo>
                    <a:pt x="1096" y="1866"/>
                    <a:pt x="1096" y="1866"/>
                    <a:pt x="1096" y="1866"/>
                  </a:cubicBezTo>
                  <a:cubicBezTo>
                    <a:pt x="1096" y="1845"/>
                    <a:pt x="1096" y="1845"/>
                    <a:pt x="1096" y="1845"/>
                  </a:cubicBezTo>
                  <a:cubicBezTo>
                    <a:pt x="952" y="1845"/>
                    <a:pt x="952" y="1845"/>
                    <a:pt x="952" y="1845"/>
                  </a:cubicBezTo>
                  <a:cubicBezTo>
                    <a:pt x="951" y="1838"/>
                    <a:pt x="951" y="1838"/>
                    <a:pt x="951" y="1838"/>
                  </a:cubicBezTo>
                  <a:cubicBezTo>
                    <a:pt x="1096" y="1838"/>
                    <a:pt x="1096" y="1838"/>
                    <a:pt x="1096" y="1838"/>
                  </a:cubicBezTo>
                  <a:cubicBezTo>
                    <a:pt x="1096" y="1803"/>
                    <a:pt x="1096" y="1803"/>
                    <a:pt x="1096" y="1803"/>
                  </a:cubicBezTo>
                  <a:cubicBezTo>
                    <a:pt x="1116" y="1803"/>
                    <a:pt x="1116" y="1803"/>
                    <a:pt x="1116" y="1803"/>
                  </a:cubicBezTo>
                  <a:cubicBezTo>
                    <a:pt x="1116" y="1811"/>
                    <a:pt x="1116" y="1811"/>
                    <a:pt x="1116" y="1811"/>
                  </a:cubicBezTo>
                  <a:cubicBezTo>
                    <a:pt x="1116" y="1815"/>
                    <a:pt x="1116" y="1815"/>
                    <a:pt x="1116" y="1815"/>
                  </a:cubicBezTo>
                  <a:cubicBezTo>
                    <a:pt x="1116" y="1817"/>
                    <a:pt x="1116" y="1817"/>
                    <a:pt x="1116" y="1817"/>
                  </a:cubicBezTo>
                  <a:cubicBezTo>
                    <a:pt x="1166" y="1817"/>
                    <a:pt x="1166" y="1817"/>
                    <a:pt x="1166" y="1817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3"/>
                    <a:pt x="1166" y="1803"/>
                    <a:pt x="1166" y="1803"/>
                  </a:cubicBezTo>
                  <a:cubicBezTo>
                    <a:pt x="1194" y="1803"/>
                    <a:pt x="1194" y="1803"/>
                    <a:pt x="1194" y="1803"/>
                  </a:cubicBezTo>
                  <a:cubicBezTo>
                    <a:pt x="1194" y="1817"/>
                    <a:pt x="1194" y="1817"/>
                    <a:pt x="1194" y="1817"/>
                  </a:cubicBezTo>
                  <a:cubicBezTo>
                    <a:pt x="1245" y="1817"/>
                    <a:pt x="1245" y="1817"/>
                    <a:pt x="1245" y="1817"/>
                  </a:cubicBezTo>
                  <a:cubicBezTo>
                    <a:pt x="1245" y="1803"/>
                    <a:pt x="1245" y="1803"/>
                    <a:pt x="1245" y="1803"/>
                  </a:cubicBezTo>
                  <a:cubicBezTo>
                    <a:pt x="1264" y="1803"/>
                    <a:pt x="1264" y="1803"/>
                    <a:pt x="1264" y="1803"/>
                  </a:cubicBezTo>
                  <a:cubicBezTo>
                    <a:pt x="1264" y="1812"/>
                    <a:pt x="1264" y="1812"/>
                    <a:pt x="1264" y="1812"/>
                  </a:cubicBezTo>
                  <a:close/>
                  <a:moveTo>
                    <a:pt x="1384" y="1937"/>
                  </a:moveTo>
                  <a:cubicBezTo>
                    <a:pt x="1270" y="1937"/>
                    <a:pt x="1270" y="1937"/>
                    <a:pt x="1270" y="1937"/>
                  </a:cubicBezTo>
                  <a:cubicBezTo>
                    <a:pt x="1270" y="1945"/>
                    <a:pt x="1270" y="1945"/>
                    <a:pt x="1270" y="1945"/>
                  </a:cubicBezTo>
                  <a:cubicBezTo>
                    <a:pt x="1384" y="1945"/>
                    <a:pt x="1384" y="1945"/>
                    <a:pt x="1384" y="1945"/>
                  </a:cubicBezTo>
                  <a:cubicBezTo>
                    <a:pt x="1384" y="1937"/>
                    <a:pt x="1384" y="1937"/>
                    <a:pt x="1384" y="1937"/>
                  </a:cubicBezTo>
                  <a:close/>
                  <a:moveTo>
                    <a:pt x="1384" y="1911"/>
                  </a:moveTo>
                  <a:cubicBezTo>
                    <a:pt x="1269" y="1911"/>
                    <a:pt x="1269" y="1911"/>
                    <a:pt x="1269" y="1911"/>
                  </a:cubicBezTo>
                  <a:cubicBezTo>
                    <a:pt x="1269" y="1918"/>
                    <a:pt x="1269" y="1918"/>
                    <a:pt x="1269" y="1918"/>
                  </a:cubicBezTo>
                  <a:cubicBezTo>
                    <a:pt x="1384" y="1918"/>
                    <a:pt x="1384" y="1918"/>
                    <a:pt x="1384" y="1918"/>
                  </a:cubicBezTo>
                  <a:cubicBezTo>
                    <a:pt x="1384" y="1911"/>
                    <a:pt x="1384" y="1911"/>
                    <a:pt x="1384" y="1911"/>
                  </a:cubicBezTo>
                  <a:close/>
                  <a:moveTo>
                    <a:pt x="1408" y="1878"/>
                  </a:moveTo>
                  <a:cubicBezTo>
                    <a:pt x="1270" y="1878"/>
                    <a:pt x="1270" y="1878"/>
                    <a:pt x="1270" y="1878"/>
                  </a:cubicBezTo>
                  <a:cubicBezTo>
                    <a:pt x="1270" y="1887"/>
                    <a:pt x="1270" y="1887"/>
                    <a:pt x="1270" y="1887"/>
                  </a:cubicBezTo>
                  <a:cubicBezTo>
                    <a:pt x="1407" y="1887"/>
                    <a:pt x="1407" y="1887"/>
                    <a:pt x="1407" y="1887"/>
                  </a:cubicBezTo>
                  <a:cubicBezTo>
                    <a:pt x="1408" y="1878"/>
                    <a:pt x="1408" y="1878"/>
                    <a:pt x="1408" y="1878"/>
                  </a:cubicBezTo>
                  <a:close/>
                  <a:moveTo>
                    <a:pt x="1409" y="1852"/>
                  </a:moveTo>
                  <a:cubicBezTo>
                    <a:pt x="1270" y="1852"/>
                    <a:pt x="1270" y="1852"/>
                    <a:pt x="1270" y="1852"/>
                  </a:cubicBezTo>
                  <a:cubicBezTo>
                    <a:pt x="1270" y="1860"/>
                    <a:pt x="1270" y="1860"/>
                    <a:pt x="1270" y="1860"/>
                  </a:cubicBezTo>
                  <a:cubicBezTo>
                    <a:pt x="1408" y="1860"/>
                    <a:pt x="1408" y="1860"/>
                    <a:pt x="1408" y="1860"/>
                  </a:cubicBezTo>
                  <a:cubicBezTo>
                    <a:pt x="1409" y="1852"/>
                    <a:pt x="1409" y="1852"/>
                    <a:pt x="1409" y="1852"/>
                  </a:cubicBezTo>
                  <a:close/>
                  <a:moveTo>
                    <a:pt x="1410" y="1824"/>
                  </a:moveTo>
                  <a:cubicBezTo>
                    <a:pt x="1270" y="1824"/>
                    <a:pt x="1270" y="1824"/>
                    <a:pt x="1270" y="1824"/>
                  </a:cubicBezTo>
                  <a:cubicBezTo>
                    <a:pt x="1270" y="1832"/>
                    <a:pt x="1270" y="1832"/>
                    <a:pt x="1270" y="1832"/>
                  </a:cubicBezTo>
                  <a:cubicBezTo>
                    <a:pt x="1409" y="1832"/>
                    <a:pt x="1409" y="1832"/>
                    <a:pt x="1409" y="1832"/>
                  </a:cubicBezTo>
                  <a:cubicBezTo>
                    <a:pt x="1410" y="1824"/>
                    <a:pt x="1410" y="1824"/>
                    <a:pt x="1410" y="1824"/>
                  </a:cubicBezTo>
                  <a:close/>
                  <a:moveTo>
                    <a:pt x="1605" y="1820"/>
                  </a:moveTo>
                  <a:cubicBezTo>
                    <a:pt x="1605" y="1829"/>
                    <a:pt x="1605" y="1829"/>
                    <a:pt x="1605" y="1829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415" y="1820"/>
                    <a:pt x="1415" y="1820"/>
                    <a:pt x="1415" y="1820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589" y="1835"/>
                  </a:moveTo>
                  <a:cubicBezTo>
                    <a:pt x="1415" y="1835"/>
                    <a:pt x="1415" y="1835"/>
                    <a:pt x="1415" y="1835"/>
                  </a:cubicBezTo>
                  <a:cubicBezTo>
                    <a:pt x="1415" y="1887"/>
                    <a:pt x="1415" y="1887"/>
                    <a:pt x="1415" y="1887"/>
                  </a:cubicBezTo>
                  <a:cubicBezTo>
                    <a:pt x="1589" y="1887"/>
                    <a:pt x="1589" y="1887"/>
                    <a:pt x="1589" y="1887"/>
                  </a:cubicBezTo>
                  <a:cubicBezTo>
                    <a:pt x="1589" y="1835"/>
                    <a:pt x="1589" y="1835"/>
                    <a:pt x="1589" y="1835"/>
                  </a:cubicBezTo>
                  <a:close/>
                  <a:moveTo>
                    <a:pt x="1578" y="1893"/>
                  </a:moveTo>
                  <a:cubicBezTo>
                    <a:pt x="1419" y="1893"/>
                    <a:pt x="1419" y="1893"/>
                    <a:pt x="1419" y="1893"/>
                  </a:cubicBezTo>
                  <a:cubicBezTo>
                    <a:pt x="1404" y="1898"/>
                    <a:pt x="1397" y="1907"/>
                    <a:pt x="1391" y="1917"/>
                  </a:cubicBezTo>
                  <a:cubicBezTo>
                    <a:pt x="1391" y="1944"/>
                    <a:pt x="1391" y="1944"/>
                    <a:pt x="1391" y="1944"/>
                  </a:cubicBezTo>
                  <a:cubicBezTo>
                    <a:pt x="1604" y="1944"/>
                    <a:pt x="1604" y="1944"/>
                    <a:pt x="1604" y="1944"/>
                  </a:cubicBezTo>
                  <a:cubicBezTo>
                    <a:pt x="1604" y="1913"/>
                    <a:pt x="1604" y="1913"/>
                    <a:pt x="1604" y="1913"/>
                  </a:cubicBezTo>
                  <a:cubicBezTo>
                    <a:pt x="1603" y="1900"/>
                    <a:pt x="1595" y="1894"/>
                    <a:pt x="1578" y="1893"/>
                  </a:cubicBezTo>
                  <a:close/>
                  <a:moveTo>
                    <a:pt x="1245" y="1850"/>
                  </a:moveTo>
                  <a:cubicBezTo>
                    <a:pt x="1194" y="1850"/>
                    <a:pt x="1194" y="1850"/>
                    <a:pt x="1194" y="1850"/>
                  </a:cubicBezTo>
                  <a:cubicBezTo>
                    <a:pt x="1194" y="1871"/>
                    <a:pt x="1194" y="1871"/>
                    <a:pt x="1194" y="1871"/>
                  </a:cubicBezTo>
                  <a:cubicBezTo>
                    <a:pt x="1245" y="1871"/>
                    <a:pt x="1245" y="1871"/>
                    <a:pt x="1245" y="1871"/>
                  </a:cubicBezTo>
                  <a:cubicBezTo>
                    <a:pt x="1245" y="1850"/>
                    <a:pt x="1245" y="1850"/>
                    <a:pt x="1245" y="1850"/>
                  </a:cubicBezTo>
                  <a:close/>
                  <a:moveTo>
                    <a:pt x="1239" y="1856"/>
                  </a:moveTo>
                  <a:cubicBezTo>
                    <a:pt x="1200" y="1856"/>
                    <a:pt x="1200" y="1856"/>
                    <a:pt x="1200" y="1856"/>
                  </a:cubicBezTo>
                  <a:cubicBezTo>
                    <a:pt x="1200" y="1864"/>
                    <a:pt x="1200" y="1864"/>
                    <a:pt x="1200" y="1864"/>
                  </a:cubicBezTo>
                  <a:cubicBezTo>
                    <a:pt x="1239" y="1864"/>
                    <a:pt x="1239" y="1864"/>
                    <a:pt x="1239" y="1864"/>
                  </a:cubicBezTo>
                  <a:cubicBezTo>
                    <a:pt x="1239" y="1856"/>
                    <a:pt x="1239" y="1856"/>
                    <a:pt x="1239" y="1856"/>
                  </a:cubicBezTo>
                  <a:close/>
                  <a:moveTo>
                    <a:pt x="1245" y="1876"/>
                  </a:moveTo>
                  <a:cubicBezTo>
                    <a:pt x="1194" y="1876"/>
                    <a:pt x="1194" y="1876"/>
                    <a:pt x="1194" y="1876"/>
                  </a:cubicBezTo>
                  <a:cubicBezTo>
                    <a:pt x="1194" y="1897"/>
                    <a:pt x="1194" y="1897"/>
                    <a:pt x="1194" y="1897"/>
                  </a:cubicBezTo>
                  <a:cubicBezTo>
                    <a:pt x="1245" y="1897"/>
                    <a:pt x="1245" y="1897"/>
                    <a:pt x="1245" y="1897"/>
                  </a:cubicBezTo>
                  <a:cubicBezTo>
                    <a:pt x="1245" y="1876"/>
                    <a:pt x="1245" y="1876"/>
                    <a:pt x="1245" y="1876"/>
                  </a:cubicBezTo>
                  <a:close/>
                  <a:moveTo>
                    <a:pt x="1239" y="1881"/>
                  </a:moveTo>
                  <a:cubicBezTo>
                    <a:pt x="1200" y="1881"/>
                    <a:pt x="1200" y="1881"/>
                    <a:pt x="1200" y="1881"/>
                  </a:cubicBezTo>
                  <a:cubicBezTo>
                    <a:pt x="1200" y="1890"/>
                    <a:pt x="1200" y="1890"/>
                    <a:pt x="1200" y="1890"/>
                  </a:cubicBezTo>
                  <a:cubicBezTo>
                    <a:pt x="1239" y="1890"/>
                    <a:pt x="1239" y="1890"/>
                    <a:pt x="1239" y="1890"/>
                  </a:cubicBezTo>
                  <a:cubicBezTo>
                    <a:pt x="1239" y="1881"/>
                    <a:pt x="1239" y="1881"/>
                    <a:pt x="1239" y="1881"/>
                  </a:cubicBezTo>
                  <a:close/>
                  <a:moveTo>
                    <a:pt x="1245" y="1823"/>
                  </a:moveTo>
                  <a:cubicBezTo>
                    <a:pt x="1194" y="1823"/>
                    <a:pt x="1194" y="1823"/>
                    <a:pt x="1194" y="1823"/>
                  </a:cubicBezTo>
                  <a:cubicBezTo>
                    <a:pt x="1194" y="1844"/>
                    <a:pt x="1194" y="1844"/>
                    <a:pt x="1194" y="1844"/>
                  </a:cubicBezTo>
                  <a:cubicBezTo>
                    <a:pt x="1245" y="1844"/>
                    <a:pt x="1245" y="1844"/>
                    <a:pt x="1245" y="1844"/>
                  </a:cubicBezTo>
                  <a:cubicBezTo>
                    <a:pt x="1245" y="1823"/>
                    <a:pt x="1245" y="1823"/>
                    <a:pt x="1245" y="1823"/>
                  </a:cubicBezTo>
                  <a:close/>
                  <a:moveTo>
                    <a:pt x="1239" y="1828"/>
                  </a:moveTo>
                  <a:cubicBezTo>
                    <a:pt x="1200" y="1828"/>
                    <a:pt x="1200" y="1828"/>
                    <a:pt x="1200" y="1828"/>
                  </a:cubicBezTo>
                  <a:cubicBezTo>
                    <a:pt x="1200" y="1837"/>
                    <a:pt x="1200" y="1837"/>
                    <a:pt x="1200" y="1837"/>
                  </a:cubicBezTo>
                  <a:cubicBezTo>
                    <a:pt x="1239" y="1837"/>
                    <a:pt x="1239" y="1837"/>
                    <a:pt x="1239" y="1837"/>
                  </a:cubicBezTo>
                  <a:cubicBezTo>
                    <a:pt x="1239" y="1828"/>
                    <a:pt x="1239" y="1828"/>
                    <a:pt x="1239" y="1828"/>
                  </a:cubicBezTo>
                  <a:close/>
                  <a:moveTo>
                    <a:pt x="1245" y="1796"/>
                  </a:moveTo>
                  <a:cubicBezTo>
                    <a:pt x="1194" y="1796"/>
                    <a:pt x="1194" y="1796"/>
                    <a:pt x="1194" y="1796"/>
                  </a:cubicBezTo>
                  <a:cubicBezTo>
                    <a:pt x="1194" y="1796"/>
                    <a:pt x="1194" y="1796"/>
                    <a:pt x="1194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98" y="1796"/>
                    <a:pt x="1098" y="1796"/>
                    <a:pt x="1098" y="1796"/>
                  </a:cubicBezTo>
                  <a:cubicBezTo>
                    <a:pt x="1098" y="1589"/>
                    <a:pt x="1098" y="1589"/>
                    <a:pt x="1098" y="1589"/>
                  </a:cubicBezTo>
                  <a:cubicBezTo>
                    <a:pt x="1134" y="1560"/>
                    <a:pt x="1150" y="1555"/>
                    <a:pt x="1182" y="1555"/>
                  </a:cubicBezTo>
                  <a:cubicBezTo>
                    <a:pt x="1222" y="1555"/>
                    <a:pt x="1235" y="1564"/>
                    <a:pt x="1268" y="1596"/>
                  </a:cubicBezTo>
                  <a:cubicBezTo>
                    <a:pt x="1268" y="1796"/>
                    <a:pt x="1268" y="1796"/>
                    <a:pt x="1268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194" y="1796"/>
                  </a:moveTo>
                  <a:cubicBezTo>
                    <a:pt x="1194" y="1797"/>
                    <a:pt x="1194" y="1797"/>
                    <a:pt x="1194" y="1797"/>
                  </a:cubicBezTo>
                  <a:cubicBezTo>
                    <a:pt x="1166" y="1797"/>
                    <a:pt x="1166" y="1797"/>
                    <a:pt x="1166" y="1797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94" y="1796"/>
                    <a:pt x="1194" y="1796"/>
                    <a:pt x="1194" y="1796"/>
                  </a:cubicBezTo>
                  <a:close/>
                  <a:moveTo>
                    <a:pt x="1245" y="1796"/>
                  </a:moveTo>
                  <a:cubicBezTo>
                    <a:pt x="1268" y="1796"/>
                    <a:pt x="1268" y="1796"/>
                    <a:pt x="1268" y="1796"/>
                  </a:cubicBezTo>
                  <a:cubicBezTo>
                    <a:pt x="1274" y="1796"/>
                    <a:pt x="1274" y="1796"/>
                    <a:pt x="1274" y="1796"/>
                  </a:cubicBezTo>
                  <a:cubicBezTo>
                    <a:pt x="1274" y="1592"/>
                    <a:pt x="1274" y="1592"/>
                    <a:pt x="1274" y="1592"/>
                  </a:cubicBezTo>
                  <a:cubicBezTo>
                    <a:pt x="1242" y="1561"/>
                    <a:pt x="1225" y="1547"/>
                    <a:pt x="1183" y="1548"/>
                  </a:cubicBezTo>
                  <a:cubicBezTo>
                    <a:pt x="1144" y="1548"/>
                    <a:pt x="1123" y="1557"/>
                    <a:pt x="1092" y="1586"/>
                  </a:cubicBezTo>
                  <a:cubicBezTo>
                    <a:pt x="1092" y="1797"/>
                    <a:pt x="1092" y="1797"/>
                    <a:pt x="1092" y="1797"/>
                  </a:cubicBezTo>
                  <a:cubicBezTo>
                    <a:pt x="1116" y="1797"/>
                    <a:pt x="1116" y="1797"/>
                    <a:pt x="1116" y="1797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73" y="1796"/>
                    <a:pt x="1073" y="1796"/>
                    <a:pt x="1073" y="1796"/>
                  </a:cubicBezTo>
                  <a:cubicBezTo>
                    <a:pt x="1073" y="1584"/>
                    <a:pt x="1073" y="1584"/>
                    <a:pt x="1073" y="1584"/>
                  </a:cubicBezTo>
                  <a:cubicBezTo>
                    <a:pt x="1104" y="1551"/>
                    <a:pt x="1141" y="1525"/>
                    <a:pt x="1188" y="1524"/>
                  </a:cubicBezTo>
                  <a:cubicBezTo>
                    <a:pt x="1228" y="1526"/>
                    <a:pt x="1262" y="1553"/>
                    <a:pt x="1292" y="1587"/>
                  </a:cubicBezTo>
                  <a:cubicBezTo>
                    <a:pt x="1292" y="1796"/>
                    <a:pt x="1292" y="1796"/>
                    <a:pt x="1292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200" y="1803"/>
                  </a:moveTo>
                  <a:cubicBezTo>
                    <a:pt x="1200" y="1810"/>
                    <a:pt x="1200" y="1810"/>
                    <a:pt x="1200" y="1810"/>
                  </a:cubicBezTo>
                  <a:cubicBezTo>
                    <a:pt x="1239" y="1810"/>
                    <a:pt x="1239" y="1810"/>
                    <a:pt x="1239" y="1810"/>
                  </a:cubicBezTo>
                  <a:cubicBezTo>
                    <a:pt x="1239" y="1803"/>
                    <a:pt x="1239" y="1803"/>
                    <a:pt x="1239" y="1803"/>
                  </a:cubicBezTo>
                  <a:cubicBezTo>
                    <a:pt x="1200" y="1803"/>
                    <a:pt x="1200" y="1803"/>
                    <a:pt x="1200" y="1803"/>
                  </a:cubicBezTo>
                  <a:close/>
                  <a:moveTo>
                    <a:pt x="1270" y="1803"/>
                  </a:moveTo>
                  <a:cubicBezTo>
                    <a:pt x="1270" y="1811"/>
                    <a:pt x="1270" y="1811"/>
                    <a:pt x="1270" y="1811"/>
                  </a:cubicBezTo>
                  <a:cubicBezTo>
                    <a:pt x="1519" y="1811"/>
                    <a:pt x="1519" y="1811"/>
                    <a:pt x="1519" y="1811"/>
                  </a:cubicBezTo>
                  <a:cubicBezTo>
                    <a:pt x="1519" y="1803"/>
                    <a:pt x="1519" y="1803"/>
                    <a:pt x="1519" y="1803"/>
                  </a:cubicBezTo>
                  <a:cubicBezTo>
                    <a:pt x="1436" y="1803"/>
                    <a:pt x="1353" y="1803"/>
                    <a:pt x="1270" y="1803"/>
                  </a:cubicBezTo>
                  <a:close/>
                  <a:moveTo>
                    <a:pt x="1090" y="1811"/>
                  </a:moveTo>
                  <a:cubicBezTo>
                    <a:pt x="1090" y="1803"/>
                    <a:pt x="1090" y="1803"/>
                    <a:pt x="1090" y="1803"/>
                  </a:cubicBezTo>
                  <a:cubicBezTo>
                    <a:pt x="1067" y="1803"/>
                    <a:pt x="1067" y="1803"/>
                    <a:pt x="1067" y="1803"/>
                  </a:cubicBezTo>
                  <a:cubicBezTo>
                    <a:pt x="1053" y="1803"/>
                    <a:pt x="1053" y="1803"/>
                    <a:pt x="1053" y="1803"/>
                  </a:cubicBezTo>
                  <a:cubicBezTo>
                    <a:pt x="843" y="1803"/>
                    <a:pt x="843" y="1803"/>
                    <a:pt x="843" y="1803"/>
                  </a:cubicBezTo>
                  <a:cubicBezTo>
                    <a:pt x="843" y="1811"/>
                    <a:pt x="843" y="1811"/>
                    <a:pt x="843" y="1811"/>
                  </a:cubicBezTo>
                  <a:cubicBezTo>
                    <a:pt x="1090" y="1811"/>
                    <a:pt x="1090" y="1811"/>
                    <a:pt x="1090" y="1811"/>
                  </a:cubicBezTo>
                  <a:close/>
                  <a:moveTo>
                    <a:pt x="1174" y="0"/>
                  </a:moveTo>
                  <a:cubicBezTo>
                    <a:pt x="1820" y="0"/>
                    <a:pt x="2348" y="531"/>
                    <a:pt x="2348" y="1182"/>
                  </a:cubicBezTo>
                  <a:cubicBezTo>
                    <a:pt x="2348" y="1834"/>
                    <a:pt x="1820" y="2365"/>
                    <a:pt x="1174" y="2365"/>
                  </a:cubicBezTo>
                  <a:cubicBezTo>
                    <a:pt x="527" y="2365"/>
                    <a:pt x="0" y="1834"/>
                    <a:pt x="0" y="1182"/>
                  </a:cubicBezTo>
                  <a:cubicBezTo>
                    <a:pt x="0" y="531"/>
                    <a:pt x="527" y="0"/>
                    <a:pt x="1174" y="0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268" y="1811"/>
                  </a:moveTo>
                  <a:cubicBezTo>
                    <a:pt x="391" y="1811"/>
                    <a:pt x="391" y="1811"/>
                    <a:pt x="391" y="1811"/>
                  </a:cubicBezTo>
                  <a:cubicBezTo>
                    <a:pt x="391" y="1767"/>
                    <a:pt x="391" y="1767"/>
                    <a:pt x="391" y="1767"/>
                  </a:cubicBezTo>
                  <a:cubicBezTo>
                    <a:pt x="242" y="1767"/>
                    <a:pt x="242" y="1767"/>
                    <a:pt x="242" y="1767"/>
                  </a:cubicBezTo>
                  <a:cubicBezTo>
                    <a:pt x="268" y="1811"/>
                    <a:pt x="268" y="1811"/>
                    <a:pt x="268" y="1811"/>
                  </a:cubicBezTo>
                  <a:close/>
                  <a:moveTo>
                    <a:pt x="394" y="1811"/>
                  </a:moveTo>
                  <a:cubicBezTo>
                    <a:pt x="402" y="1811"/>
                    <a:pt x="402" y="1811"/>
                    <a:pt x="402" y="1811"/>
                  </a:cubicBezTo>
                  <a:cubicBezTo>
                    <a:pt x="402" y="1687"/>
                    <a:pt x="402" y="1687"/>
                    <a:pt x="402" y="1687"/>
                  </a:cubicBezTo>
                  <a:cubicBezTo>
                    <a:pt x="394" y="1687"/>
                    <a:pt x="394" y="1687"/>
                    <a:pt x="394" y="1687"/>
                  </a:cubicBezTo>
                  <a:cubicBezTo>
                    <a:pt x="394" y="1811"/>
                    <a:pt x="394" y="1811"/>
                    <a:pt x="394" y="1811"/>
                  </a:cubicBezTo>
                  <a:close/>
                  <a:moveTo>
                    <a:pt x="407" y="1811"/>
                  </a:moveTo>
                  <a:cubicBezTo>
                    <a:pt x="415" y="1811"/>
                    <a:pt x="415" y="1811"/>
                    <a:pt x="415" y="1811"/>
                  </a:cubicBezTo>
                  <a:cubicBezTo>
                    <a:pt x="415" y="1687"/>
                    <a:pt x="415" y="1687"/>
                    <a:pt x="415" y="1687"/>
                  </a:cubicBezTo>
                  <a:cubicBezTo>
                    <a:pt x="407" y="1687"/>
                    <a:pt x="407" y="1687"/>
                    <a:pt x="407" y="1687"/>
                  </a:cubicBezTo>
                  <a:cubicBezTo>
                    <a:pt x="407" y="1811"/>
                    <a:pt x="407" y="1811"/>
                    <a:pt x="407" y="1811"/>
                  </a:cubicBezTo>
                  <a:close/>
                  <a:moveTo>
                    <a:pt x="420" y="1811"/>
                  </a:moveTo>
                  <a:cubicBezTo>
                    <a:pt x="428" y="1811"/>
                    <a:pt x="428" y="1811"/>
                    <a:pt x="428" y="1811"/>
                  </a:cubicBezTo>
                  <a:cubicBezTo>
                    <a:pt x="428" y="1687"/>
                    <a:pt x="428" y="1687"/>
                    <a:pt x="428" y="1687"/>
                  </a:cubicBezTo>
                  <a:cubicBezTo>
                    <a:pt x="420" y="1687"/>
                    <a:pt x="420" y="1687"/>
                    <a:pt x="420" y="1687"/>
                  </a:cubicBezTo>
                  <a:cubicBezTo>
                    <a:pt x="420" y="1811"/>
                    <a:pt x="420" y="1811"/>
                    <a:pt x="420" y="1811"/>
                  </a:cubicBezTo>
                  <a:close/>
                  <a:moveTo>
                    <a:pt x="433" y="1811"/>
                  </a:moveTo>
                  <a:cubicBezTo>
                    <a:pt x="441" y="1811"/>
                    <a:pt x="441" y="1811"/>
                    <a:pt x="441" y="1811"/>
                  </a:cubicBezTo>
                  <a:cubicBezTo>
                    <a:pt x="441" y="1687"/>
                    <a:pt x="441" y="1687"/>
                    <a:pt x="441" y="1687"/>
                  </a:cubicBezTo>
                  <a:cubicBezTo>
                    <a:pt x="433" y="1687"/>
                    <a:pt x="433" y="1687"/>
                    <a:pt x="433" y="1687"/>
                  </a:cubicBezTo>
                  <a:cubicBezTo>
                    <a:pt x="433" y="1811"/>
                    <a:pt x="433" y="1811"/>
                    <a:pt x="433" y="1811"/>
                  </a:cubicBezTo>
                  <a:close/>
                  <a:moveTo>
                    <a:pt x="446" y="1811"/>
                  </a:moveTo>
                  <a:cubicBezTo>
                    <a:pt x="454" y="1811"/>
                    <a:pt x="454" y="1811"/>
                    <a:pt x="454" y="1811"/>
                  </a:cubicBezTo>
                  <a:cubicBezTo>
                    <a:pt x="454" y="1687"/>
                    <a:pt x="454" y="1687"/>
                    <a:pt x="454" y="1687"/>
                  </a:cubicBezTo>
                  <a:cubicBezTo>
                    <a:pt x="446" y="1687"/>
                    <a:pt x="446" y="1687"/>
                    <a:pt x="446" y="1687"/>
                  </a:cubicBezTo>
                  <a:cubicBezTo>
                    <a:pt x="446" y="1811"/>
                    <a:pt x="446" y="1811"/>
                    <a:pt x="446" y="1811"/>
                  </a:cubicBezTo>
                  <a:close/>
                  <a:moveTo>
                    <a:pt x="459" y="1811"/>
                  </a:moveTo>
                  <a:cubicBezTo>
                    <a:pt x="466" y="1811"/>
                    <a:pt x="466" y="1811"/>
                    <a:pt x="466" y="1811"/>
                  </a:cubicBezTo>
                  <a:cubicBezTo>
                    <a:pt x="466" y="1687"/>
                    <a:pt x="466" y="1687"/>
                    <a:pt x="466" y="1687"/>
                  </a:cubicBezTo>
                  <a:cubicBezTo>
                    <a:pt x="459" y="1687"/>
                    <a:pt x="459" y="1687"/>
                    <a:pt x="459" y="1687"/>
                  </a:cubicBezTo>
                  <a:cubicBezTo>
                    <a:pt x="459" y="1811"/>
                    <a:pt x="459" y="1811"/>
                    <a:pt x="459" y="1811"/>
                  </a:cubicBezTo>
                  <a:close/>
                  <a:moveTo>
                    <a:pt x="472" y="1811"/>
                  </a:moveTo>
                  <a:cubicBezTo>
                    <a:pt x="479" y="1811"/>
                    <a:pt x="479" y="1811"/>
                    <a:pt x="479" y="1811"/>
                  </a:cubicBezTo>
                  <a:cubicBezTo>
                    <a:pt x="479" y="1687"/>
                    <a:pt x="479" y="1687"/>
                    <a:pt x="479" y="1687"/>
                  </a:cubicBezTo>
                  <a:cubicBezTo>
                    <a:pt x="472" y="1687"/>
                    <a:pt x="472" y="1687"/>
                    <a:pt x="472" y="1687"/>
                  </a:cubicBezTo>
                  <a:cubicBezTo>
                    <a:pt x="472" y="1811"/>
                    <a:pt x="472" y="1811"/>
                    <a:pt x="472" y="1811"/>
                  </a:cubicBezTo>
                  <a:close/>
                  <a:moveTo>
                    <a:pt x="485" y="1811"/>
                  </a:moveTo>
                  <a:cubicBezTo>
                    <a:pt x="492" y="1811"/>
                    <a:pt x="492" y="1811"/>
                    <a:pt x="492" y="1811"/>
                  </a:cubicBezTo>
                  <a:cubicBezTo>
                    <a:pt x="492" y="1687"/>
                    <a:pt x="492" y="1687"/>
                    <a:pt x="492" y="1687"/>
                  </a:cubicBezTo>
                  <a:cubicBezTo>
                    <a:pt x="485" y="1687"/>
                    <a:pt x="485" y="1687"/>
                    <a:pt x="485" y="1687"/>
                  </a:cubicBezTo>
                  <a:cubicBezTo>
                    <a:pt x="485" y="1811"/>
                    <a:pt x="485" y="1811"/>
                    <a:pt x="485" y="1811"/>
                  </a:cubicBezTo>
                  <a:close/>
                  <a:moveTo>
                    <a:pt x="498" y="1811"/>
                  </a:moveTo>
                  <a:cubicBezTo>
                    <a:pt x="505" y="1811"/>
                    <a:pt x="505" y="1811"/>
                    <a:pt x="505" y="1811"/>
                  </a:cubicBezTo>
                  <a:cubicBezTo>
                    <a:pt x="505" y="1687"/>
                    <a:pt x="505" y="1687"/>
                    <a:pt x="505" y="1687"/>
                  </a:cubicBezTo>
                  <a:cubicBezTo>
                    <a:pt x="498" y="1687"/>
                    <a:pt x="498" y="1687"/>
                    <a:pt x="498" y="1687"/>
                  </a:cubicBezTo>
                  <a:cubicBezTo>
                    <a:pt x="498" y="1811"/>
                    <a:pt x="498" y="1811"/>
                    <a:pt x="498" y="1811"/>
                  </a:cubicBezTo>
                  <a:close/>
                  <a:moveTo>
                    <a:pt x="510" y="1811"/>
                  </a:moveTo>
                  <a:cubicBezTo>
                    <a:pt x="518" y="1811"/>
                    <a:pt x="518" y="1811"/>
                    <a:pt x="518" y="1811"/>
                  </a:cubicBezTo>
                  <a:cubicBezTo>
                    <a:pt x="518" y="1687"/>
                    <a:pt x="518" y="1687"/>
                    <a:pt x="518" y="1687"/>
                  </a:cubicBezTo>
                  <a:cubicBezTo>
                    <a:pt x="510" y="1687"/>
                    <a:pt x="510" y="1687"/>
                    <a:pt x="510" y="1687"/>
                  </a:cubicBezTo>
                  <a:cubicBezTo>
                    <a:pt x="510" y="1811"/>
                    <a:pt x="510" y="1811"/>
                    <a:pt x="510" y="1811"/>
                  </a:cubicBezTo>
                  <a:close/>
                  <a:moveTo>
                    <a:pt x="523" y="1811"/>
                  </a:moveTo>
                  <a:cubicBezTo>
                    <a:pt x="531" y="1811"/>
                    <a:pt x="531" y="1811"/>
                    <a:pt x="531" y="1811"/>
                  </a:cubicBezTo>
                  <a:cubicBezTo>
                    <a:pt x="531" y="1766"/>
                    <a:pt x="531" y="1766"/>
                    <a:pt x="531" y="1766"/>
                  </a:cubicBezTo>
                  <a:cubicBezTo>
                    <a:pt x="523" y="1766"/>
                    <a:pt x="523" y="1766"/>
                    <a:pt x="523" y="1766"/>
                  </a:cubicBezTo>
                  <a:cubicBezTo>
                    <a:pt x="523" y="1811"/>
                    <a:pt x="523" y="1811"/>
                    <a:pt x="523" y="1811"/>
                  </a:cubicBezTo>
                  <a:close/>
                  <a:moveTo>
                    <a:pt x="536" y="1811"/>
                  </a:moveTo>
                  <a:cubicBezTo>
                    <a:pt x="544" y="1811"/>
                    <a:pt x="544" y="1811"/>
                    <a:pt x="544" y="1811"/>
                  </a:cubicBezTo>
                  <a:cubicBezTo>
                    <a:pt x="544" y="1766"/>
                    <a:pt x="544" y="1766"/>
                    <a:pt x="544" y="1766"/>
                  </a:cubicBezTo>
                  <a:cubicBezTo>
                    <a:pt x="536" y="1766"/>
                    <a:pt x="536" y="1766"/>
                    <a:pt x="536" y="1766"/>
                  </a:cubicBezTo>
                  <a:cubicBezTo>
                    <a:pt x="536" y="1811"/>
                    <a:pt x="536" y="1811"/>
                    <a:pt x="536" y="1811"/>
                  </a:cubicBezTo>
                  <a:close/>
                  <a:moveTo>
                    <a:pt x="549" y="1811"/>
                  </a:moveTo>
                  <a:cubicBezTo>
                    <a:pt x="557" y="1811"/>
                    <a:pt x="557" y="1811"/>
                    <a:pt x="557" y="1811"/>
                  </a:cubicBezTo>
                  <a:cubicBezTo>
                    <a:pt x="557" y="1766"/>
                    <a:pt x="557" y="1766"/>
                    <a:pt x="557" y="1766"/>
                  </a:cubicBezTo>
                  <a:cubicBezTo>
                    <a:pt x="549" y="1766"/>
                    <a:pt x="549" y="1766"/>
                    <a:pt x="549" y="1766"/>
                  </a:cubicBezTo>
                  <a:cubicBezTo>
                    <a:pt x="549" y="1811"/>
                    <a:pt x="549" y="1811"/>
                    <a:pt x="549" y="1811"/>
                  </a:cubicBezTo>
                  <a:close/>
                  <a:moveTo>
                    <a:pt x="562" y="1811"/>
                  </a:moveTo>
                  <a:cubicBezTo>
                    <a:pt x="570" y="1811"/>
                    <a:pt x="570" y="1811"/>
                    <a:pt x="570" y="1811"/>
                  </a:cubicBezTo>
                  <a:cubicBezTo>
                    <a:pt x="570" y="1766"/>
                    <a:pt x="570" y="1766"/>
                    <a:pt x="570" y="1766"/>
                  </a:cubicBezTo>
                  <a:cubicBezTo>
                    <a:pt x="562" y="1766"/>
                    <a:pt x="562" y="1766"/>
                    <a:pt x="562" y="1766"/>
                  </a:cubicBezTo>
                  <a:cubicBezTo>
                    <a:pt x="562" y="1811"/>
                    <a:pt x="562" y="1811"/>
                    <a:pt x="562" y="1811"/>
                  </a:cubicBezTo>
                  <a:close/>
                  <a:moveTo>
                    <a:pt x="575" y="1811"/>
                  </a:moveTo>
                  <a:cubicBezTo>
                    <a:pt x="582" y="1811"/>
                    <a:pt x="582" y="1811"/>
                    <a:pt x="582" y="1811"/>
                  </a:cubicBezTo>
                  <a:cubicBezTo>
                    <a:pt x="582" y="1766"/>
                    <a:pt x="582" y="1766"/>
                    <a:pt x="582" y="1766"/>
                  </a:cubicBezTo>
                  <a:cubicBezTo>
                    <a:pt x="575" y="1766"/>
                    <a:pt x="575" y="1766"/>
                    <a:pt x="575" y="1766"/>
                  </a:cubicBezTo>
                  <a:cubicBezTo>
                    <a:pt x="575" y="1811"/>
                    <a:pt x="575" y="1811"/>
                    <a:pt x="575" y="1811"/>
                  </a:cubicBezTo>
                  <a:close/>
                  <a:moveTo>
                    <a:pt x="588" y="1811"/>
                  </a:moveTo>
                  <a:cubicBezTo>
                    <a:pt x="595" y="1811"/>
                    <a:pt x="595" y="1811"/>
                    <a:pt x="595" y="1811"/>
                  </a:cubicBezTo>
                  <a:cubicBezTo>
                    <a:pt x="595" y="1766"/>
                    <a:pt x="595" y="1766"/>
                    <a:pt x="595" y="1766"/>
                  </a:cubicBezTo>
                  <a:cubicBezTo>
                    <a:pt x="588" y="1766"/>
                    <a:pt x="588" y="1766"/>
                    <a:pt x="588" y="1766"/>
                  </a:cubicBezTo>
                  <a:cubicBezTo>
                    <a:pt x="588" y="1811"/>
                    <a:pt x="588" y="1811"/>
                    <a:pt x="588" y="1811"/>
                  </a:cubicBezTo>
                  <a:close/>
                  <a:moveTo>
                    <a:pt x="601" y="1811"/>
                  </a:moveTo>
                  <a:cubicBezTo>
                    <a:pt x="608" y="1811"/>
                    <a:pt x="608" y="1811"/>
                    <a:pt x="608" y="1811"/>
                  </a:cubicBezTo>
                  <a:cubicBezTo>
                    <a:pt x="608" y="1766"/>
                    <a:pt x="608" y="1766"/>
                    <a:pt x="608" y="1766"/>
                  </a:cubicBezTo>
                  <a:cubicBezTo>
                    <a:pt x="601" y="1766"/>
                    <a:pt x="601" y="1766"/>
                    <a:pt x="601" y="1766"/>
                  </a:cubicBezTo>
                  <a:cubicBezTo>
                    <a:pt x="601" y="1811"/>
                    <a:pt x="601" y="1811"/>
                    <a:pt x="601" y="1811"/>
                  </a:cubicBezTo>
                  <a:close/>
                  <a:moveTo>
                    <a:pt x="614" y="1811"/>
                  </a:moveTo>
                  <a:cubicBezTo>
                    <a:pt x="621" y="1811"/>
                    <a:pt x="621" y="1811"/>
                    <a:pt x="621" y="1811"/>
                  </a:cubicBezTo>
                  <a:cubicBezTo>
                    <a:pt x="621" y="1766"/>
                    <a:pt x="621" y="1766"/>
                    <a:pt x="621" y="1766"/>
                  </a:cubicBezTo>
                  <a:cubicBezTo>
                    <a:pt x="614" y="1766"/>
                    <a:pt x="614" y="1766"/>
                    <a:pt x="614" y="1766"/>
                  </a:cubicBezTo>
                  <a:cubicBezTo>
                    <a:pt x="614" y="1811"/>
                    <a:pt x="614" y="1811"/>
                    <a:pt x="614" y="1811"/>
                  </a:cubicBezTo>
                  <a:close/>
                  <a:moveTo>
                    <a:pt x="626" y="1811"/>
                  </a:moveTo>
                  <a:cubicBezTo>
                    <a:pt x="634" y="1811"/>
                    <a:pt x="634" y="1811"/>
                    <a:pt x="634" y="1811"/>
                  </a:cubicBezTo>
                  <a:cubicBezTo>
                    <a:pt x="634" y="1766"/>
                    <a:pt x="634" y="1766"/>
                    <a:pt x="634" y="1766"/>
                  </a:cubicBezTo>
                  <a:cubicBezTo>
                    <a:pt x="626" y="1766"/>
                    <a:pt x="626" y="1766"/>
                    <a:pt x="626" y="1766"/>
                  </a:cubicBezTo>
                  <a:cubicBezTo>
                    <a:pt x="626" y="1811"/>
                    <a:pt x="626" y="1811"/>
                    <a:pt x="626" y="1811"/>
                  </a:cubicBezTo>
                  <a:close/>
                  <a:moveTo>
                    <a:pt x="639" y="1811"/>
                  </a:moveTo>
                  <a:cubicBezTo>
                    <a:pt x="647" y="1811"/>
                    <a:pt x="647" y="1811"/>
                    <a:pt x="647" y="1811"/>
                  </a:cubicBezTo>
                  <a:cubicBezTo>
                    <a:pt x="647" y="1766"/>
                    <a:pt x="647" y="1766"/>
                    <a:pt x="647" y="1766"/>
                  </a:cubicBezTo>
                  <a:cubicBezTo>
                    <a:pt x="639" y="1766"/>
                    <a:pt x="639" y="1766"/>
                    <a:pt x="639" y="1766"/>
                  </a:cubicBezTo>
                  <a:cubicBezTo>
                    <a:pt x="639" y="1811"/>
                    <a:pt x="639" y="1811"/>
                    <a:pt x="639" y="1811"/>
                  </a:cubicBezTo>
                  <a:close/>
                  <a:moveTo>
                    <a:pt x="652" y="1811"/>
                  </a:moveTo>
                  <a:cubicBezTo>
                    <a:pt x="660" y="1811"/>
                    <a:pt x="660" y="1811"/>
                    <a:pt x="660" y="1811"/>
                  </a:cubicBezTo>
                  <a:cubicBezTo>
                    <a:pt x="660" y="1766"/>
                    <a:pt x="660" y="1766"/>
                    <a:pt x="660" y="1766"/>
                  </a:cubicBezTo>
                  <a:cubicBezTo>
                    <a:pt x="652" y="1766"/>
                    <a:pt x="652" y="1766"/>
                    <a:pt x="652" y="1766"/>
                  </a:cubicBezTo>
                  <a:cubicBezTo>
                    <a:pt x="652" y="1811"/>
                    <a:pt x="652" y="1811"/>
                    <a:pt x="652" y="1811"/>
                  </a:cubicBezTo>
                  <a:close/>
                  <a:moveTo>
                    <a:pt x="665" y="1811"/>
                  </a:moveTo>
                  <a:cubicBezTo>
                    <a:pt x="673" y="1811"/>
                    <a:pt x="673" y="1811"/>
                    <a:pt x="673" y="1811"/>
                  </a:cubicBezTo>
                  <a:cubicBezTo>
                    <a:pt x="673" y="1766"/>
                    <a:pt x="673" y="1766"/>
                    <a:pt x="673" y="1766"/>
                  </a:cubicBezTo>
                  <a:cubicBezTo>
                    <a:pt x="665" y="1766"/>
                    <a:pt x="665" y="1766"/>
                    <a:pt x="665" y="1766"/>
                  </a:cubicBezTo>
                  <a:cubicBezTo>
                    <a:pt x="665" y="1811"/>
                    <a:pt x="665" y="1811"/>
                    <a:pt x="665" y="1811"/>
                  </a:cubicBezTo>
                  <a:close/>
                  <a:moveTo>
                    <a:pt x="678" y="1811"/>
                  </a:moveTo>
                  <a:cubicBezTo>
                    <a:pt x="685" y="1811"/>
                    <a:pt x="685" y="1811"/>
                    <a:pt x="685" y="1811"/>
                  </a:cubicBezTo>
                  <a:cubicBezTo>
                    <a:pt x="685" y="1766"/>
                    <a:pt x="685" y="1766"/>
                    <a:pt x="685" y="1766"/>
                  </a:cubicBezTo>
                  <a:cubicBezTo>
                    <a:pt x="678" y="1766"/>
                    <a:pt x="678" y="1766"/>
                    <a:pt x="678" y="1766"/>
                  </a:cubicBezTo>
                  <a:cubicBezTo>
                    <a:pt x="678" y="1811"/>
                    <a:pt x="678" y="1811"/>
                    <a:pt x="678" y="1811"/>
                  </a:cubicBezTo>
                  <a:close/>
                  <a:moveTo>
                    <a:pt x="691" y="1811"/>
                  </a:moveTo>
                  <a:cubicBezTo>
                    <a:pt x="698" y="1811"/>
                    <a:pt x="698" y="1811"/>
                    <a:pt x="698" y="1811"/>
                  </a:cubicBezTo>
                  <a:cubicBezTo>
                    <a:pt x="698" y="1766"/>
                    <a:pt x="698" y="1766"/>
                    <a:pt x="698" y="1766"/>
                  </a:cubicBezTo>
                  <a:cubicBezTo>
                    <a:pt x="691" y="1766"/>
                    <a:pt x="691" y="1766"/>
                    <a:pt x="691" y="1766"/>
                  </a:cubicBezTo>
                  <a:cubicBezTo>
                    <a:pt x="691" y="1811"/>
                    <a:pt x="691" y="1811"/>
                    <a:pt x="691" y="1811"/>
                  </a:cubicBezTo>
                  <a:close/>
                  <a:moveTo>
                    <a:pt x="704" y="1811"/>
                  </a:moveTo>
                  <a:cubicBezTo>
                    <a:pt x="711" y="1811"/>
                    <a:pt x="711" y="1811"/>
                    <a:pt x="711" y="1811"/>
                  </a:cubicBezTo>
                  <a:cubicBezTo>
                    <a:pt x="711" y="1766"/>
                    <a:pt x="711" y="1766"/>
                    <a:pt x="711" y="1766"/>
                  </a:cubicBezTo>
                  <a:cubicBezTo>
                    <a:pt x="704" y="1766"/>
                    <a:pt x="704" y="1766"/>
                    <a:pt x="704" y="1766"/>
                  </a:cubicBezTo>
                  <a:cubicBezTo>
                    <a:pt x="704" y="1811"/>
                    <a:pt x="704" y="1811"/>
                    <a:pt x="704" y="1811"/>
                  </a:cubicBezTo>
                  <a:close/>
                  <a:moveTo>
                    <a:pt x="717" y="1811"/>
                  </a:moveTo>
                  <a:cubicBezTo>
                    <a:pt x="724" y="1811"/>
                    <a:pt x="724" y="1811"/>
                    <a:pt x="724" y="1811"/>
                  </a:cubicBezTo>
                  <a:cubicBezTo>
                    <a:pt x="724" y="1766"/>
                    <a:pt x="724" y="1766"/>
                    <a:pt x="724" y="1766"/>
                  </a:cubicBezTo>
                  <a:cubicBezTo>
                    <a:pt x="717" y="1766"/>
                    <a:pt x="717" y="1766"/>
                    <a:pt x="717" y="1766"/>
                  </a:cubicBezTo>
                  <a:cubicBezTo>
                    <a:pt x="717" y="1811"/>
                    <a:pt x="717" y="1811"/>
                    <a:pt x="717" y="1811"/>
                  </a:cubicBezTo>
                  <a:close/>
                  <a:moveTo>
                    <a:pt x="730" y="1811"/>
                  </a:moveTo>
                  <a:cubicBezTo>
                    <a:pt x="737" y="1811"/>
                    <a:pt x="737" y="1811"/>
                    <a:pt x="737" y="1811"/>
                  </a:cubicBezTo>
                  <a:cubicBezTo>
                    <a:pt x="737" y="1766"/>
                    <a:pt x="737" y="1766"/>
                    <a:pt x="737" y="1766"/>
                  </a:cubicBezTo>
                  <a:cubicBezTo>
                    <a:pt x="730" y="1766"/>
                    <a:pt x="730" y="1766"/>
                    <a:pt x="730" y="1766"/>
                  </a:cubicBezTo>
                  <a:cubicBezTo>
                    <a:pt x="730" y="1811"/>
                    <a:pt x="730" y="1811"/>
                    <a:pt x="730" y="1811"/>
                  </a:cubicBezTo>
                  <a:close/>
                  <a:moveTo>
                    <a:pt x="742" y="1811"/>
                  </a:moveTo>
                  <a:cubicBezTo>
                    <a:pt x="750" y="1811"/>
                    <a:pt x="750" y="1811"/>
                    <a:pt x="750" y="1811"/>
                  </a:cubicBezTo>
                  <a:cubicBezTo>
                    <a:pt x="750" y="1766"/>
                    <a:pt x="750" y="1766"/>
                    <a:pt x="750" y="1766"/>
                  </a:cubicBezTo>
                  <a:cubicBezTo>
                    <a:pt x="742" y="1766"/>
                    <a:pt x="742" y="1766"/>
                    <a:pt x="742" y="1766"/>
                  </a:cubicBezTo>
                  <a:cubicBezTo>
                    <a:pt x="742" y="1811"/>
                    <a:pt x="742" y="1811"/>
                    <a:pt x="742" y="1811"/>
                  </a:cubicBezTo>
                  <a:close/>
                  <a:moveTo>
                    <a:pt x="755" y="1811"/>
                  </a:moveTo>
                  <a:cubicBezTo>
                    <a:pt x="763" y="1811"/>
                    <a:pt x="763" y="1811"/>
                    <a:pt x="763" y="1811"/>
                  </a:cubicBezTo>
                  <a:cubicBezTo>
                    <a:pt x="763" y="1766"/>
                    <a:pt x="763" y="1766"/>
                    <a:pt x="763" y="1766"/>
                  </a:cubicBezTo>
                  <a:cubicBezTo>
                    <a:pt x="755" y="1766"/>
                    <a:pt x="755" y="1766"/>
                    <a:pt x="755" y="1766"/>
                  </a:cubicBezTo>
                  <a:cubicBezTo>
                    <a:pt x="755" y="1811"/>
                    <a:pt x="755" y="1811"/>
                    <a:pt x="755" y="1811"/>
                  </a:cubicBezTo>
                  <a:close/>
                  <a:moveTo>
                    <a:pt x="768" y="1811"/>
                  </a:moveTo>
                  <a:cubicBezTo>
                    <a:pt x="776" y="1811"/>
                    <a:pt x="776" y="1811"/>
                    <a:pt x="776" y="1811"/>
                  </a:cubicBezTo>
                  <a:cubicBezTo>
                    <a:pt x="776" y="1766"/>
                    <a:pt x="776" y="1766"/>
                    <a:pt x="776" y="1766"/>
                  </a:cubicBezTo>
                  <a:cubicBezTo>
                    <a:pt x="768" y="1766"/>
                    <a:pt x="768" y="1766"/>
                    <a:pt x="768" y="1766"/>
                  </a:cubicBezTo>
                  <a:cubicBezTo>
                    <a:pt x="768" y="1811"/>
                    <a:pt x="768" y="1811"/>
                    <a:pt x="768" y="1811"/>
                  </a:cubicBezTo>
                  <a:close/>
                  <a:moveTo>
                    <a:pt x="781" y="1811"/>
                  </a:moveTo>
                  <a:cubicBezTo>
                    <a:pt x="789" y="1811"/>
                    <a:pt x="789" y="1811"/>
                    <a:pt x="789" y="1811"/>
                  </a:cubicBezTo>
                  <a:cubicBezTo>
                    <a:pt x="789" y="1766"/>
                    <a:pt x="789" y="1766"/>
                    <a:pt x="789" y="1766"/>
                  </a:cubicBezTo>
                  <a:cubicBezTo>
                    <a:pt x="781" y="1766"/>
                    <a:pt x="781" y="1766"/>
                    <a:pt x="781" y="1766"/>
                  </a:cubicBezTo>
                  <a:cubicBezTo>
                    <a:pt x="781" y="1811"/>
                    <a:pt x="781" y="1811"/>
                    <a:pt x="781" y="1811"/>
                  </a:cubicBezTo>
                  <a:close/>
                  <a:moveTo>
                    <a:pt x="794" y="1811"/>
                  </a:moveTo>
                  <a:cubicBezTo>
                    <a:pt x="801" y="1811"/>
                    <a:pt x="801" y="1811"/>
                    <a:pt x="801" y="1811"/>
                  </a:cubicBezTo>
                  <a:cubicBezTo>
                    <a:pt x="801" y="1766"/>
                    <a:pt x="801" y="1766"/>
                    <a:pt x="801" y="1766"/>
                  </a:cubicBezTo>
                  <a:cubicBezTo>
                    <a:pt x="794" y="1766"/>
                    <a:pt x="794" y="1766"/>
                    <a:pt x="794" y="1766"/>
                  </a:cubicBezTo>
                  <a:cubicBezTo>
                    <a:pt x="794" y="1811"/>
                    <a:pt x="794" y="1811"/>
                    <a:pt x="794" y="1811"/>
                  </a:cubicBezTo>
                  <a:close/>
                  <a:moveTo>
                    <a:pt x="807" y="1811"/>
                  </a:moveTo>
                  <a:cubicBezTo>
                    <a:pt x="814" y="1811"/>
                    <a:pt x="814" y="1811"/>
                    <a:pt x="814" y="1811"/>
                  </a:cubicBezTo>
                  <a:cubicBezTo>
                    <a:pt x="814" y="1766"/>
                    <a:pt x="814" y="1766"/>
                    <a:pt x="814" y="1766"/>
                  </a:cubicBezTo>
                  <a:cubicBezTo>
                    <a:pt x="807" y="1766"/>
                    <a:pt x="807" y="1766"/>
                    <a:pt x="807" y="1766"/>
                  </a:cubicBezTo>
                  <a:cubicBezTo>
                    <a:pt x="807" y="1811"/>
                    <a:pt x="807" y="1811"/>
                    <a:pt x="807" y="1811"/>
                  </a:cubicBezTo>
                  <a:close/>
                  <a:moveTo>
                    <a:pt x="820" y="1811"/>
                  </a:moveTo>
                  <a:cubicBezTo>
                    <a:pt x="827" y="1811"/>
                    <a:pt x="827" y="1811"/>
                    <a:pt x="827" y="1811"/>
                  </a:cubicBezTo>
                  <a:cubicBezTo>
                    <a:pt x="827" y="1766"/>
                    <a:pt x="827" y="1766"/>
                    <a:pt x="827" y="1766"/>
                  </a:cubicBezTo>
                  <a:cubicBezTo>
                    <a:pt x="820" y="1766"/>
                    <a:pt x="820" y="1766"/>
                    <a:pt x="820" y="1766"/>
                  </a:cubicBezTo>
                  <a:cubicBezTo>
                    <a:pt x="820" y="1811"/>
                    <a:pt x="820" y="1811"/>
                    <a:pt x="820" y="1811"/>
                  </a:cubicBezTo>
                  <a:close/>
                  <a:moveTo>
                    <a:pt x="1527" y="1756"/>
                  </a:moveTo>
                  <a:cubicBezTo>
                    <a:pt x="1527" y="1632"/>
                    <a:pt x="1527" y="1632"/>
                    <a:pt x="1527" y="1632"/>
                  </a:cubicBezTo>
                  <a:cubicBezTo>
                    <a:pt x="1836" y="1632"/>
                    <a:pt x="1836" y="1632"/>
                    <a:pt x="1836" y="1632"/>
                  </a:cubicBezTo>
                  <a:cubicBezTo>
                    <a:pt x="1870" y="1630"/>
                    <a:pt x="1899" y="1616"/>
                    <a:pt x="1912" y="1583"/>
                  </a:cubicBezTo>
                  <a:cubicBezTo>
                    <a:pt x="1916" y="1577"/>
                    <a:pt x="1916" y="1577"/>
                    <a:pt x="1916" y="1577"/>
                  </a:cubicBezTo>
                  <a:cubicBezTo>
                    <a:pt x="1973" y="1464"/>
                    <a:pt x="2005" y="1337"/>
                    <a:pt x="2005" y="1203"/>
                  </a:cubicBezTo>
                  <a:cubicBezTo>
                    <a:pt x="2005" y="748"/>
                    <a:pt x="1634" y="377"/>
                    <a:pt x="1179" y="377"/>
                  </a:cubicBezTo>
                  <a:cubicBezTo>
                    <a:pt x="724" y="377"/>
                    <a:pt x="352" y="748"/>
                    <a:pt x="352" y="1203"/>
                  </a:cubicBezTo>
                  <a:cubicBezTo>
                    <a:pt x="352" y="1349"/>
                    <a:pt x="390" y="1485"/>
                    <a:pt x="456" y="1604"/>
                  </a:cubicBezTo>
                  <a:cubicBezTo>
                    <a:pt x="474" y="1619"/>
                    <a:pt x="506" y="1631"/>
                    <a:pt x="527" y="1632"/>
                  </a:cubicBezTo>
                  <a:cubicBezTo>
                    <a:pt x="834" y="1632"/>
                    <a:pt x="834" y="1632"/>
                    <a:pt x="834" y="1632"/>
                  </a:cubicBezTo>
                  <a:cubicBezTo>
                    <a:pt x="834" y="1756"/>
                    <a:pt x="834" y="1756"/>
                    <a:pt x="834" y="1756"/>
                  </a:cubicBezTo>
                  <a:cubicBezTo>
                    <a:pt x="777" y="1756"/>
                    <a:pt x="777" y="1756"/>
                    <a:pt x="777" y="1756"/>
                  </a:cubicBezTo>
                  <a:cubicBezTo>
                    <a:pt x="777" y="1658"/>
                    <a:pt x="777" y="1658"/>
                    <a:pt x="777" y="1658"/>
                  </a:cubicBezTo>
                  <a:cubicBezTo>
                    <a:pt x="753" y="1657"/>
                    <a:pt x="732" y="1659"/>
                    <a:pt x="708" y="1658"/>
                  </a:cubicBezTo>
                  <a:cubicBezTo>
                    <a:pt x="708" y="1756"/>
                    <a:pt x="708" y="1756"/>
                    <a:pt x="708" y="1756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49" y="1658"/>
                    <a:pt x="649" y="1658"/>
                    <a:pt x="649" y="1658"/>
                  </a:cubicBezTo>
                  <a:cubicBezTo>
                    <a:pt x="600" y="1658"/>
                    <a:pt x="600" y="1658"/>
                    <a:pt x="600" y="1658"/>
                  </a:cubicBezTo>
                  <a:cubicBezTo>
                    <a:pt x="579" y="1658"/>
                    <a:pt x="579" y="1658"/>
                    <a:pt x="579" y="1658"/>
                  </a:cubicBezTo>
                  <a:cubicBezTo>
                    <a:pt x="579" y="1756"/>
                    <a:pt x="579" y="1756"/>
                    <a:pt x="579" y="1756"/>
                  </a:cubicBezTo>
                  <a:cubicBezTo>
                    <a:pt x="522" y="1756"/>
                    <a:pt x="522" y="1756"/>
                    <a:pt x="522" y="1756"/>
                  </a:cubicBezTo>
                  <a:cubicBezTo>
                    <a:pt x="522" y="1637"/>
                    <a:pt x="522" y="1637"/>
                    <a:pt x="522" y="1637"/>
                  </a:cubicBezTo>
                  <a:cubicBezTo>
                    <a:pt x="518" y="1637"/>
                    <a:pt x="518" y="1637"/>
                    <a:pt x="518" y="1637"/>
                  </a:cubicBezTo>
                  <a:cubicBezTo>
                    <a:pt x="518" y="1655"/>
                    <a:pt x="518" y="1655"/>
                    <a:pt x="518" y="1655"/>
                  </a:cubicBezTo>
                  <a:cubicBezTo>
                    <a:pt x="371" y="1655"/>
                    <a:pt x="371" y="1655"/>
                    <a:pt x="371" y="1655"/>
                  </a:cubicBezTo>
                  <a:cubicBezTo>
                    <a:pt x="371" y="1613"/>
                    <a:pt x="371" y="1613"/>
                    <a:pt x="371" y="1613"/>
                  </a:cubicBezTo>
                  <a:cubicBezTo>
                    <a:pt x="357" y="1615"/>
                    <a:pt x="357" y="1615"/>
                    <a:pt x="357" y="1615"/>
                  </a:cubicBezTo>
                  <a:cubicBezTo>
                    <a:pt x="357" y="1581"/>
                    <a:pt x="357" y="1581"/>
                    <a:pt x="357" y="1581"/>
                  </a:cubicBezTo>
                  <a:cubicBezTo>
                    <a:pt x="380" y="1581"/>
                    <a:pt x="380" y="1581"/>
                    <a:pt x="380" y="1581"/>
                  </a:cubicBezTo>
                  <a:cubicBezTo>
                    <a:pt x="394" y="1581"/>
                    <a:pt x="401" y="1564"/>
                    <a:pt x="408" y="1554"/>
                  </a:cubicBezTo>
                  <a:cubicBezTo>
                    <a:pt x="394" y="1560"/>
                    <a:pt x="380" y="1562"/>
                    <a:pt x="366" y="1560"/>
                  </a:cubicBezTo>
                  <a:cubicBezTo>
                    <a:pt x="365" y="1559"/>
                    <a:pt x="331" y="1540"/>
                    <a:pt x="316" y="1522"/>
                  </a:cubicBezTo>
                  <a:cubicBezTo>
                    <a:pt x="311" y="1515"/>
                    <a:pt x="312" y="1509"/>
                    <a:pt x="311" y="1503"/>
                  </a:cubicBezTo>
                  <a:cubicBezTo>
                    <a:pt x="297" y="1503"/>
                    <a:pt x="297" y="1503"/>
                    <a:pt x="297" y="1503"/>
                  </a:cubicBezTo>
                  <a:cubicBezTo>
                    <a:pt x="297" y="1538"/>
                    <a:pt x="264" y="1547"/>
                    <a:pt x="241" y="1559"/>
                  </a:cubicBezTo>
                  <a:cubicBezTo>
                    <a:pt x="201" y="1553"/>
                    <a:pt x="201" y="1553"/>
                    <a:pt x="201" y="1553"/>
                  </a:cubicBezTo>
                  <a:cubicBezTo>
                    <a:pt x="220" y="1587"/>
                    <a:pt x="234" y="1580"/>
                    <a:pt x="265" y="1581"/>
                  </a:cubicBezTo>
                  <a:cubicBezTo>
                    <a:pt x="265" y="1615"/>
                    <a:pt x="265" y="1615"/>
                    <a:pt x="265" y="1615"/>
                  </a:cubicBezTo>
                  <a:cubicBezTo>
                    <a:pt x="249" y="1615"/>
                    <a:pt x="249" y="1615"/>
                    <a:pt x="249" y="1615"/>
                  </a:cubicBezTo>
                  <a:cubicBezTo>
                    <a:pt x="249" y="1730"/>
                    <a:pt x="249" y="1730"/>
                    <a:pt x="249" y="1730"/>
                  </a:cubicBezTo>
                  <a:cubicBezTo>
                    <a:pt x="225" y="1757"/>
                    <a:pt x="225" y="1757"/>
                    <a:pt x="225" y="1757"/>
                  </a:cubicBezTo>
                  <a:cubicBezTo>
                    <a:pt x="124" y="1589"/>
                    <a:pt x="66" y="1392"/>
                    <a:pt x="66" y="1182"/>
                  </a:cubicBezTo>
                  <a:cubicBezTo>
                    <a:pt x="66" y="568"/>
                    <a:pt x="564" y="67"/>
                    <a:pt x="1174" y="67"/>
                  </a:cubicBezTo>
                  <a:cubicBezTo>
                    <a:pt x="1784" y="67"/>
                    <a:pt x="2281" y="568"/>
                    <a:pt x="2281" y="1182"/>
                  </a:cubicBezTo>
                  <a:cubicBezTo>
                    <a:pt x="2281" y="1388"/>
                    <a:pt x="2225" y="1582"/>
                    <a:pt x="2128" y="1748"/>
                  </a:cubicBezTo>
                  <a:cubicBezTo>
                    <a:pt x="2112" y="1730"/>
                    <a:pt x="2112" y="1730"/>
                    <a:pt x="2112" y="1730"/>
                  </a:cubicBezTo>
                  <a:cubicBezTo>
                    <a:pt x="2112" y="1615"/>
                    <a:pt x="2112" y="1615"/>
                    <a:pt x="2112" y="1615"/>
                  </a:cubicBezTo>
                  <a:cubicBezTo>
                    <a:pt x="2095" y="1615"/>
                    <a:pt x="2095" y="1615"/>
                    <a:pt x="2095" y="1615"/>
                  </a:cubicBezTo>
                  <a:cubicBezTo>
                    <a:pt x="2095" y="1581"/>
                    <a:pt x="2095" y="1581"/>
                    <a:pt x="2095" y="1581"/>
                  </a:cubicBezTo>
                  <a:cubicBezTo>
                    <a:pt x="2126" y="1580"/>
                    <a:pt x="2141" y="1587"/>
                    <a:pt x="2159" y="1553"/>
                  </a:cubicBezTo>
                  <a:cubicBezTo>
                    <a:pt x="2119" y="1559"/>
                    <a:pt x="2119" y="1559"/>
                    <a:pt x="2119" y="1559"/>
                  </a:cubicBezTo>
                  <a:cubicBezTo>
                    <a:pt x="2096" y="1547"/>
                    <a:pt x="2064" y="1538"/>
                    <a:pt x="2063" y="1503"/>
                  </a:cubicBezTo>
                  <a:cubicBezTo>
                    <a:pt x="2049" y="1503"/>
                    <a:pt x="2049" y="1503"/>
                    <a:pt x="2049" y="1503"/>
                  </a:cubicBezTo>
                  <a:cubicBezTo>
                    <a:pt x="2049" y="1509"/>
                    <a:pt x="2050" y="1515"/>
                    <a:pt x="2045" y="1522"/>
                  </a:cubicBezTo>
                  <a:cubicBezTo>
                    <a:pt x="2029" y="1540"/>
                    <a:pt x="1995" y="1559"/>
                    <a:pt x="1994" y="1560"/>
                  </a:cubicBezTo>
                  <a:cubicBezTo>
                    <a:pt x="1980" y="1562"/>
                    <a:pt x="1967" y="1560"/>
                    <a:pt x="1953" y="1554"/>
                  </a:cubicBezTo>
                  <a:cubicBezTo>
                    <a:pt x="1960" y="1564"/>
                    <a:pt x="1966" y="1581"/>
                    <a:pt x="1980" y="1581"/>
                  </a:cubicBezTo>
                  <a:cubicBezTo>
                    <a:pt x="2003" y="1581"/>
                    <a:pt x="2003" y="1581"/>
                    <a:pt x="2003" y="1581"/>
                  </a:cubicBezTo>
                  <a:cubicBezTo>
                    <a:pt x="2003" y="1615"/>
                    <a:pt x="2003" y="1615"/>
                    <a:pt x="2003" y="1615"/>
                  </a:cubicBezTo>
                  <a:cubicBezTo>
                    <a:pt x="1990" y="1613"/>
                    <a:pt x="1990" y="1613"/>
                    <a:pt x="1990" y="1613"/>
                  </a:cubicBezTo>
                  <a:cubicBezTo>
                    <a:pt x="1989" y="1655"/>
                    <a:pt x="1989" y="1655"/>
                    <a:pt x="1989" y="1655"/>
                  </a:cubicBezTo>
                  <a:cubicBezTo>
                    <a:pt x="1843" y="1655"/>
                    <a:pt x="1843" y="1655"/>
                    <a:pt x="1843" y="1655"/>
                  </a:cubicBezTo>
                  <a:cubicBezTo>
                    <a:pt x="1843" y="1637"/>
                    <a:pt x="1843" y="1637"/>
                    <a:pt x="1843" y="1637"/>
                  </a:cubicBezTo>
                  <a:cubicBezTo>
                    <a:pt x="1838" y="1637"/>
                    <a:pt x="1838" y="1637"/>
                    <a:pt x="1838" y="1637"/>
                  </a:cubicBezTo>
                  <a:cubicBezTo>
                    <a:pt x="1838" y="1756"/>
                    <a:pt x="1838" y="1756"/>
                    <a:pt x="1838" y="1756"/>
                  </a:cubicBezTo>
                  <a:cubicBezTo>
                    <a:pt x="1781" y="1756"/>
                    <a:pt x="1781" y="1756"/>
                    <a:pt x="1781" y="1756"/>
                  </a:cubicBezTo>
                  <a:cubicBezTo>
                    <a:pt x="1781" y="1658"/>
                    <a:pt x="1781" y="1658"/>
                    <a:pt x="1781" y="1658"/>
                  </a:cubicBezTo>
                  <a:cubicBezTo>
                    <a:pt x="1761" y="1658"/>
                    <a:pt x="1761" y="1658"/>
                    <a:pt x="1761" y="1658"/>
                  </a:cubicBezTo>
                  <a:cubicBezTo>
                    <a:pt x="1711" y="1658"/>
                    <a:pt x="1711" y="1658"/>
                    <a:pt x="1711" y="1658"/>
                  </a:cubicBezTo>
                  <a:cubicBezTo>
                    <a:pt x="1711" y="1756"/>
                    <a:pt x="1711" y="1756"/>
                    <a:pt x="1711" y="1756"/>
                  </a:cubicBezTo>
                  <a:cubicBezTo>
                    <a:pt x="1653" y="1756"/>
                    <a:pt x="1653" y="1756"/>
                    <a:pt x="1653" y="1756"/>
                  </a:cubicBezTo>
                  <a:cubicBezTo>
                    <a:pt x="1653" y="1658"/>
                    <a:pt x="1653" y="1658"/>
                    <a:pt x="1653" y="1658"/>
                  </a:cubicBezTo>
                  <a:cubicBezTo>
                    <a:pt x="1628" y="1659"/>
                    <a:pt x="1608" y="1657"/>
                    <a:pt x="1583" y="1658"/>
                  </a:cubicBezTo>
                  <a:cubicBezTo>
                    <a:pt x="1583" y="1756"/>
                    <a:pt x="1583" y="1756"/>
                    <a:pt x="1583" y="1756"/>
                  </a:cubicBezTo>
                  <a:cubicBezTo>
                    <a:pt x="1527" y="1756"/>
                    <a:pt x="1527" y="1756"/>
                    <a:pt x="1527" y="1756"/>
                  </a:cubicBezTo>
                  <a:close/>
                  <a:moveTo>
                    <a:pt x="1533" y="1811"/>
                  </a:moveTo>
                  <a:cubicBezTo>
                    <a:pt x="1541" y="1811"/>
                    <a:pt x="1541" y="1811"/>
                    <a:pt x="1541" y="1811"/>
                  </a:cubicBezTo>
                  <a:cubicBezTo>
                    <a:pt x="1541" y="1766"/>
                    <a:pt x="1541" y="1766"/>
                    <a:pt x="1541" y="1766"/>
                  </a:cubicBezTo>
                  <a:cubicBezTo>
                    <a:pt x="1533" y="1766"/>
                    <a:pt x="1533" y="1766"/>
                    <a:pt x="1533" y="1766"/>
                  </a:cubicBezTo>
                  <a:cubicBezTo>
                    <a:pt x="1533" y="1811"/>
                    <a:pt x="1533" y="1811"/>
                    <a:pt x="1533" y="1811"/>
                  </a:cubicBezTo>
                  <a:close/>
                  <a:moveTo>
                    <a:pt x="1546" y="1811"/>
                  </a:moveTo>
                  <a:cubicBezTo>
                    <a:pt x="1554" y="1811"/>
                    <a:pt x="1554" y="1811"/>
                    <a:pt x="1554" y="1811"/>
                  </a:cubicBezTo>
                  <a:cubicBezTo>
                    <a:pt x="1554" y="1766"/>
                    <a:pt x="1554" y="1766"/>
                    <a:pt x="1554" y="1766"/>
                  </a:cubicBezTo>
                  <a:cubicBezTo>
                    <a:pt x="1546" y="1766"/>
                    <a:pt x="1546" y="1766"/>
                    <a:pt x="1546" y="1766"/>
                  </a:cubicBezTo>
                  <a:cubicBezTo>
                    <a:pt x="1546" y="1811"/>
                    <a:pt x="1546" y="1811"/>
                    <a:pt x="1546" y="1811"/>
                  </a:cubicBezTo>
                  <a:close/>
                  <a:moveTo>
                    <a:pt x="1559" y="1811"/>
                  </a:moveTo>
                  <a:cubicBezTo>
                    <a:pt x="1567" y="1811"/>
                    <a:pt x="1567" y="1811"/>
                    <a:pt x="1567" y="1811"/>
                  </a:cubicBezTo>
                  <a:cubicBezTo>
                    <a:pt x="1567" y="1766"/>
                    <a:pt x="1567" y="1766"/>
                    <a:pt x="1567" y="1766"/>
                  </a:cubicBezTo>
                  <a:cubicBezTo>
                    <a:pt x="1559" y="1766"/>
                    <a:pt x="1559" y="1766"/>
                    <a:pt x="1559" y="1766"/>
                  </a:cubicBezTo>
                  <a:cubicBezTo>
                    <a:pt x="1559" y="1811"/>
                    <a:pt x="1559" y="1811"/>
                    <a:pt x="1559" y="1811"/>
                  </a:cubicBezTo>
                  <a:close/>
                  <a:moveTo>
                    <a:pt x="1572" y="1811"/>
                  </a:moveTo>
                  <a:cubicBezTo>
                    <a:pt x="1579" y="1811"/>
                    <a:pt x="1579" y="1811"/>
                    <a:pt x="1579" y="1811"/>
                  </a:cubicBezTo>
                  <a:cubicBezTo>
                    <a:pt x="1579" y="1766"/>
                    <a:pt x="1579" y="1766"/>
                    <a:pt x="1579" y="1766"/>
                  </a:cubicBezTo>
                  <a:cubicBezTo>
                    <a:pt x="1572" y="1766"/>
                    <a:pt x="1572" y="1766"/>
                    <a:pt x="1572" y="1766"/>
                  </a:cubicBezTo>
                  <a:cubicBezTo>
                    <a:pt x="1572" y="1811"/>
                    <a:pt x="1572" y="1811"/>
                    <a:pt x="1572" y="1811"/>
                  </a:cubicBezTo>
                  <a:close/>
                  <a:moveTo>
                    <a:pt x="1585" y="1811"/>
                  </a:moveTo>
                  <a:cubicBezTo>
                    <a:pt x="1592" y="1811"/>
                    <a:pt x="1592" y="1811"/>
                    <a:pt x="1592" y="1811"/>
                  </a:cubicBezTo>
                  <a:cubicBezTo>
                    <a:pt x="1592" y="1766"/>
                    <a:pt x="1592" y="1766"/>
                    <a:pt x="1592" y="1766"/>
                  </a:cubicBezTo>
                  <a:cubicBezTo>
                    <a:pt x="1585" y="1766"/>
                    <a:pt x="1585" y="1766"/>
                    <a:pt x="1585" y="1766"/>
                  </a:cubicBezTo>
                  <a:cubicBezTo>
                    <a:pt x="1585" y="1811"/>
                    <a:pt x="1585" y="1811"/>
                    <a:pt x="1585" y="1811"/>
                  </a:cubicBezTo>
                  <a:close/>
                  <a:moveTo>
                    <a:pt x="1598" y="1811"/>
                  </a:moveTo>
                  <a:cubicBezTo>
                    <a:pt x="1605" y="1811"/>
                    <a:pt x="1605" y="1811"/>
                    <a:pt x="1605" y="1811"/>
                  </a:cubicBezTo>
                  <a:cubicBezTo>
                    <a:pt x="1605" y="1766"/>
                    <a:pt x="1605" y="1766"/>
                    <a:pt x="1605" y="1766"/>
                  </a:cubicBezTo>
                  <a:cubicBezTo>
                    <a:pt x="1598" y="1766"/>
                    <a:pt x="1598" y="1766"/>
                    <a:pt x="1598" y="1766"/>
                  </a:cubicBezTo>
                  <a:cubicBezTo>
                    <a:pt x="1598" y="1811"/>
                    <a:pt x="1598" y="1811"/>
                    <a:pt x="1598" y="1811"/>
                  </a:cubicBezTo>
                  <a:close/>
                  <a:moveTo>
                    <a:pt x="1611" y="1811"/>
                  </a:moveTo>
                  <a:cubicBezTo>
                    <a:pt x="1618" y="1811"/>
                    <a:pt x="1618" y="1811"/>
                    <a:pt x="1618" y="1811"/>
                  </a:cubicBezTo>
                  <a:cubicBezTo>
                    <a:pt x="1618" y="1766"/>
                    <a:pt x="1618" y="1766"/>
                    <a:pt x="1618" y="1766"/>
                  </a:cubicBezTo>
                  <a:cubicBezTo>
                    <a:pt x="1611" y="1766"/>
                    <a:pt x="1611" y="1766"/>
                    <a:pt x="1611" y="1766"/>
                  </a:cubicBezTo>
                  <a:cubicBezTo>
                    <a:pt x="1611" y="1811"/>
                    <a:pt x="1611" y="1811"/>
                    <a:pt x="1611" y="1811"/>
                  </a:cubicBezTo>
                  <a:close/>
                  <a:moveTo>
                    <a:pt x="1623" y="1811"/>
                  </a:moveTo>
                  <a:cubicBezTo>
                    <a:pt x="1631" y="1811"/>
                    <a:pt x="1631" y="1811"/>
                    <a:pt x="1631" y="1811"/>
                  </a:cubicBezTo>
                  <a:cubicBezTo>
                    <a:pt x="1631" y="1766"/>
                    <a:pt x="1631" y="1766"/>
                    <a:pt x="1631" y="1766"/>
                  </a:cubicBezTo>
                  <a:cubicBezTo>
                    <a:pt x="1623" y="1766"/>
                    <a:pt x="1623" y="1766"/>
                    <a:pt x="1623" y="1766"/>
                  </a:cubicBezTo>
                  <a:cubicBezTo>
                    <a:pt x="1623" y="1811"/>
                    <a:pt x="1623" y="1811"/>
                    <a:pt x="1623" y="1811"/>
                  </a:cubicBezTo>
                  <a:close/>
                  <a:moveTo>
                    <a:pt x="1636" y="1811"/>
                  </a:moveTo>
                  <a:cubicBezTo>
                    <a:pt x="1644" y="1811"/>
                    <a:pt x="1644" y="1811"/>
                    <a:pt x="1644" y="1811"/>
                  </a:cubicBezTo>
                  <a:cubicBezTo>
                    <a:pt x="1644" y="1766"/>
                    <a:pt x="1644" y="1766"/>
                    <a:pt x="1644" y="1766"/>
                  </a:cubicBezTo>
                  <a:cubicBezTo>
                    <a:pt x="1636" y="1766"/>
                    <a:pt x="1636" y="1766"/>
                    <a:pt x="1636" y="1766"/>
                  </a:cubicBezTo>
                  <a:cubicBezTo>
                    <a:pt x="1636" y="1811"/>
                    <a:pt x="1636" y="1811"/>
                    <a:pt x="1636" y="1811"/>
                  </a:cubicBezTo>
                  <a:close/>
                  <a:moveTo>
                    <a:pt x="1649" y="1811"/>
                  </a:moveTo>
                  <a:cubicBezTo>
                    <a:pt x="1657" y="1811"/>
                    <a:pt x="1657" y="1811"/>
                    <a:pt x="1657" y="1811"/>
                  </a:cubicBezTo>
                  <a:cubicBezTo>
                    <a:pt x="1657" y="1766"/>
                    <a:pt x="1657" y="1766"/>
                    <a:pt x="1657" y="1766"/>
                  </a:cubicBezTo>
                  <a:cubicBezTo>
                    <a:pt x="1649" y="1766"/>
                    <a:pt x="1649" y="1766"/>
                    <a:pt x="1649" y="1766"/>
                  </a:cubicBezTo>
                  <a:cubicBezTo>
                    <a:pt x="1649" y="1811"/>
                    <a:pt x="1649" y="1811"/>
                    <a:pt x="1649" y="1811"/>
                  </a:cubicBezTo>
                  <a:close/>
                  <a:moveTo>
                    <a:pt x="1662" y="1811"/>
                  </a:moveTo>
                  <a:cubicBezTo>
                    <a:pt x="1670" y="1811"/>
                    <a:pt x="1670" y="1811"/>
                    <a:pt x="1670" y="1811"/>
                  </a:cubicBezTo>
                  <a:cubicBezTo>
                    <a:pt x="1670" y="1766"/>
                    <a:pt x="1670" y="1766"/>
                    <a:pt x="1670" y="1766"/>
                  </a:cubicBezTo>
                  <a:cubicBezTo>
                    <a:pt x="1662" y="1766"/>
                    <a:pt x="1662" y="1766"/>
                    <a:pt x="1662" y="1766"/>
                  </a:cubicBezTo>
                  <a:cubicBezTo>
                    <a:pt x="1662" y="1811"/>
                    <a:pt x="1662" y="1811"/>
                    <a:pt x="1662" y="1811"/>
                  </a:cubicBezTo>
                  <a:close/>
                  <a:moveTo>
                    <a:pt x="1675" y="1811"/>
                  </a:moveTo>
                  <a:cubicBezTo>
                    <a:pt x="1683" y="1811"/>
                    <a:pt x="1683" y="1811"/>
                    <a:pt x="1683" y="1811"/>
                  </a:cubicBezTo>
                  <a:cubicBezTo>
                    <a:pt x="1683" y="1766"/>
                    <a:pt x="1683" y="1766"/>
                    <a:pt x="1683" y="1766"/>
                  </a:cubicBezTo>
                  <a:cubicBezTo>
                    <a:pt x="1675" y="1766"/>
                    <a:pt x="1675" y="1766"/>
                    <a:pt x="1675" y="1766"/>
                  </a:cubicBezTo>
                  <a:cubicBezTo>
                    <a:pt x="1675" y="1811"/>
                    <a:pt x="1675" y="1811"/>
                    <a:pt x="1675" y="1811"/>
                  </a:cubicBezTo>
                  <a:close/>
                  <a:moveTo>
                    <a:pt x="1688" y="1811"/>
                  </a:moveTo>
                  <a:cubicBezTo>
                    <a:pt x="1695" y="1811"/>
                    <a:pt x="1695" y="1811"/>
                    <a:pt x="1695" y="1811"/>
                  </a:cubicBezTo>
                  <a:cubicBezTo>
                    <a:pt x="1695" y="1766"/>
                    <a:pt x="1695" y="1766"/>
                    <a:pt x="1695" y="1766"/>
                  </a:cubicBezTo>
                  <a:cubicBezTo>
                    <a:pt x="1688" y="1766"/>
                    <a:pt x="1688" y="1766"/>
                    <a:pt x="1688" y="1766"/>
                  </a:cubicBezTo>
                  <a:cubicBezTo>
                    <a:pt x="1688" y="1811"/>
                    <a:pt x="1688" y="1811"/>
                    <a:pt x="1688" y="1811"/>
                  </a:cubicBezTo>
                  <a:close/>
                  <a:moveTo>
                    <a:pt x="1701" y="1811"/>
                  </a:moveTo>
                  <a:cubicBezTo>
                    <a:pt x="1708" y="1811"/>
                    <a:pt x="1708" y="1811"/>
                    <a:pt x="1708" y="1811"/>
                  </a:cubicBezTo>
                  <a:cubicBezTo>
                    <a:pt x="1708" y="1766"/>
                    <a:pt x="1708" y="1766"/>
                    <a:pt x="1708" y="1766"/>
                  </a:cubicBezTo>
                  <a:cubicBezTo>
                    <a:pt x="1701" y="1766"/>
                    <a:pt x="1701" y="1766"/>
                    <a:pt x="1701" y="1766"/>
                  </a:cubicBezTo>
                  <a:cubicBezTo>
                    <a:pt x="1701" y="1811"/>
                    <a:pt x="1701" y="1811"/>
                    <a:pt x="1701" y="1811"/>
                  </a:cubicBezTo>
                  <a:close/>
                  <a:moveTo>
                    <a:pt x="1714" y="1811"/>
                  </a:moveTo>
                  <a:cubicBezTo>
                    <a:pt x="1721" y="1811"/>
                    <a:pt x="1721" y="1811"/>
                    <a:pt x="1721" y="1811"/>
                  </a:cubicBezTo>
                  <a:cubicBezTo>
                    <a:pt x="1721" y="1766"/>
                    <a:pt x="1721" y="1766"/>
                    <a:pt x="1721" y="1766"/>
                  </a:cubicBezTo>
                  <a:cubicBezTo>
                    <a:pt x="1714" y="1766"/>
                    <a:pt x="1714" y="1766"/>
                    <a:pt x="1714" y="1766"/>
                  </a:cubicBezTo>
                  <a:cubicBezTo>
                    <a:pt x="1714" y="1811"/>
                    <a:pt x="1714" y="1811"/>
                    <a:pt x="1714" y="1811"/>
                  </a:cubicBezTo>
                  <a:close/>
                  <a:moveTo>
                    <a:pt x="1727" y="1811"/>
                  </a:moveTo>
                  <a:cubicBezTo>
                    <a:pt x="1734" y="1811"/>
                    <a:pt x="1734" y="1811"/>
                    <a:pt x="1734" y="1811"/>
                  </a:cubicBezTo>
                  <a:cubicBezTo>
                    <a:pt x="1734" y="1766"/>
                    <a:pt x="1734" y="1766"/>
                    <a:pt x="1734" y="1766"/>
                  </a:cubicBezTo>
                  <a:cubicBezTo>
                    <a:pt x="1727" y="1766"/>
                    <a:pt x="1727" y="1766"/>
                    <a:pt x="1727" y="1766"/>
                  </a:cubicBezTo>
                  <a:cubicBezTo>
                    <a:pt x="1727" y="1811"/>
                    <a:pt x="1727" y="1811"/>
                    <a:pt x="1727" y="1811"/>
                  </a:cubicBezTo>
                  <a:close/>
                  <a:moveTo>
                    <a:pt x="1739" y="1811"/>
                  </a:moveTo>
                  <a:cubicBezTo>
                    <a:pt x="1747" y="1811"/>
                    <a:pt x="1747" y="1811"/>
                    <a:pt x="1747" y="1811"/>
                  </a:cubicBezTo>
                  <a:cubicBezTo>
                    <a:pt x="1747" y="1766"/>
                    <a:pt x="1747" y="1766"/>
                    <a:pt x="1747" y="1766"/>
                  </a:cubicBezTo>
                  <a:cubicBezTo>
                    <a:pt x="1739" y="1766"/>
                    <a:pt x="1739" y="1766"/>
                    <a:pt x="1739" y="1766"/>
                  </a:cubicBezTo>
                  <a:cubicBezTo>
                    <a:pt x="1739" y="1811"/>
                    <a:pt x="1739" y="1811"/>
                    <a:pt x="1739" y="1811"/>
                  </a:cubicBezTo>
                  <a:close/>
                  <a:moveTo>
                    <a:pt x="1752" y="1811"/>
                  </a:moveTo>
                  <a:cubicBezTo>
                    <a:pt x="1760" y="1811"/>
                    <a:pt x="1760" y="1811"/>
                    <a:pt x="1760" y="1811"/>
                  </a:cubicBezTo>
                  <a:cubicBezTo>
                    <a:pt x="1760" y="1766"/>
                    <a:pt x="1760" y="1766"/>
                    <a:pt x="1760" y="1766"/>
                  </a:cubicBezTo>
                  <a:cubicBezTo>
                    <a:pt x="1752" y="1766"/>
                    <a:pt x="1752" y="1766"/>
                    <a:pt x="1752" y="1766"/>
                  </a:cubicBezTo>
                  <a:cubicBezTo>
                    <a:pt x="1752" y="1811"/>
                    <a:pt x="1752" y="1811"/>
                    <a:pt x="1752" y="1811"/>
                  </a:cubicBezTo>
                  <a:close/>
                  <a:moveTo>
                    <a:pt x="1765" y="1811"/>
                  </a:moveTo>
                  <a:cubicBezTo>
                    <a:pt x="1773" y="1811"/>
                    <a:pt x="1773" y="1811"/>
                    <a:pt x="1773" y="1811"/>
                  </a:cubicBezTo>
                  <a:cubicBezTo>
                    <a:pt x="1773" y="1766"/>
                    <a:pt x="1773" y="1766"/>
                    <a:pt x="1773" y="1766"/>
                  </a:cubicBezTo>
                  <a:cubicBezTo>
                    <a:pt x="1765" y="1766"/>
                    <a:pt x="1765" y="1766"/>
                    <a:pt x="1765" y="1766"/>
                  </a:cubicBezTo>
                  <a:cubicBezTo>
                    <a:pt x="1765" y="1811"/>
                    <a:pt x="1765" y="1811"/>
                    <a:pt x="1765" y="1811"/>
                  </a:cubicBezTo>
                  <a:close/>
                  <a:moveTo>
                    <a:pt x="1778" y="1811"/>
                  </a:moveTo>
                  <a:cubicBezTo>
                    <a:pt x="1786" y="1811"/>
                    <a:pt x="1786" y="1811"/>
                    <a:pt x="1786" y="1811"/>
                  </a:cubicBezTo>
                  <a:cubicBezTo>
                    <a:pt x="1786" y="1766"/>
                    <a:pt x="1786" y="1766"/>
                    <a:pt x="1786" y="1766"/>
                  </a:cubicBezTo>
                  <a:cubicBezTo>
                    <a:pt x="1778" y="1766"/>
                    <a:pt x="1778" y="1766"/>
                    <a:pt x="1778" y="1766"/>
                  </a:cubicBezTo>
                  <a:cubicBezTo>
                    <a:pt x="1778" y="1811"/>
                    <a:pt x="1778" y="1811"/>
                    <a:pt x="1778" y="1811"/>
                  </a:cubicBezTo>
                  <a:close/>
                  <a:moveTo>
                    <a:pt x="1791" y="1811"/>
                  </a:moveTo>
                  <a:cubicBezTo>
                    <a:pt x="1798" y="1811"/>
                    <a:pt x="1798" y="1811"/>
                    <a:pt x="1798" y="1811"/>
                  </a:cubicBezTo>
                  <a:cubicBezTo>
                    <a:pt x="1798" y="1766"/>
                    <a:pt x="1798" y="1766"/>
                    <a:pt x="1798" y="1766"/>
                  </a:cubicBezTo>
                  <a:cubicBezTo>
                    <a:pt x="1791" y="1766"/>
                    <a:pt x="1791" y="1766"/>
                    <a:pt x="1791" y="1766"/>
                  </a:cubicBezTo>
                  <a:cubicBezTo>
                    <a:pt x="1791" y="1811"/>
                    <a:pt x="1791" y="1811"/>
                    <a:pt x="1791" y="1811"/>
                  </a:cubicBezTo>
                  <a:close/>
                  <a:moveTo>
                    <a:pt x="1804" y="1811"/>
                  </a:moveTo>
                  <a:cubicBezTo>
                    <a:pt x="1811" y="1811"/>
                    <a:pt x="1811" y="1811"/>
                    <a:pt x="1811" y="1811"/>
                  </a:cubicBezTo>
                  <a:cubicBezTo>
                    <a:pt x="1811" y="1766"/>
                    <a:pt x="1811" y="1766"/>
                    <a:pt x="1811" y="1766"/>
                  </a:cubicBezTo>
                  <a:cubicBezTo>
                    <a:pt x="1804" y="1766"/>
                    <a:pt x="1804" y="1766"/>
                    <a:pt x="1804" y="1766"/>
                  </a:cubicBezTo>
                  <a:cubicBezTo>
                    <a:pt x="1804" y="1811"/>
                    <a:pt x="1804" y="1811"/>
                    <a:pt x="1804" y="1811"/>
                  </a:cubicBezTo>
                  <a:close/>
                  <a:moveTo>
                    <a:pt x="1817" y="1811"/>
                  </a:moveTo>
                  <a:cubicBezTo>
                    <a:pt x="1824" y="1811"/>
                    <a:pt x="1824" y="1811"/>
                    <a:pt x="1824" y="1811"/>
                  </a:cubicBezTo>
                  <a:cubicBezTo>
                    <a:pt x="1824" y="1766"/>
                    <a:pt x="1824" y="1766"/>
                    <a:pt x="1824" y="1766"/>
                  </a:cubicBezTo>
                  <a:cubicBezTo>
                    <a:pt x="1817" y="1766"/>
                    <a:pt x="1817" y="1766"/>
                    <a:pt x="1817" y="1766"/>
                  </a:cubicBezTo>
                  <a:cubicBezTo>
                    <a:pt x="1817" y="1811"/>
                    <a:pt x="1817" y="1811"/>
                    <a:pt x="1817" y="1811"/>
                  </a:cubicBezTo>
                  <a:close/>
                  <a:moveTo>
                    <a:pt x="1830" y="1811"/>
                  </a:moveTo>
                  <a:cubicBezTo>
                    <a:pt x="1837" y="1811"/>
                    <a:pt x="1837" y="1811"/>
                    <a:pt x="1837" y="1811"/>
                  </a:cubicBezTo>
                  <a:cubicBezTo>
                    <a:pt x="1837" y="1766"/>
                    <a:pt x="1837" y="1766"/>
                    <a:pt x="1837" y="1766"/>
                  </a:cubicBezTo>
                  <a:cubicBezTo>
                    <a:pt x="1830" y="1766"/>
                    <a:pt x="1830" y="1766"/>
                    <a:pt x="1830" y="1766"/>
                  </a:cubicBezTo>
                  <a:cubicBezTo>
                    <a:pt x="1830" y="1811"/>
                    <a:pt x="1830" y="1811"/>
                    <a:pt x="1830" y="1811"/>
                  </a:cubicBezTo>
                  <a:close/>
                  <a:moveTo>
                    <a:pt x="1842" y="1811"/>
                  </a:moveTo>
                  <a:cubicBezTo>
                    <a:pt x="1850" y="1811"/>
                    <a:pt x="1850" y="1811"/>
                    <a:pt x="1850" y="1811"/>
                  </a:cubicBezTo>
                  <a:cubicBezTo>
                    <a:pt x="1850" y="1687"/>
                    <a:pt x="1850" y="1687"/>
                    <a:pt x="1850" y="1687"/>
                  </a:cubicBezTo>
                  <a:cubicBezTo>
                    <a:pt x="1842" y="1687"/>
                    <a:pt x="1842" y="1687"/>
                    <a:pt x="1842" y="1687"/>
                  </a:cubicBezTo>
                  <a:cubicBezTo>
                    <a:pt x="1842" y="1811"/>
                    <a:pt x="1842" y="1811"/>
                    <a:pt x="1842" y="1811"/>
                  </a:cubicBezTo>
                  <a:close/>
                  <a:moveTo>
                    <a:pt x="1855" y="1811"/>
                  </a:moveTo>
                  <a:cubicBezTo>
                    <a:pt x="1863" y="1811"/>
                    <a:pt x="1863" y="1811"/>
                    <a:pt x="1863" y="1811"/>
                  </a:cubicBezTo>
                  <a:cubicBezTo>
                    <a:pt x="1863" y="1687"/>
                    <a:pt x="1863" y="1687"/>
                    <a:pt x="1863" y="1687"/>
                  </a:cubicBezTo>
                  <a:cubicBezTo>
                    <a:pt x="1855" y="1687"/>
                    <a:pt x="1855" y="1687"/>
                    <a:pt x="1855" y="1687"/>
                  </a:cubicBezTo>
                  <a:cubicBezTo>
                    <a:pt x="1855" y="1811"/>
                    <a:pt x="1855" y="1811"/>
                    <a:pt x="1855" y="1811"/>
                  </a:cubicBezTo>
                  <a:close/>
                  <a:moveTo>
                    <a:pt x="1868" y="1811"/>
                  </a:moveTo>
                  <a:cubicBezTo>
                    <a:pt x="1876" y="1811"/>
                    <a:pt x="1876" y="1811"/>
                    <a:pt x="1876" y="1811"/>
                  </a:cubicBezTo>
                  <a:cubicBezTo>
                    <a:pt x="1876" y="1687"/>
                    <a:pt x="1876" y="1687"/>
                    <a:pt x="1876" y="1687"/>
                  </a:cubicBezTo>
                  <a:cubicBezTo>
                    <a:pt x="1868" y="1687"/>
                    <a:pt x="1868" y="1687"/>
                    <a:pt x="1868" y="1687"/>
                  </a:cubicBezTo>
                  <a:cubicBezTo>
                    <a:pt x="1868" y="1811"/>
                    <a:pt x="1868" y="1811"/>
                    <a:pt x="1868" y="1811"/>
                  </a:cubicBezTo>
                  <a:close/>
                  <a:moveTo>
                    <a:pt x="1881" y="1811"/>
                  </a:moveTo>
                  <a:cubicBezTo>
                    <a:pt x="1889" y="1811"/>
                    <a:pt x="1889" y="1811"/>
                    <a:pt x="1889" y="1811"/>
                  </a:cubicBezTo>
                  <a:cubicBezTo>
                    <a:pt x="1889" y="1687"/>
                    <a:pt x="1889" y="1687"/>
                    <a:pt x="1889" y="1687"/>
                  </a:cubicBezTo>
                  <a:cubicBezTo>
                    <a:pt x="1881" y="1687"/>
                    <a:pt x="1881" y="1687"/>
                    <a:pt x="1881" y="1687"/>
                  </a:cubicBezTo>
                  <a:cubicBezTo>
                    <a:pt x="1881" y="1811"/>
                    <a:pt x="1881" y="1811"/>
                    <a:pt x="1881" y="1811"/>
                  </a:cubicBezTo>
                  <a:close/>
                  <a:moveTo>
                    <a:pt x="1894" y="1811"/>
                  </a:moveTo>
                  <a:cubicBezTo>
                    <a:pt x="1902" y="1811"/>
                    <a:pt x="1902" y="1811"/>
                    <a:pt x="1902" y="1811"/>
                  </a:cubicBezTo>
                  <a:cubicBezTo>
                    <a:pt x="1902" y="1687"/>
                    <a:pt x="1902" y="1687"/>
                    <a:pt x="1902" y="1687"/>
                  </a:cubicBezTo>
                  <a:cubicBezTo>
                    <a:pt x="1894" y="1687"/>
                    <a:pt x="1894" y="1687"/>
                    <a:pt x="1894" y="1687"/>
                  </a:cubicBezTo>
                  <a:cubicBezTo>
                    <a:pt x="1894" y="1811"/>
                    <a:pt x="1894" y="1811"/>
                    <a:pt x="1894" y="1811"/>
                  </a:cubicBezTo>
                  <a:close/>
                  <a:moveTo>
                    <a:pt x="1907" y="1811"/>
                  </a:moveTo>
                  <a:cubicBezTo>
                    <a:pt x="1914" y="1811"/>
                    <a:pt x="1914" y="1811"/>
                    <a:pt x="1914" y="1811"/>
                  </a:cubicBezTo>
                  <a:cubicBezTo>
                    <a:pt x="1914" y="1687"/>
                    <a:pt x="1914" y="1687"/>
                    <a:pt x="1914" y="1687"/>
                  </a:cubicBezTo>
                  <a:cubicBezTo>
                    <a:pt x="1907" y="1687"/>
                    <a:pt x="1907" y="1687"/>
                    <a:pt x="1907" y="1687"/>
                  </a:cubicBezTo>
                  <a:cubicBezTo>
                    <a:pt x="1907" y="1811"/>
                    <a:pt x="1907" y="1811"/>
                    <a:pt x="1907" y="1811"/>
                  </a:cubicBezTo>
                  <a:close/>
                  <a:moveTo>
                    <a:pt x="1920" y="1811"/>
                  </a:moveTo>
                  <a:cubicBezTo>
                    <a:pt x="1927" y="1811"/>
                    <a:pt x="1927" y="1811"/>
                    <a:pt x="1927" y="1811"/>
                  </a:cubicBezTo>
                  <a:cubicBezTo>
                    <a:pt x="1927" y="1687"/>
                    <a:pt x="1927" y="1687"/>
                    <a:pt x="1927" y="1687"/>
                  </a:cubicBezTo>
                  <a:cubicBezTo>
                    <a:pt x="1920" y="1687"/>
                    <a:pt x="1920" y="1687"/>
                    <a:pt x="1920" y="1687"/>
                  </a:cubicBezTo>
                  <a:cubicBezTo>
                    <a:pt x="1920" y="1811"/>
                    <a:pt x="1920" y="1811"/>
                    <a:pt x="1920" y="1811"/>
                  </a:cubicBezTo>
                  <a:close/>
                  <a:moveTo>
                    <a:pt x="1933" y="1811"/>
                  </a:moveTo>
                  <a:cubicBezTo>
                    <a:pt x="1940" y="1811"/>
                    <a:pt x="1940" y="1811"/>
                    <a:pt x="1940" y="1811"/>
                  </a:cubicBezTo>
                  <a:cubicBezTo>
                    <a:pt x="1940" y="1687"/>
                    <a:pt x="1940" y="1687"/>
                    <a:pt x="1940" y="1687"/>
                  </a:cubicBezTo>
                  <a:cubicBezTo>
                    <a:pt x="1933" y="1687"/>
                    <a:pt x="1933" y="1687"/>
                    <a:pt x="1933" y="1687"/>
                  </a:cubicBezTo>
                  <a:cubicBezTo>
                    <a:pt x="1933" y="1811"/>
                    <a:pt x="1933" y="1811"/>
                    <a:pt x="1933" y="1811"/>
                  </a:cubicBezTo>
                  <a:close/>
                  <a:moveTo>
                    <a:pt x="1946" y="1811"/>
                  </a:moveTo>
                  <a:cubicBezTo>
                    <a:pt x="1953" y="1811"/>
                    <a:pt x="1953" y="1811"/>
                    <a:pt x="1953" y="1811"/>
                  </a:cubicBezTo>
                  <a:cubicBezTo>
                    <a:pt x="1953" y="1687"/>
                    <a:pt x="1953" y="1687"/>
                    <a:pt x="1953" y="1687"/>
                  </a:cubicBezTo>
                  <a:cubicBezTo>
                    <a:pt x="1946" y="1687"/>
                    <a:pt x="1946" y="1687"/>
                    <a:pt x="1946" y="1687"/>
                  </a:cubicBezTo>
                  <a:cubicBezTo>
                    <a:pt x="1946" y="1811"/>
                    <a:pt x="1946" y="1811"/>
                    <a:pt x="1946" y="1811"/>
                  </a:cubicBezTo>
                  <a:close/>
                  <a:moveTo>
                    <a:pt x="1958" y="1811"/>
                  </a:moveTo>
                  <a:cubicBezTo>
                    <a:pt x="1966" y="1811"/>
                    <a:pt x="1966" y="1811"/>
                    <a:pt x="1966" y="1811"/>
                  </a:cubicBezTo>
                  <a:cubicBezTo>
                    <a:pt x="1966" y="1687"/>
                    <a:pt x="1966" y="1687"/>
                    <a:pt x="1966" y="1687"/>
                  </a:cubicBezTo>
                  <a:cubicBezTo>
                    <a:pt x="1958" y="1687"/>
                    <a:pt x="1958" y="1687"/>
                    <a:pt x="1958" y="1687"/>
                  </a:cubicBezTo>
                  <a:cubicBezTo>
                    <a:pt x="1958" y="1811"/>
                    <a:pt x="1958" y="1811"/>
                    <a:pt x="1958" y="1811"/>
                  </a:cubicBezTo>
                  <a:close/>
                  <a:moveTo>
                    <a:pt x="1970" y="1811"/>
                  </a:moveTo>
                  <a:cubicBezTo>
                    <a:pt x="2087" y="1811"/>
                    <a:pt x="2087" y="1811"/>
                    <a:pt x="2087" y="1811"/>
                  </a:cubicBezTo>
                  <a:cubicBezTo>
                    <a:pt x="2097" y="1797"/>
                    <a:pt x="2107" y="1782"/>
                    <a:pt x="2116" y="1767"/>
                  </a:cubicBezTo>
                  <a:cubicBezTo>
                    <a:pt x="1970" y="1767"/>
                    <a:pt x="1970" y="1767"/>
                    <a:pt x="1970" y="1767"/>
                  </a:cubicBezTo>
                  <a:cubicBezTo>
                    <a:pt x="1970" y="1811"/>
                    <a:pt x="1970" y="1811"/>
                    <a:pt x="1970" y="1811"/>
                  </a:cubicBezTo>
                  <a:close/>
                  <a:moveTo>
                    <a:pt x="1116" y="1931"/>
                  </a:moveTo>
                  <a:cubicBezTo>
                    <a:pt x="1116" y="1953"/>
                    <a:pt x="1116" y="1953"/>
                    <a:pt x="1116" y="1953"/>
                  </a:cubicBezTo>
                  <a:cubicBezTo>
                    <a:pt x="1166" y="1953"/>
                    <a:pt x="1166" y="1953"/>
                    <a:pt x="1166" y="1953"/>
                  </a:cubicBezTo>
                  <a:cubicBezTo>
                    <a:pt x="1166" y="1931"/>
                    <a:pt x="1166" y="1931"/>
                    <a:pt x="1166" y="1931"/>
                  </a:cubicBezTo>
                  <a:cubicBezTo>
                    <a:pt x="1116" y="1931"/>
                    <a:pt x="1116" y="1931"/>
                    <a:pt x="1116" y="1931"/>
                  </a:cubicBezTo>
                  <a:close/>
                  <a:moveTo>
                    <a:pt x="1121" y="1937"/>
                  </a:moveTo>
                  <a:cubicBezTo>
                    <a:pt x="1121" y="1945"/>
                    <a:pt x="1121" y="1945"/>
                    <a:pt x="1121" y="1945"/>
                  </a:cubicBezTo>
                  <a:cubicBezTo>
                    <a:pt x="1160" y="1945"/>
                    <a:pt x="1160" y="1945"/>
                    <a:pt x="1160" y="1945"/>
                  </a:cubicBezTo>
                  <a:cubicBezTo>
                    <a:pt x="1160" y="1937"/>
                    <a:pt x="1160" y="1937"/>
                    <a:pt x="1160" y="1937"/>
                  </a:cubicBezTo>
                  <a:cubicBezTo>
                    <a:pt x="1121" y="1937"/>
                    <a:pt x="1121" y="1937"/>
                    <a:pt x="1121" y="1937"/>
                  </a:cubicBezTo>
                  <a:close/>
                  <a:moveTo>
                    <a:pt x="1116" y="1904"/>
                  </a:moveTo>
                  <a:cubicBezTo>
                    <a:pt x="1116" y="1925"/>
                    <a:pt x="1116" y="1925"/>
                    <a:pt x="1116" y="1925"/>
                  </a:cubicBezTo>
                  <a:cubicBezTo>
                    <a:pt x="1166" y="1925"/>
                    <a:pt x="1166" y="1925"/>
                    <a:pt x="1166" y="1925"/>
                  </a:cubicBezTo>
                  <a:cubicBezTo>
                    <a:pt x="1166" y="1904"/>
                    <a:pt x="1166" y="1904"/>
                    <a:pt x="1166" y="1904"/>
                  </a:cubicBezTo>
                  <a:cubicBezTo>
                    <a:pt x="1116" y="1904"/>
                    <a:pt x="1116" y="1904"/>
                    <a:pt x="1116" y="1904"/>
                  </a:cubicBezTo>
                  <a:close/>
                  <a:moveTo>
                    <a:pt x="1121" y="1909"/>
                  </a:moveTo>
                  <a:cubicBezTo>
                    <a:pt x="1121" y="1918"/>
                    <a:pt x="1121" y="1918"/>
                    <a:pt x="1121" y="1918"/>
                  </a:cubicBezTo>
                  <a:cubicBezTo>
                    <a:pt x="1160" y="1918"/>
                    <a:pt x="1160" y="1918"/>
                    <a:pt x="1160" y="1918"/>
                  </a:cubicBezTo>
                  <a:cubicBezTo>
                    <a:pt x="1160" y="1909"/>
                    <a:pt x="1160" y="1909"/>
                    <a:pt x="1160" y="1909"/>
                  </a:cubicBezTo>
                  <a:cubicBezTo>
                    <a:pt x="1121" y="1909"/>
                    <a:pt x="1121" y="1909"/>
                    <a:pt x="1121" y="1909"/>
                  </a:cubicBezTo>
                  <a:close/>
                  <a:moveTo>
                    <a:pt x="976" y="1937"/>
                  </a:moveTo>
                  <a:cubicBezTo>
                    <a:pt x="976" y="1945"/>
                    <a:pt x="976" y="1945"/>
                    <a:pt x="976" y="1945"/>
                  </a:cubicBezTo>
                  <a:cubicBezTo>
                    <a:pt x="1090" y="1945"/>
                    <a:pt x="1090" y="1945"/>
                    <a:pt x="1090" y="1945"/>
                  </a:cubicBezTo>
                  <a:cubicBezTo>
                    <a:pt x="1090" y="1937"/>
                    <a:pt x="1090" y="1937"/>
                    <a:pt x="1090" y="1937"/>
                  </a:cubicBezTo>
                  <a:cubicBezTo>
                    <a:pt x="976" y="1937"/>
                    <a:pt x="976" y="1937"/>
                    <a:pt x="976" y="1937"/>
                  </a:cubicBezTo>
                  <a:close/>
                  <a:moveTo>
                    <a:pt x="976" y="1911"/>
                  </a:moveTo>
                  <a:cubicBezTo>
                    <a:pt x="976" y="1918"/>
                    <a:pt x="976" y="1918"/>
                    <a:pt x="976" y="1918"/>
                  </a:cubicBezTo>
                  <a:cubicBezTo>
                    <a:pt x="1091" y="1918"/>
                    <a:pt x="1091" y="1918"/>
                    <a:pt x="1091" y="1918"/>
                  </a:cubicBezTo>
                  <a:cubicBezTo>
                    <a:pt x="1091" y="1911"/>
                    <a:pt x="1091" y="1911"/>
                    <a:pt x="1091" y="1911"/>
                  </a:cubicBezTo>
                  <a:cubicBezTo>
                    <a:pt x="976" y="1911"/>
                    <a:pt x="976" y="1911"/>
                    <a:pt x="976" y="1911"/>
                  </a:cubicBezTo>
                  <a:close/>
                  <a:moveTo>
                    <a:pt x="953" y="1878"/>
                  </a:moveTo>
                  <a:cubicBezTo>
                    <a:pt x="953" y="1887"/>
                    <a:pt x="953" y="1887"/>
                    <a:pt x="953" y="1887"/>
                  </a:cubicBezTo>
                  <a:cubicBezTo>
                    <a:pt x="1090" y="1887"/>
                    <a:pt x="1090" y="1887"/>
                    <a:pt x="1090" y="1887"/>
                  </a:cubicBezTo>
                  <a:cubicBezTo>
                    <a:pt x="1090" y="1878"/>
                    <a:pt x="1090" y="1878"/>
                    <a:pt x="1090" y="1878"/>
                  </a:cubicBezTo>
                  <a:cubicBezTo>
                    <a:pt x="953" y="1878"/>
                    <a:pt x="953" y="1878"/>
                    <a:pt x="953" y="1878"/>
                  </a:cubicBezTo>
                  <a:close/>
                  <a:moveTo>
                    <a:pt x="952" y="1852"/>
                  </a:moveTo>
                  <a:cubicBezTo>
                    <a:pt x="952" y="1860"/>
                    <a:pt x="952" y="1860"/>
                    <a:pt x="952" y="1860"/>
                  </a:cubicBezTo>
                  <a:cubicBezTo>
                    <a:pt x="1090" y="1860"/>
                    <a:pt x="1090" y="1860"/>
                    <a:pt x="1090" y="1860"/>
                  </a:cubicBezTo>
                  <a:cubicBezTo>
                    <a:pt x="1090" y="1852"/>
                    <a:pt x="1090" y="1852"/>
                    <a:pt x="1090" y="1852"/>
                  </a:cubicBezTo>
                  <a:cubicBezTo>
                    <a:pt x="952" y="1852"/>
                    <a:pt x="952" y="1852"/>
                    <a:pt x="952" y="1852"/>
                  </a:cubicBezTo>
                  <a:close/>
                  <a:moveTo>
                    <a:pt x="951" y="1824"/>
                  </a:moveTo>
                  <a:cubicBezTo>
                    <a:pt x="951" y="1832"/>
                    <a:pt x="951" y="1832"/>
                    <a:pt x="951" y="1832"/>
                  </a:cubicBezTo>
                  <a:cubicBezTo>
                    <a:pt x="1090" y="1832"/>
                    <a:pt x="1090" y="1832"/>
                    <a:pt x="1090" y="1832"/>
                  </a:cubicBezTo>
                  <a:cubicBezTo>
                    <a:pt x="1090" y="1824"/>
                    <a:pt x="1090" y="1824"/>
                    <a:pt x="1090" y="1824"/>
                  </a:cubicBezTo>
                  <a:cubicBezTo>
                    <a:pt x="951" y="1824"/>
                    <a:pt x="951" y="1824"/>
                    <a:pt x="951" y="1824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772" y="1835"/>
                  </a:moveTo>
                  <a:cubicBezTo>
                    <a:pt x="772" y="1887"/>
                    <a:pt x="772" y="1887"/>
                    <a:pt x="772" y="1887"/>
                  </a:cubicBezTo>
                  <a:cubicBezTo>
                    <a:pt x="945" y="1887"/>
                    <a:pt x="945" y="1887"/>
                    <a:pt x="945" y="1887"/>
                  </a:cubicBezTo>
                  <a:cubicBezTo>
                    <a:pt x="945" y="1835"/>
                    <a:pt x="945" y="1835"/>
                    <a:pt x="945" y="1835"/>
                  </a:cubicBezTo>
                  <a:cubicBezTo>
                    <a:pt x="772" y="1835"/>
                    <a:pt x="772" y="1835"/>
                    <a:pt x="772" y="1835"/>
                  </a:cubicBezTo>
                  <a:close/>
                  <a:moveTo>
                    <a:pt x="782" y="1893"/>
                  </a:moveTo>
                  <a:cubicBezTo>
                    <a:pt x="766" y="1894"/>
                    <a:pt x="757" y="1900"/>
                    <a:pt x="757" y="1913"/>
                  </a:cubicBezTo>
                  <a:cubicBezTo>
                    <a:pt x="757" y="1944"/>
                    <a:pt x="757" y="1944"/>
                    <a:pt x="757" y="1944"/>
                  </a:cubicBezTo>
                  <a:cubicBezTo>
                    <a:pt x="969" y="1944"/>
                    <a:pt x="969" y="1944"/>
                    <a:pt x="969" y="1944"/>
                  </a:cubicBezTo>
                  <a:cubicBezTo>
                    <a:pt x="969" y="1917"/>
                    <a:pt x="969" y="1917"/>
                    <a:pt x="969" y="1917"/>
                  </a:cubicBezTo>
                  <a:cubicBezTo>
                    <a:pt x="963" y="1907"/>
                    <a:pt x="957" y="1898"/>
                    <a:pt x="942" y="1893"/>
                  </a:cubicBezTo>
                  <a:cubicBezTo>
                    <a:pt x="782" y="1893"/>
                    <a:pt x="782" y="1893"/>
                    <a:pt x="782" y="1893"/>
                  </a:cubicBezTo>
                  <a:close/>
                  <a:moveTo>
                    <a:pt x="1116" y="1850"/>
                  </a:moveTo>
                  <a:cubicBezTo>
                    <a:pt x="1116" y="1871"/>
                    <a:pt x="1116" y="1871"/>
                    <a:pt x="1116" y="1871"/>
                  </a:cubicBezTo>
                  <a:cubicBezTo>
                    <a:pt x="1166" y="1871"/>
                    <a:pt x="1166" y="1871"/>
                    <a:pt x="1166" y="1871"/>
                  </a:cubicBezTo>
                  <a:cubicBezTo>
                    <a:pt x="1166" y="1850"/>
                    <a:pt x="1166" y="1850"/>
                    <a:pt x="1166" y="1850"/>
                  </a:cubicBezTo>
                  <a:cubicBezTo>
                    <a:pt x="1116" y="1850"/>
                    <a:pt x="1116" y="1850"/>
                    <a:pt x="1116" y="1850"/>
                  </a:cubicBezTo>
                  <a:close/>
                  <a:moveTo>
                    <a:pt x="1121" y="1856"/>
                  </a:moveTo>
                  <a:cubicBezTo>
                    <a:pt x="1121" y="1864"/>
                    <a:pt x="1121" y="1864"/>
                    <a:pt x="1121" y="1864"/>
                  </a:cubicBezTo>
                  <a:cubicBezTo>
                    <a:pt x="1160" y="1864"/>
                    <a:pt x="1160" y="1864"/>
                    <a:pt x="1160" y="1864"/>
                  </a:cubicBezTo>
                  <a:cubicBezTo>
                    <a:pt x="1160" y="1856"/>
                    <a:pt x="1160" y="1856"/>
                    <a:pt x="1160" y="1856"/>
                  </a:cubicBezTo>
                  <a:cubicBezTo>
                    <a:pt x="1121" y="1856"/>
                    <a:pt x="1121" y="1856"/>
                    <a:pt x="1121" y="1856"/>
                  </a:cubicBezTo>
                  <a:close/>
                  <a:moveTo>
                    <a:pt x="1116" y="1876"/>
                  </a:moveTo>
                  <a:cubicBezTo>
                    <a:pt x="1116" y="1897"/>
                    <a:pt x="1116" y="1897"/>
                    <a:pt x="1116" y="1897"/>
                  </a:cubicBezTo>
                  <a:cubicBezTo>
                    <a:pt x="1166" y="1897"/>
                    <a:pt x="1166" y="1897"/>
                    <a:pt x="1166" y="1897"/>
                  </a:cubicBezTo>
                  <a:cubicBezTo>
                    <a:pt x="1166" y="1876"/>
                    <a:pt x="1166" y="1876"/>
                    <a:pt x="1166" y="1876"/>
                  </a:cubicBezTo>
                  <a:cubicBezTo>
                    <a:pt x="1116" y="1876"/>
                    <a:pt x="1116" y="1876"/>
                    <a:pt x="1116" y="1876"/>
                  </a:cubicBezTo>
                  <a:close/>
                  <a:moveTo>
                    <a:pt x="1121" y="1881"/>
                  </a:moveTo>
                  <a:cubicBezTo>
                    <a:pt x="1121" y="1890"/>
                    <a:pt x="1121" y="1890"/>
                    <a:pt x="1121" y="1890"/>
                  </a:cubicBezTo>
                  <a:cubicBezTo>
                    <a:pt x="1160" y="1890"/>
                    <a:pt x="1160" y="1890"/>
                    <a:pt x="1160" y="1890"/>
                  </a:cubicBezTo>
                  <a:cubicBezTo>
                    <a:pt x="1160" y="1881"/>
                    <a:pt x="1160" y="1881"/>
                    <a:pt x="1160" y="1881"/>
                  </a:cubicBezTo>
                  <a:cubicBezTo>
                    <a:pt x="1121" y="1881"/>
                    <a:pt x="1121" y="1881"/>
                    <a:pt x="1121" y="1881"/>
                  </a:cubicBezTo>
                  <a:close/>
                  <a:moveTo>
                    <a:pt x="1116" y="1823"/>
                  </a:moveTo>
                  <a:cubicBezTo>
                    <a:pt x="1116" y="1844"/>
                    <a:pt x="1116" y="1844"/>
                    <a:pt x="1116" y="1844"/>
                  </a:cubicBezTo>
                  <a:cubicBezTo>
                    <a:pt x="1166" y="1844"/>
                    <a:pt x="1166" y="1844"/>
                    <a:pt x="1166" y="1844"/>
                  </a:cubicBezTo>
                  <a:cubicBezTo>
                    <a:pt x="1166" y="1823"/>
                    <a:pt x="1166" y="1823"/>
                    <a:pt x="1166" y="1823"/>
                  </a:cubicBezTo>
                  <a:cubicBezTo>
                    <a:pt x="1116" y="1823"/>
                    <a:pt x="1116" y="1823"/>
                    <a:pt x="1116" y="1823"/>
                  </a:cubicBezTo>
                  <a:close/>
                  <a:moveTo>
                    <a:pt x="1121" y="1828"/>
                  </a:moveTo>
                  <a:cubicBezTo>
                    <a:pt x="1121" y="1837"/>
                    <a:pt x="1121" y="1837"/>
                    <a:pt x="1121" y="1837"/>
                  </a:cubicBezTo>
                  <a:cubicBezTo>
                    <a:pt x="1160" y="1837"/>
                    <a:pt x="1160" y="1837"/>
                    <a:pt x="1160" y="1837"/>
                  </a:cubicBezTo>
                  <a:cubicBezTo>
                    <a:pt x="1160" y="1828"/>
                    <a:pt x="1160" y="1828"/>
                    <a:pt x="1160" y="1828"/>
                  </a:cubicBezTo>
                  <a:cubicBezTo>
                    <a:pt x="1121" y="1828"/>
                    <a:pt x="1121" y="1828"/>
                    <a:pt x="1121" y="1828"/>
                  </a:cubicBezTo>
                  <a:close/>
                  <a:moveTo>
                    <a:pt x="1160" y="1803"/>
                  </a:moveTo>
                  <a:cubicBezTo>
                    <a:pt x="1121" y="1803"/>
                    <a:pt x="1121" y="1803"/>
                    <a:pt x="1121" y="1803"/>
                  </a:cubicBezTo>
                  <a:cubicBezTo>
                    <a:pt x="1121" y="1810"/>
                    <a:pt x="1121" y="1810"/>
                    <a:pt x="1121" y="1810"/>
                  </a:cubicBezTo>
                  <a:cubicBezTo>
                    <a:pt x="1160" y="1810"/>
                    <a:pt x="1160" y="1810"/>
                    <a:pt x="1160" y="1810"/>
                  </a:cubicBezTo>
                  <a:cubicBezTo>
                    <a:pt x="1160" y="1803"/>
                    <a:pt x="1160" y="1803"/>
                    <a:pt x="1160" y="1803"/>
                  </a:cubicBezTo>
                  <a:close/>
                  <a:moveTo>
                    <a:pt x="1992" y="1687"/>
                  </a:moveTo>
                  <a:cubicBezTo>
                    <a:pt x="1984" y="1687"/>
                    <a:pt x="1984" y="1687"/>
                    <a:pt x="1984" y="1687"/>
                  </a:cubicBezTo>
                  <a:cubicBezTo>
                    <a:pt x="1984" y="1744"/>
                    <a:pt x="1984" y="1744"/>
                    <a:pt x="1984" y="1744"/>
                  </a:cubicBezTo>
                  <a:cubicBezTo>
                    <a:pt x="1992" y="1736"/>
                    <a:pt x="1992" y="1736"/>
                    <a:pt x="1992" y="1736"/>
                  </a:cubicBezTo>
                  <a:cubicBezTo>
                    <a:pt x="1992" y="1687"/>
                    <a:pt x="1992" y="1687"/>
                    <a:pt x="1992" y="1687"/>
                  </a:cubicBezTo>
                  <a:close/>
                  <a:moveTo>
                    <a:pt x="1979" y="1687"/>
                  </a:moveTo>
                  <a:cubicBezTo>
                    <a:pt x="1971" y="1687"/>
                    <a:pt x="1971" y="1687"/>
                    <a:pt x="1971" y="1687"/>
                  </a:cubicBezTo>
                  <a:cubicBezTo>
                    <a:pt x="1971" y="1760"/>
                    <a:pt x="1971" y="1760"/>
                    <a:pt x="1971" y="1760"/>
                  </a:cubicBezTo>
                  <a:cubicBezTo>
                    <a:pt x="1979" y="1760"/>
                    <a:pt x="1979" y="1760"/>
                    <a:pt x="1979" y="1760"/>
                  </a:cubicBezTo>
                  <a:cubicBezTo>
                    <a:pt x="1979" y="1687"/>
                    <a:pt x="1979" y="1687"/>
                    <a:pt x="1979" y="1687"/>
                  </a:cubicBezTo>
                  <a:close/>
                  <a:moveTo>
                    <a:pt x="2103" y="1731"/>
                  </a:moveTo>
                  <a:cubicBezTo>
                    <a:pt x="2003" y="1731"/>
                    <a:pt x="2003" y="1731"/>
                    <a:pt x="2003" y="1731"/>
                  </a:cubicBezTo>
                  <a:cubicBezTo>
                    <a:pt x="1983" y="1760"/>
                    <a:pt x="1983" y="1760"/>
                    <a:pt x="1983" y="1760"/>
                  </a:cubicBezTo>
                  <a:cubicBezTo>
                    <a:pt x="2121" y="1760"/>
                    <a:pt x="2121" y="1760"/>
                    <a:pt x="2121" y="1760"/>
                  </a:cubicBezTo>
                  <a:cubicBezTo>
                    <a:pt x="2122" y="1758"/>
                    <a:pt x="2123" y="1757"/>
                    <a:pt x="2124" y="1755"/>
                  </a:cubicBezTo>
                  <a:cubicBezTo>
                    <a:pt x="2103" y="1731"/>
                    <a:pt x="2103" y="1731"/>
                    <a:pt x="2103" y="1731"/>
                  </a:cubicBezTo>
                  <a:close/>
                  <a:moveTo>
                    <a:pt x="2020" y="1622"/>
                  </a:moveTo>
                  <a:cubicBezTo>
                    <a:pt x="1999" y="1622"/>
                    <a:pt x="1999" y="1622"/>
                    <a:pt x="1999" y="1622"/>
                  </a:cubicBezTo>
                  <a:cubicBezTo>
                    <a:pt x="1999" y="1724"/>
                    <a:pt x="1999" y="1724"/>
                    <a:pt x="1999" y="1724"/>
                  </a:cubicBezTo>
                  <a:cubicBezTo>
                    <a:pt x="2020" y="1724"/>
                    <a:pt x="2020" y="1724"/>
                    <a:pt x="2020" y="1724"/>
                  </a:cubicBezTo>
                  <a:cubicBezTo>
                    <a:pt x="2020" y="1622"/>
                    <a:pt x="2020" y="1622"/>
                    <a:pt x="2020" y="1622"/>
                  </a:cubicBezTo>
                  <a:close/>
                  <a:moveTo>
                    <a:pt x="2104" y="1622"/>
                  </a:moveTo>
                  <a:cubicBezTo>
                    <a:pt x="2082" y="1622"/>
                    <a:pt x="2082" y="1622"/>
                    <a:pt x="2082" y="1622"/>
                  </a:cubicBezTo>
                  <a:cubicBezTo>
                    <a:pt x="2082" y="1724"/>
                    <a:pt x="2082" y="1724"/>
                    <a:pt x="2082" y="1724"/>
                  </a:cubicBezTo>
                  <a:cubicBezTo>
                    <a:pt x="2104" y="1724"/>
                    <a:pt x="2104" y="1724"/>
                    <a:pt x="2104" y="1724"/>
                  </a:cubicBezTo>
                  <a:cubicBezTo>
                    <a:pt x="2104" y="1622"/>
                    <a:pt x="2104" y="1622"/>
                    <a:pt x="2104" y="1622"/>
                  </a:cubicBezTo>
                  <a:close/>
                  <a:moveTo>
                    <a:pt x="2088" y="1581"/>
                  </a:moveTo>
                  <a:cubicBezTo>
                    <a:pt x="2010" y="1581"/>
                    <a:pt x="2010" y="1581"/>
                    <a:pt x="2010" y="1581"/>
                  </a:cubicBezTo>
                  <a:cubicBezTo>
                    <a:pt x="2010" y="1615"/>
                    <a:pt x="2010" y="1615"/>
                    <a:pt x="2010" y="1615"/>
                  </a:cubicBezTo>
                  <a:cubicBezTo>
                    <a:pt x="2026" y="1615"/>
                    <a:pt x="2026" y="1615"/>
                    <a:pt x="2026" y="1615"/>
                  </a:cubicBezTo>
                  <a:cubicBezTo>
                    <a:pt x="2026" y="1638"/>
                    <a:pt x="2026" y="1638"/>
                    <a:pt x="2026" y="1638"/>
                  </a:cubicBezTo>
                  <a:cubicBezTo>
                    <a:pt x="2072" y="1638"/>
                    <a:pt x="2072" y="1638"/>
                    <a:pt x="2072" y="1638"/>
                  </a:cubicBezTo>
                  <a:cubicBezTo>
                    <a:pt x="2072" y="1615"/>
                    <a:pt x="2072" y="1615"/>
                    <a:pt x="2072" y="1615"/>
                  </a:cubicBezTo>
                  <a:cubicBezTo>
                    <a:pt x="2088" y="1615"/>
                    <a:pt x="2088" y="1615"/>
                    <a:pt x="2088" y="1615"/>
                  </a:cubicBezTo>
                  <a:cubicBezTo>
                    <a:pt x="2088" y="1581"/>
                    <a:pt x="2088" y="1581"/>
                    <a:pt x="2088" y="1581"/>
                  </a:cubicBezTo>
                  <a:close/>
                  <a:moveTo>
                    <a:pt x="369" y="1687"/>
                  </a:moveTo>
                  <a:cubicBezTo>
                    <a:pt x="369" y="1736"/>
                    <a:pt x="369" y="1736"/>
                    <a:pt x="369" y="1736"/>
                  </a:cubicBezTo>
                  <a:cubicBezTo>
                    <a:pt x="376" y="1744"/>
                    <a:pt x="376" y="1744"/>
                    <a:pt x="376" y="1744"/>
                  </a:cubicBezTo>
                  <a:cubicBezTo>
                    <a:pt x="376" y="1687"/>
                    <a:pt x="376" y="1687"/>
                    <a:pt x="376" y="1687"/>
                  </a:cubicBezTo>
                  <a:cubicBezTo>
                    <a:pt x="369" y="1687"/>
                    <a:pt x="369" y="1687"/>
                    <a:pt x="369" y="1687"/>
                  </a:cubicBezTo>
                  <a:close/>
                  <a:moveTo>
                    <a:pt x="382" y="1687"/>
                  </a:moveTo>
                  <a:cubicBezTo>
                    <a:pt x="382" y="1760"/>
                    <a:pt x="382" y="1760"/>
                    <a:pt x="382" y="1760"/>
                  </a:cubicBezTo>
                  <a:cubicBezTo>
                    <a:pt x="389" y="1760"/>
                    <a:pt x="389" y="1760"/>
                    <a:pt x="389" y="1760"/>
                  </a:cubicBezTo>
                  <a:cubicBezTo>
                    <a:pt x="389" y="1687"/>
                    <a:pt x="389" y="1687"/>
                    <a:pt x="389" y="1687"/>
                  </a:cubicBezTo>
                  <a:cubicBezTo>
                    <a:pt x="382" y="1687"/>
                    <a:pt x="382" y="1687"/>
                    <a:pt x="382" y="1687"/>
                  </a:cubicBezTo>
                  <a:close/>
                  <a:moveTo>
                    <a:pt x="257" y="1731"/>
                  </a:moveTo>
                  <a:cubicBezTo>
                    <a:pt x="233" y="1760"/>
                    <a:pt x="233" y="1760"/>
                    <a:pt x="233" y="1760"/>
                  </a:cubicBezTo>
                  <a:cubicBezTo>
                    <a:pt x="377" y="1760"/>
                    <a:pt x="377" y="1760"/>
                    <a:pt x="377" y="1760"/>
                  </a:cubicBezTo>
                  <a:cubicBezTo>
                    <a:pt x="358" y="1731"/>
                    <a:pt x="358" y="1731"/>
                    <a:pt x="358" y="1731"/>
                  </a:cubicBezTo>
                  <a:cubicBezTo>
                    <a:pt x="257" y="1731"/>
                    <a:pt x="257" y="1731"/>
                    <a:pt x="257" y="1731"/>
                  </a:cubicBezTo>
                  <a:close/>
                  <a:moveTo>
                    <a:pt x="340" y="1622"/>
                  </a:moveTo>
                  <a:cubicBezTo>
                    <a:pt x="340" y="1724"/>
                    <a:pt x="340" y="1724"/>
                    <a:pt x="340" y="1724"/>
                  </a:cubicBezTo>
                  <a:cubicBezTo>
                    <a:pt x="362" y="1724"/>
                    <a:pt x="362" y="1724"/>
                    <a:pt x="362" y="1724"/>
                  </a:cubicBezTo>
                  <a:cubicBezTo>
                    <a:pt x="362" y="1622"/>
                    <a:pt x="362" y="1622"/>
                    <a:pt x="362" y="1622"/>
                  </a:cubicBezTo>
                  <a:cubicBezTo>
                    <a:pt x="340" y="1622"/>
                    <a:pt x="340" y="1622"/>
                    <a:pt x="340" y="1622"/>
                  </a:cubicBezTo>
                  <a:close/>
                  <a:moveTo>
                    <a:pt x="257" y="1622"/>
                  </a:moveTo>
                  <a:cubicBezTo>
                    <a:pt x="257" y="1724"/>
                    <a:pt x="257" y="1724"/>
                    <a:pt x="257" y="1724"/>
                  </a:cubicBezTo>
                  <a:cubicBezTo>
                    <a:pt x="279" y="1724"/>
                    <a:pt x="279" y="1724"/>
                    <a:pt x="279" y="1724"/>
                  </a:cubicBezTo>
                  <a:cubicBezTo>
                    <a:pt x="279" y="1622"/>
                    <a:pt x="279" y="1622"/>
                    <a:pt x="279" y="1622"/>
                  </a:cubicBezTo>
                  <a:cubicBezTo>
                    <a:pt x="257" y="1622"/>
                    <a:pt x="257" y="1622"/>
                    <a:pt x="257" y="1622"/>
                  </a:cubicBezTo>
                  <a:close/>
                  <a:moveTo>
                    <a:pt x="273" y="1581"/>
                  </a:moveTo>
                  <a:cubicBezTo>
                    <a:pt x="273" y="1615"/>
                    <a:pt x="273" y="1615"/>
                    <a:pt x="273" y="1615"/>
                  </a:cubicBezTo>
                  <a:cubicBezTo>
                    <a:pt x="289" y="1615"/>
                    <a:pt x="289" y="1615"/>
                    <a:pt x="289" y="1615"/>
                  </a:cubicBezTo>
                  <a:cubicBezTo>
                    <a:pt x="289" y="1638"/>
                    <a:pt x="289" y="1638"/>
                    <a:pt x="289" y="1638"/>
                  </a:cubicBezTo>
                  <a:cubicBezTo>
                    <a:pt x="334" y="1638"/>
                    <a:pt x="334" y="1638"/>
                    <a:pt x="334" y="1638"/>
                  </a:cubicBezTo>
                  <a:cubicBezTo>
                    <a:pt x="334" y="1615"/>
                    <a:pt x="334" y="1615"/>
                    <a:pt x="334" y="1615"/>
                  </a:cubicBezTo>
                  <a:cubicBezTo>
                    <a:pt x="350" y="1615"/>
                    <a:pt x="350" y="1615"/>
                    <a:pt x="350" y="1615"/>
                  </a:cubicBezTo>
                  <a:cubicBezTo>
                    <a:pt x="350" y="1581"/>
                    <a:pt x="350" y="1581"/>
                    <a:pt x="350" y="1581"/>
                  </a:cubicBezTo>
                  <a:cubicBezTo>
                    <a:pt x="273" y="1581"/>
                    <a:pt x="273" y="1581"/>
                    <a:pt x="273" y="1581"/>
                  </a:cubicBezTo>
                  <a:close/>
                  <a:moveTo>
                    <a:pt x="844" y="1797"/>
                  </a:moveTo>
                  <a:cubicBezTo>
                    <a:pt x="844" y="1762"/>
                    <a:pt x="844" y="1762"/>
                    <a:pt x="844" y="1762"/>
                  </a:cubicBezTo>
                  <a:cubicBezTo>
                    <a:pt x="891" y="1762"/>
                    <a:pt x="891" y="1762"/>
                    <a:pt x="891" y="1762"/>
                  </a:cubicBezTo>
                  <a:cubicBezTo>
                    <a:pt x="891" y="1797"/>
                    <a:pt x="891" y="1797"/>
                    <a:pt x="891" y="1797"/>
                  </a:cubicBezTo>
                  <a:cubicBezTo>
                    <a:pt x="844" y="1797"/>
                    <a:pt x="844" y="1797"/>
                    <a:pt x="844" y="1797"/>
                  </a:cubicBezTo>
                  <a:close/>
                  <a:moveTo>
                    <a:pt x="917" y="1797"/>
                  </a:moveTo>
                  <a:cubicBezTo>
                    <a:pt x="917" y="1762"/>
                    <a:pt x="917" y="1762"/>
                    <a:pt x="917" y="1762"/>
                  </a:cubicBezTo>
                  <a:cubicBezTo>
                    <a:pt x="970" y="1762"/>
                    <a:pt x="970" y="1762"/>
                    <a:pt x="970" y="1762"/>
                  </a:cubicBezTo>
                  <a:cubicBezTo>
                    <a:pt x="970" y="1797"/>
                    <a:pt x="970" y="1797"/>
                    <a:pt x="970" y="1797"/>
                  </a:cubicBezTo>
                  <a:cubicBezTo>
                    <a:pt x="917" y="1797"/>
                    <a:pt x="917" y="1797"/>
                    <a:pt x="917" y="1797"/>
                  </a:cubicBezTo>
                  <a:close/>
                  <a:moveTo>
                    <a:pt x="996" y="1797"/>
                  </a:moveTo>
                  <a:cubicBezTo>
                    <a:pt x="996" y="1759"/>
                    <a:pt x="996" y="1759"/>
                    <a:pt x="996" y="1759"/>
                  </a:cubicBezTo>
                  <a:cubicBezTo>
                    <a:pt x="1047" y="1759"/>
                    <a:pt x="1047" y="1759"/>
                    <a:pt x="1047" y="1759"/>
                  </a:cubicBezTo>
                  <a:cubicBezTo>
                    <a:pt x="1047" y="1797"/>
                    <a:pt x="1047" y="1797"/>
                    <a:pt x="1047" y="1797"/>
                  </a:cubicBezTo>
                  <a:cubicBezTo>
                    <a:pt x="996" y="1797"/>
                    <a:pt x="996" y="1797"/>
                    <a:pt x="996" y="1797"/>
                  </a:cubicBezTo>
                  <a:close/>
                  <a:moveTo>
                    <a:pt x="1315" y="1797"/>
                  </a:moveTo>
                  <a:cubicBezTo>
                    <a:pt x="1315" y="1759"/>
                    <a:pt x="1315" y="1759"/>
                    <a:pt x="1315" y="1759"/>
                  </a:cubicBezTo>
                  <a:cubicBezTo>
                    <a:pt x="1365" y="1759"/>
                    <a:pt x="1365" y="1759"/>
                    <a:pt x="1365" y="1759"/>
                  </a:cubicBezTo>
                  <a:cubicBezTo>
                    <a:pt x="1365" y="1797"/>
                    <a:pt x="1365" y="1797"/>
                    <a:pt x="1365" y="1797"/>
                  </a:cubicBezTo>
                  <a:cubicBezTo>
                    <a:pt x="1315" y="1797"/>
                    <a:pt x="1315" y="1797"/>
                    <a:pt x="1315" y="1797"/>
                  </a:cubicBezTo>
                  <a:close/>
                  <a:moveTo>
                    <a:pt x="1392" y="1797"/>
                  </a:moveTo>
                  <a:cubicBezTo>
                    <a:pt x="1392" y="1762"/>
                    <a:pt x="1392" y="1762"/>
                    <a:pt x="1392" y="1762"/>
                  </a:cubicBezTo>
                  <a:cubicBezTo>
                    <a:pt x="1444" y="1762"/>
                    <a:pt x="1444" y="1762"/>
                    <a:pt x="1444" y="1762"/>
                  </a:cubicBezTo>
                  <a:cubicBezTo>
                    <a:pt x="1444" y="1797"/>
                    <a:pt x="1444" y="1797"/>
                    <a:pt x="1444" y="1797"/>
                  </a:cubicBezTo>
                  <a:cubicBezTo>
                    <a:pt x="1392" y="1797"/>
                    <a:pt x="1392" y="1797"/>
                    <a:pt x="1392" y="1797"/>
                  </a:cubicBezTo>
                  <a:close/>
                  <a:moveTo>
                    <a:pt x="1471" y="1797"/>
                  </a:moveTo>
                  <a:cubicBezTo>
                    <a:pt x="1471" y="1762"/>
                    <a:pt x="1471" y="1762"/>
                    <a:pt x="1471" y="1762"/>
                  </a:cubicBezTo>
                  <a:cubicBezTo>
                    <a:pt x="1517" y="1762"/>
                    <a:pt x="1517" y="1762"/>
                    <a:pt x="1517" y="1762"/>
                  </a:cubicBezTo>
                  <a:cubicBezTo>
                    <a:pt x="1517" y="1797"/>
                    <a:pt x="1517" y="1797"/>
                    <a:pt x="1517" y="1797"/>
                  </a:cubicBezTo>
                  <a:cubicBezTo>
                    <a:pt x="1471" y="1797"/>
                    <a:pt x="1471" y="1797"/>
                    <a:pt x="1471" y="1797"/>
                  </a:cubicBezTo>
                  <a:close/>
                  <a:moveTo>
                    <a:pt x="1453" y="1280"/>
                  </a:moveTo>
                  <a:cubicBezTo>
                    <a:pt x="1452" y="1273"/>
                    <a:pt x="1452" y="1266"/>
                    <a:pt x="1452" y="1259"/>
                  </a:cubicBezTo>
                  <a:cubicBezTo>
                    <a:pt x="1478" y="1240"/>
                    <a:pt x="1502" y="1221"/>
                    <a:pt x="1522" y="1192"/>
                  </a:cubicBezTo>
                  <a:cubicBezTo>
                    <a:pt x="1540" y="1166"/>
                    <a:pt x="1558" y="1163"/>
                    <a:pt x="1576" y="1187"/>
                  </a:cubicBezTo>
                  <a:cubicBezTo>
                    <a:pt x="1591" y="1210"/>
                    <a:pt x="1605" y="1233"/>
                    <a:pt x="1620" y="1256"/>
                  </a:cubicBezTo>
                  <a:cubicBezTo>
                    <a:pt x="1636" y="1272"/>
                    <a:pt x="1662" y="1281"/>
                    <a:pt x="1688" y="1234"/>
                  </a:cubicBezTo>
                  <a:cubicBezTo>
                    <a:pt x="1699" y="1214"/>
                    <a:pt x="1707" y="1195"/>
                    <a:pt x="1718" y="1173"/>
                  </a:cubicBezTo>
                  <a:cubicBezTo>
                    <a:pt x="1735" y="1143"/>
                    <a:pt x="1751" y="1169"/>
                    <a:pt x="1763" y="1204"/>
                  </a:cubicBezTo>
                  <a:cubicBezTo>
                    <a:pt x="1766" y="1217"/>
                    <a:pt x="1782" y="1230"/>
                    <a:pt x="1827" y="1239"/>
                  </a:cubicBezTo>
                  <a:cubicBezTo>
                    <a:pt x="1846" y="1255"/>
                    <a:pt x="1863" y="1275"/>
                    <a:pt x="1875" y="1302"/>
                  </a:cubicBezTo>
                  <a:cubicBezTo>
                    <a:pt x="1884" y="1335"/>
                    <a:pt x="1893" y="1368"/>
                    <a:pt x="1902" y="1402"/>
                  </a:cubicBezTo>
                  <a:cubicBezTo>
                    <a:pt x="1908" y="1429"/>
                    <a:pt x="1910" y="1484"/>
                    <a:pt x="1912" y="1521"/>
                  </a:cubicBezTo>
                  <a:cubicBezTo>
                    <a:pt x="1902" y="1544"/>
                    <a:pt x="1891" y="1566"/>
                    <a:pt x="1879" y="1588"/>
                  </a:cubicBezTo>
                  <a:cubicBezTo>
                    <a:pt x="1843" y="1562"/>
                    <a:pt x="1843" y="1562"/>
                    <a:pt x="1843" y="1562"/>
                  </a:cubicBezTo>
                  <a:cubicBezTo>
                    <a:pt x="1843" y="1536"/>
                    <a:pt x="1843" y="1536"/>
                    <a:pt x="1843" y="1536"/>
                  </a:cubicBezTo>
                  <a:cubicBezTo>
                    <a:pt x="1824" y="1537"/>
                    <a:pt x="1824" y="1537"/>
                    <a:pt x="1824" y="1537"/>
                  </a:cubicBezTo>
                  <a:cubicBezTo>
                    <a:pt x="1824" y="1546"/>
                    <a:pt x="1824" y="1546"/>
                    <a:pt x="1824" y="1546"/>
                  </a:cubicBezTo>
                  <a:cubicBezTo>
                    <a:pt x="1809" y="1546"/>
                    <a:pt x="1809" y="1546"/>
                    <a:pt x="1809" y="1546"/>
                  </a:cubicBezTo>
                  <a:cubicBezTo>
                    <a:pt x="1809" y="1562"/>
                    <a:pt x="1809" y="1562"/>
                    <a:pt x="1809" y="1562"/>
                  </a:cubicBezTo>
                  <a:cubicBezTo>
                    <a:pt x="1527" y="1562"/>
                    <a:pt x="1527" y="1562"/>
                    <a:pt x="1527" y="1562"/>
                  </a:cubicBezTo>
                  <a:cubicBezTo>
                    <a:pt x="1527" y="1484"/>
                    <a:pt x="1527" y="1484"/>
                    <a:pt x="1527" y="1484"/>
                  </a:cubicBezTo>
                  <a:cubicBezTo>
                    <a:pt x="1556" y="1463"/>
                    <a:pt x="1573" y="1433"/>
                    <a:pt x="1587" y="1400"/>
                  </a:cubicBezTo>
                  <a:cubicBezTo>
                    <a:pt x="1567" y="1416"/>
                    <a:pt x="1547" y="1427"/>
                    <a:pt x="1524" y="1433"/>
                  </a:cubicBezTo>
                  <a:cubicBezTo>
                    <a:pt x="1520" y="1363"/>
                    <a:pt x="1493" y="1322"/>
                    <a:pt x="1468" y="1304"/>
                  </a:cubicBezTo>
                  <a:cubicBezTo>
                    <a:pt x="1474" y="1293"/>
                    <a:pt x="1480" y="1281"/>
                    <a:pt x="1486" y="1269"/>
                  </a:cubicBezTo>
                  <a:cubicBezTo>
                    <a:pt x="1475" y="1274"/>
                    <a:pt x="1464" y="1278"/>
                    <a:pt x="1453" y="1280"/>
                  </a:cubicBezTo>
                  <a:close/>
                  <a:moveTo>
                    <a:pt x="1927" y="1483"/>
                  </a:moveTo>
                  <a:cubicBezTo>
                    <a:pt x="1926" y="1441"/>
                    <a:pt x="1917" y="1397"/>
                    <a:pt x="1911" y="1358"/>
                  </a:cubicBezTo>
                  <a:cubicBezTo>
                    <a:pt x="1897" y="1323"/>
                    <a:pt x="1889" y="1291"/>
                    <a:pt x="1861" y="1250"/>
                  </a:cubicBezTo>
                  <a:cubicBezTo>
                    <a:pt x="1839" y="1216"/>
                    <a:pt x="1815" y="1216"/>
                    <a:pt x="1791" y="1215"/>
                  </a:cubicBezTo>
                  <a:cubicBezTo>
                    <a:pt x="1772" y="1197"/>
                    <a:pt x="1771" y="1182"/>
                    <a:pt x="1766" y="1167"/>
                  </a:cubicBezTo>
                  <a:cubicBezTo>
                    <a:pt x="1746" y="1132"/>
                    <a:pt x="1713" y="1119"/>
                    <a:pt x="1678" y="1227"/>
                  </a:cubicBezTo>
                  <a:cubicBezTo>
                    <a:pt x="1665" y="1243"/>
                    <a:pt x="1652" y="1256"/>
                    <a:pt x="1638" y="1249"/>
                  </a:cubicBezTo>
                  <a:cubicBezTo>
                    <a:pt x="1613" y="1224"/>
                    <a:pt x="1604" y="1202"/>
                    <a:pt x="1592" y="1180"/>
                  </a:cubicBezTo>
                  <a:cubicBezTo>
                    <a:pt x="1560" y="1144"/>
                    <a:pt x="1535" y="1148"/>
                    <a:pt x="1514" y="1178"/>
                  </a:cubicBezTo>
                  <a:cubicBezTo>
                    <a:pt x="1490" y="1203"/>
                    <a:pt x="1467" y="1228"/>
                    <a:pt x="1450" y="1238"/>
                  </a:cubicBezTo>
                  <a:cubicBezTo>
                    <a:pt x="1450" y="1222"/>
                    <a:pt x="1449" y="1204"/>
                    <a:pt x="1448" y="1189"/>
                  </a:cubicBezTo>
                  <a:cubicBezTo>
                    <a:pt x="1488" y="1154"/>
                    <a:pt x="1521" y="1118"/>
                    <a:pt x="1551" y="1086"/>
                  </a:cubicBezTo>
                  <a:cubicBezTo>
                    <a:pt x="1566" y="1069"/>
                    <a:pt x="1587" y="1068"/>
                    <a:pt x="1611" y="1086"/>
                  </a:cubicBezTo>
                  <a:cubicBezTo>
                    <a:pt x="1625" y="1095"/>
                    <a:pt x="1644" y="1085"/>
                    <a:pt x="1653" y="1060"/>
                  </a:cubicBezTo>
                  <a:cubicBezTo>
                    <a:pt x="1661" y="1036"/>
                    <a:pt x="1659" y="1014"/>
                    <a:pt x="1671" y="989"/>
                  </a:cubicBezTo>
                  <a:cubicBezTo>
                    <a:pt x="1674" y="987"/>
                    <a:pt x="1676" y="986"/>
                    <a:pt x="1679" y="984"/>
                  </a:cubicBezTo>
                  <a:cubicBezTo>
                    <a:pt x="1688" y="995"/>
                    <a:pt x="1698" y="1004"/>
                    <a:pt x="1714" y="1005"/>
                  </a:cubicBezTo>
                  <a:cubicBezTo>
                    <a:pt x="1721" y="1026"/>
                    <a:pt x="1729" y="1045"/>
                    <a:pt x="1740" y="1063"/>
                  </a:cubicBezTo>
                  <a:cubicBezTo>
                    <a:pt x="1767" y="1046"/>
                    <a:pt x="1789" y="1040"/>
                    <a:pt x="1798" y="1059"/>
                  </a:cubicBezTo>
                  <a:cubicBezTo>
                    <a:pt x="1812" y="1077"/>
                    <a:pt x="1814" y="1101"/>
                    <a:pt x="1813" y="1126"/>
                  </a:cubicBezTo>
                  <a:cubicBezTo>
                    <a:pt x="1818" y="1144"/>
                    <a:pt x="1826" y="1156"/>
                    <a:pt x="1851" y="1130"/>
                  </a:cubicBezTo>
                  <a:cubicBezTo>
                    <a:pt x="1868" y="1113"/>
                    <a:pt x="1878" y="1114"/>
                    <a:pt x="1889" y="1132"/>
                  </a:cubicBezTo>
                  <a:cubicBezTo>
                    <a:pt x="1901" y="1152"/>
                    <a:pt x="1915" y="1171"/>
                    <a:pt x="1929" y="1191"/>
                  </a:cubicBezTo>
                  <a:cubicBezTo>
                    <a:pt x="1942" y="1202"/>
                    <a:pt x="1959" y="1209"/>
                    <a:pt x="1978" y="1214"/>
                  </a:cubicBezTo>
                  <a:cubicBezTo>
                    <a:pt x="1977" y="1309"/>
                    <a:pt x="1959" y="1399"/>
                    <a:pt x="1927" y="1483"/>
                  </a:cubicBezTo>
                  <a:close/>
                  <a:moveTo>
                    <a:pt x="1978" y="1197"/>
                  </a:moveTo>
                  <a:cubicBezTo>
                    <a:pt x="1937" y="1191"/>
                    <a:pt x="1920" y="1153"/>
                    <a:pt x="1901" y="1118"/>
                  </a:cubicBezTo>
                  <a:cubicBezTo>
                    <a:pt x="1880" y="1087"/>
                    <a:pt x="1855" y="1103"/>
                    <a:pt x="1830" y="1126"/>
                  </a:cubicBezTo>
                  <a:cubicBezTo>
                    <a:pt x="1830" y="1095"/>
                    <a:pt x="1824" y="1071"/>
                    <a:pt x="1815" y="1053"/>
                  </a:cubicBezTo>
                  <a:cubicBezTo>
                    <a:pt x="1798" y="1021"/>
                    <a:pt x="1774" y="1020"/>
                    <a:pt x="1745" y="1040"/>
                  </a:cubicBezTo>
                  <a:cubicBezTo>
                    <a:pt x="1735" y="1024"/>
                    <a:pt x="1728" y="1009"/>
                    <a:pt x="1729" y="993"/>
                  </a:cubicBezTo>
                  <a:cubicBezTo>
                    <a:pt x="1726" y="991"/>
                    <a:pt x="1722" y="990"/>
                    <a:pt x="1719" y="989"/>
                  </a:cubicBezTo>
                  <a:cubicBezTo>
                    <a:pt x="1705" y="988"/>
                    <a:pt x="1697" y="981"/>
                    <a:pt x="1690" y="973"/>
                  </a:cubicBezTo>
                  <a:cubicBezTo>
                    <a:pt x="1683" y="964"/>
                    <a:pt x="1669" y="957"/>
                    <a:pt x="1659" y="974"/>
                  </a:cubicBezTo>
                  <a:cubicBezTo>
                    <a:pt x="1645" y="997"/>
                    <a:pt x="1644" y="1023"/>
                    <a:pt x="1640" y="1048"/>
                  </a:cubicBezTo>
                  <a:cubicBezTo>
                    <a:pt x="1633" y="1066"/>
                    <a:pt x="1626" y="1078"/>
                    <a:pt x="1605" y="1063"/>
                  </a:cubicBezTo>
                  <a:cubicBezTo>
                    <a:pt x="1580" y="1045"/>
                    <a:pt x="1554" y="1055"/>
                    <a:pt x="1531" y="1086"/>
                  </a:cubicBezTo>
                  <a:cubicBezTo>
                    <a:pt x="1506" y="1113"/>
                    <a:pt x="1479" y="1140"/>
                    <a:pt x="1449" y="1167"/>
                  </a:cubicBezTo>
                  <a:cubicBezTo>
                    <a:pt x="1441" y="1093"/>
                    <a:pt x="1431" y="1018"/>
                    <a:pt x="1424" y="944"/>
                  </a:cubicBezTo>
                  <a:cubicBezTo>
                    <a:pt x="1421" y="908"/>
                    <a:pt x="1407" y="877"/>
                    <a:pt x="1378" y="850"/>
                  </a:cubicBezTo>
                  <a:cubicBezTo>
                    <a:pt x="1380" y="849"/>
                    <a:pt x="1381" y="848"/>
                    <a:pt x="1383" y="847"/>
                  </a:cubicBezTo>
                  <a:cubicBezTo>
                    <a:pt x="1381" y="767"/>
                    <a:pt x="1370" y="738"/>
                    <a:pt x="1335" y="691"/>
                  </a:cubicBezTo>
                  <a:cubicBezTo>
                    <a:pt x="1325" y="651"/>
                    <a:pt x="1311" y="610"/>
                    <a:pt x="1272" y="572"/>
                  </a:cubicBezTo>
                  <a:cubicBezTo>
                    <a:pt x="1268" y="556"/>
                    <a:pt x="1259" y="527"/>
                    <a:pt x="1223" y="531"/>
                  </a:cubicBezTo>
                  <a:cubicBezTo>
                    <a:pt x="1215" y="532"/>
                    <a:pt x="1207" y="533"/>
                    <a:pt x="1199" y="535"/>
                  </a:cubicBezTo>
                  <a:cubicBezTo>
                    <a:pt x="1199" y="495"/>
                    <a:pt x="1199" y="495"/>
                    <a:pt x="1199" y="495"/>
                  </a:cubicBezTo>
                  <a:cubicBezTo>
                    <a:pt x="1184" y="495"/>
                    <a:pt x="1184" y="495"/>
                    <a:pt x="1184" y="495"/>
                  </a:cubicBezTo>
                  <a:cubicBezTo>
                    <a:pt x="1184" y="482"/>
                    <a:pt x="1184" y="482"/>
                    <a:pt x="1184" y="482"/>
                  </a:cubicBezTo>
                  <a:cubicBezTo>
                    <a:pt x="1195" y="481"/>
                    <a:pt x="1205" y="468"/>
                    <a:pt x="1205" y="459"/>
                  </a:cubicBezTo>
                  <a:cubicBezTo>
                    <a:pt x="1200" y="462"/>
                    <a:pt x="1190" y="465"/>
                    <a:pt x="1187" y="460"/>
                  </a:cubicBezTo>
                  <a:cubicBezTo>
                    <a:pt x="1183" y="453"/>
                    <a:pt x="1177" y="449"/>
                    <a:pt x="1170" y="439"/>
                  </a:cubicBezTo>
                  <a:cubicBezTo>
                    <a:pt x="1170" y="426"/>
                    <a:pt x="1170" y="426"/>
                    <a:pt x="1170" y="426"/>
                  </a:cubicBezTo>
                  <a:cubicBezTo>
                    <a:pt x="1162" y="426"/>
                    <a:pt x="1162" y="426"/>
                    <a:pt x="1162" y="426"/>
                  </a:cubicBezTo>
                  <a:cubicBezTo>
                    <a:pt x="1162" y="439"/>
                    <a:pt x="1162" y="439"/>
                    <a:pt x="1162" y="439"/>
                  </a:cubicBezTo>
                  <a:cubicBezTo>
                    <a:pt x="1142" y="465"/>
                    <a:pt x="1142" y="465"/>
                    <a:pt x="1142" y="465"/>
                  </a:cubicBezTo>
                  <a:cubicBezTo>
                    <a:pt x="1126" y="459"/>
                    <a:pt x="1126" y="459"/>
                    <a:pt x="1126" y="459"/>
                  </a:cubicBezTo>
                  <a:cubicBezTo>
                    <a:pt x="1130" y="469"/>
                    <a:pt x="1136" y="477"/>
                    <a:pt x="1146" y="484"/>
                  </a:cubicBezTo>
                  <a:cubicBezTo>
                    <a:pt x="1146" y="495"/>
                    <a:pt x="1146" y="495"/>
                    <a:pt x="1146" y="495"/>
                  </a:cubicBezTo>
                  <a:cubicBezTo>
                    <a:pt x="1133" y="495"/>
                    <a:pt x="1133" y="495"/>
                    <a:pt x="1133" y="495"/>
                  </a:cubicBezTo>
                  <a:cubicBezTo>
                    <a:pt x="1133" y="556"/>
                    <a:pt x="1133" y="556"/>
                    <a:pt x="1133" y="556"/>
                  </a:cubicBezTo>
                  <a:cubicBezTo>
                    <a:pt x="1122" y="561"/>
                    <a:pt x="1111" y="566"/>
                    <a:pt x="1100" y="571"/>
                  </a:cubicBezTo>
                  <a:cubicBezTo>
                    <a:pt x="1100" y="569"/>
                    <a:pt x="1100" y="567"/>
                    <a:pt x="1100" y="565"/>
                  </a:cubicBezTo>
                  <a:cubicBezTo>
                    <a:pt x="1113" y="560"/>
                    <a:pt x="1118" y="554"/>
                    <a:pt x="1120" y="547"/>
                  </a:cubicBezTo>
                  <a:cubicBezTo>
                    <a:pt x="1112" y="548"/>
                    <a:pt x="1103" y="549"/>
                    <a:pt x="1095" y="551"/>
                  </a:cubicBezTo>
                  <a:cubicBezTo>
                    <a:pt x="1088" y="545"/>
                    <a:pt x="1083" y="538"/>
                    <a:pt x="1081" y="532"/>
                  </a:cubicBezTo>
                  <a:cubicBezTo>
                    <a:pt x="1079" y="531"/>
                    <a:pt x="1076" y="532"/>
                    <a:pt x="1074" y="532"/>
                  </a:cubicBezTo>
                  <a:cubicBezTo>
                    <a:pt x="1073" y="539"/>
                    <a:pt x="1067" y="545"/>
                    <a:pt x="1060" y="551"/>
                  </a:cubicBezTo>
                  <a:cubicBezTo>
                    <a:pt x="1052" y="551"/>
                    <a:pt x="1044" y="551"/>
                    <a:pt x="1036" y="551"/>
                  </a:cubicBezTo>
                  <a:cubicBezTo>
                    <a:pt x="1038" y="558"/>
                    <a:pt x="1044" y="563"/>
                    <a:pt x="1057" y="566"/>
                  </a:cubicBezTo>
                  <a:cubicBezTo>
                    <a:pt x="1057" y="590"/>
                    <a:pt x="1057" y="590"/>
                    <a:pt x="1057" y="590"/>
                  </a:cubicBezTo>
                  <a:cubicBezTo>
                    <a:pt x="1018" y="607"/>
                    <a:pt x="988" y="634"/>
                    <a:pt x="979" y="690"/>
                  </a:cubicBezTo>
                  <a:cubicBezTo>
                    <a:pt x="952" y="709"/>
                    <a:pt x="927" y="728"/>
                    <a:pt x="924" y="749"/>
                  </a:cubicBezTo>
                  <a:cubicBezTo>
                    <a:pt x="919" y="775"/>
                    <a:pt x="915" y="800"/>
                    <a:pt x="911" y="825"/>
                  </a:cubicBezTo>
                  <a:cubicBezTo>
                    <a:pt x="910" y="825"/>
                    <a:pt x="910" y="825"/>
                    <a:pt x="910" y="825"/>
                  </a:cubicBezTo>
                  <a:cubicBezTo>
                    <a:pt x="874" y="856"/>
                    <a:pt x="854" y="891"/>
                    <a:pt x="850" y="931"/>
                  </a:cubicBezTo>
                  <a:cubicBezTo>
                    <a:pt x="832" y="949"/>
                    <a:pt x="808" y="957"/>
                    <a:pt x="800" y="972"/>
                  </a:cubicBezTo>
                  <a:cubicBezTo>
                    <a:pt x="784" y="1002"/>
                    <a:pt x="772" y="1074"/>
                    <a:pt x="762" y="1130"/>
                  </a:cubicBezTo>
                  <a:cubicBezTo>
                    <a:pt x="754" y="1195"/>
                    <a:pt x="754" y="1195"/>
                    <a:pt x="754" y="1195"/>
                  </a:cubicBezTo>
                  <a:cubicBezTo>
                    <a:pt x="748" y="1188"/>
                    <a:pt x="741" y="1180"/>
                    <a:pt x="734" y="1174"/>
                  </a:cubicBezTo>
                  <a:cubicBezTo>
                    <a:pt x="716" y="1160"/>
                    <a:pt x="697" y="1147"/>
                    <a:pt x="677" y="1183"/>
                  </a:cubicBezTo>
                  <a:cubicBezTo>
                    <a:pt x="656" y="1221"/>
                    <a:pt x="644" y="1210"/>
                    <a:pt x="636" y="1191"/>
                  </a:cubicBezTo>
                  <a:cubicBezTo>
                    <a:pt x="627" y="1168"/>
                    <a:pt x="614" y="1147"/>
                    <a:pt x="600" y="1126"/>
                  </a:cubicBezTo>
                  <a:cubicBezTo>
                    <a:pt x="580" y="1099"/>
                    <a:pt x="544" y="1097"/>
                    <a:pt x="536" y="1128"/>
                  </a:cubicBezTo>
                  <a:cubicBezTo>
                    <a:pt x="523" y="1181"/>
                    <a:pt x="537" y="1198"/>
                    <a:pt x="507" y="1170"/>
                  </a:cubicBezTo>
                  <a:cubicBezTo>
                    <a:pt x="488" y="1152"/>
                    <a:pt x="468" y="1158"/>
                    <a:pt x="451" y="1190"/>
                  </a:cubicBezTo>
                  <a:cubicBezTo>
                    <a:pt x="432" y="1223"/>
                    <a:pt x="405" y="1264"/>
                    <a:pt x="383" y="1279"/>
                  </a:cubicBezTo>
                  <a:cubicBezTo>
                    <a:pt x="381" y="1254"/>
                    <a:pt x="380" y="1229"/>
                    <a:pt x="380" y="1203"/>
                  </a:cubicBezTo>
                  <a:cubicBezTo>
                    <a:pt x="380" y="763"/>
                    <a:pt x="739" y="404"/>
                    <a:pt x="1179" y="404"/>
                  </a:cubicBezTo>
                  <a:cubicBezTo>
                    <a:pt x="1617" y="404"/>
                    <a:pt x="1974" y="760"/>
                    <a:pt x="1978" y="1197"/>
                  </a:cubicBezTo>
                  <a:close/>
                  <a:moveTo>
                    <a:pt x="1067" y="586"/>
                  </a:moveTo>
                  <a:cubicBezTo>
                    <a:pt x="1067" y="579"/>
                    <a:pt x="1067" y="571"/>
                    <a:pt x="1067" y="564"/>
                  </a:cubicBezTo>
                  <a:cubicBezTo>
                    <a:pt x="1069" y="564"/>
                    <a:pt x="1073" y="564"/>
                    <a:pt x="1075" y="564"/>
                  </a:cubicBezTo>
                  <a:cubicBezTo>
                    <a:pt x="1075" y="582"/>
                    <a:pt x="1075" y="582"/>
                    <a:pt x="1075" y="582"/>
                  </a:cubicBezTo>
                  <a:cubicBezTo>
                    <a:pt x="1072" y="584"/>
                    <a:pt x="1070" y="585"/>
                    <a:pt x="1067" y="586"/>
                  </a:cubicBezTo>
                  <a:close/>
                  <a:moveTo>
                    <a:pt x="1084" y="578"/>
                  </a:moveTo>
                  <a:cubicBezTo>
                    <a:pt x="1084" y="573"/>
                    <a:pt x="1084" y="569"/>
                    <a:pt x="1084" y="564"/>
                  </a:cubicBezTo>
                  <a:cubicBezTo>
                    <a:pt x="1086" y="564"/>
                    <a:pt x="1090" y="564"/>
                    <a:pt x="1091" y="564"/>
                  </a:cubicBezTo>
                  <a:cubicBezTo>
                    <a:pt x="1091" y="575"/>
                    <a:pt x="1091" y="575"/>
                    <a:pt x="1091" y="575"/>
                  </a:cubicBezTo>
                  <a:cubicBezTo>
                    <a:pt x="1089" y="576"/>
                    <a:pt x="1087" y="577"/>
                    <a:pt x="1084" y="578"/>
                  </a:cubicBezTo>
                  <a:close/>
                  <a:moveTo>
                    <a:pt x="1159" y="517"/>
                  </a:moveTo>
                  <a:cubicBezTo>
                    <a:pt x="1155" y="517"/>
                    <a:pt x="1152" y="520"/>
                    <a:pt x="1152" y="524"/>
                  </a:cubicBezTo>
                  <a:cubicBezTo>
                    <a:pt x="1152" y="545"/>
                    <a:pt x="1152" y="545"/>
                    <a:pt x="1152" y="545"/>
                  </a:cubicBezTo>
                  <a:cubicBezTo>
                    <a:pt x="1152" y="546"/>
                    <a:pt x="1152" y="547"/>
                    <a:pt x="1152" y="548"/>
                  </a:cubicBezTo>
                  <a:cubicBezTo>
                    <a:pt x="1148" y="550"/>
                    <a:pt x="1144" y="551"/>
                    <a:pt x="1140" y="553"/>
                  </a:cubicBezTo>
                  <a:cubicBezTo>
                    <a:pt x="1140" y="503"/>
                    <a:pt x="1140" y="503"/>
                    <a:pt x="1140" y="503"/>
                  </a:cubicBezTo>
                  <a:cubicBezTo>
                    <a:pt x="1195" y="503"/>
                    <a:pt x="1195" y="503"/>
                    <a:pt x="1195" y="503"/>
                  </a:cubicBezTo>
                  <a:cubicBezTo>
                    <a:pt x="1195" y="536"/>
                    <a:pt x="1195" y="536"/>
                    <a:pt x="1195" y="536"/>
                  </a:cubicBezTo>
                  <a:cubicBezTo>
                    <a:pt x="1190" y="537"/>
                    <a:pt x="1186" y="538"/>
                    <a:pt x="1182" y="539"/>
                  </a:cubicBezTo>
                  <a:cubicBezTo>
                    <a:pt x="1182" y="524"/>
                    <a:pt x="1182" y="524"/>
                    <a:pt x="1182" y="524"/>
                  </a:cubicBezTo>
                  <a:cubicBezTo>
                    <a:pt x="1182" y="520"/>
                    <a:pt x="1179" y="517"/>
                    <a:pt x="1174" y="517"/>
                  </a:cubicBezTo>
                  <a:cubicBezTo>
                    <a:pt x="1159" y="517"/>
                    <a:pt x="1159" y="517"/>
                    <a:pt x="1159" y="517"/>
                  </a:cubicBezTo>
                  <a:close/>
                  <a:moveTo>
                    <a:pt x="1157" y="480"/>
                  </a:moveTo>
                  <a:cubicBezTo>
                    <a:pt x="1156" y="484"/>
                    <a:pt x="1156" y="484"/>
                    <a:pt x="1156" y="484"/>
                  </a:cubicBezTo>
                  <a:cubicBezTo>
                    <a:pt x="1160" y="484"/>
                    <a:pt x="1160" y="484"/>
                    <a:pt x="1160" y="484"/>
                  </a:cubicBezTo>
                  <a:cubicBezTo>
                    <a:pt x="1160" y="489"/>
                    <a:pt x="1160" y="489"/>
                    <a:pt x="1160" y="489"/>
                  </a:cubicBezTo>
                  <a:cubicBezTo>
                    <a:pt x="1157" y="490"/>
                    <a:pt x="1157" y="490"/>
                    <a:pt x="1157" y="490"/>
                  </a:cubicBezTo>
                  <a:cubicBezTo>
                    <a:pt x="1157" y="492"/>
                    <a:pt x="1157" y="492"/>
                    <a:pt x="1157" y="492"/>
                  </a:cubicBezTo>
                  <a:cubicBezTo>
                    <a:pt x="1163" y="496"/>
                    <a:pt x="1163" y="496"/>
                    <a:pt x="1163" y="496"/>
                  </a:cubicBezTo>
                  <a:cubicBezTo>
                    <a:pt x="1170" y="496"/>
                    <a:pt x="1170" y="496"/>
                    <a:pt x="1170" y="496"/>
                  </a:cubicBezTo>
                  <a:cubicBezTo>
                    <a:pt x="1169" y="489"/>
                    <a:pt x="1169" y="489"/>
                    <a:pt x="1169" y="489"/>
                  </a:cubicBezTo>
                  <a:cubicBezTo>
                    <a:pt x="1173" y="488"/>
                    <a:pt x="1173" y="488"/>
                    <a:pt x="1173" y="488"/>
                  </a:cubicBezTo>
                  <a:cubicBezTo>
                    <a:pt x="1173" y="481"/>
                    <a:pt x="1173" y="481"/>
                    <a:pt x="1173" y="481"/>
                  </a:cubicBezTo>
                  <a:cubicBezTo>
                    <a:pt x="1157" y="480"/>
                    <a:pt x="1157" y="480"/>
                    <a:pt x="1157" y="480"/>
                  </a:cubicBezTo>
                  <a:close/>
                  <a:moveTo>
                    <a:pt x="1339" y="727"/>
                  </a:moveTo>
                  <a:cubicBezTo>
                    <a:pt x="1352" y="740"/>
                    <a:pt x="1363" y="767"/>
                    <a:pt x="1365" y="824"/>
                  </a:cubicBezTo>
                  <a:cubicBezTo>
                    <a:pt x="1364" y="825"/>
                    <a:pt x="1360" y="828"/>
                    <a:pt x="1359" y="824"/>
                  </a:cubicBezTo>
                  <a:cubicBezTo>
                    <a:pt x="1354" y="809"/>
                    <a:pt x="1350" y="756"/>
                    <a:pt x="1339" y="727"/>
                  </a:cubicBezTo>
                  <a:close/>
                  <a:moveTo>
                    <a:pt x="1275" y="605"/>
                  </a:moveTo>
                  <a:cubicBezTo>
                    <a:pt x="1297" y="629"/>
                    <a:pt x="1308" y="656"/>
                    <a:pt x="1315" y="683"/>
                  </a:cubicBezTo>
                  <a:cubicBezTo>
                    <a:pt x="1303" y="671"/>
                    <a:pt x="1290" y="658"/>
                    <a:pt x="1278" y="646"/>
                  </a:cubicBezTo>
                  <a:cubicBezTo>
                    <a:pt x="1277" y="632"/>
                    <a:pt x="1276" y="619"/>
                    <a:pt x="1275" y="605"/>
                  </a:cubicBezTo>
                  <a:close/>
                  <a:moveTo>
                    <a:pt x="386" y="1302"/>
                  </a:moveTo>
                  <a:cubicBezTo>
                    <a:pt x="399" y="1406"/>
                    <a:pt x="432" y="1503"/>
                    <a:pt x="481" y="1591"/>
                  </a:cubicBezTo>
                  <a:cubicBezTo>
                    <a:pt x="521" y="1562"/>
                    <a:pt x="521" y="1562"/>
                    <a:pt x="521" y="1562"/>
                  </a:cubicBezTo>
                  <a:cubicBezTo>
                    <a:pt x="521" y="1536"/>
                    <a:pt x="521" y="1536"/>
                    <a:pt x="521" y="1536"/>
                  </a:cubicBezTo>
                  <a:cubicBezTo>
                    <a:pt x="539" y="1537"/>
                    <a:pt x="539" y="1537"/>
                    <a:pt x="539" y="1537"/>
                  </a:cubicBezTo>
                  <a:cubicBezTo>
                    <a:pt x="539" y="1546"/>
                    <a:pt x="539" y="1546"/>
                    <a:pt x="539" y="1546"/>
                  </a:cubicBezTo>
                  <a:cubicBezTo>
                    <a:pt x="554" y="1546"/>
                    <a:pt x="554" y="1546"/>
                    <a:pt x="554" y="1546"/>
                  </a:cubicBezTo>
                  <a:cubicBezTo>
                    <a:pt x="554" y="1562"/>
                    <a:pt x="554" y="1562"/>
                    <a:pt x="554" y="1562"/>
                  </a:cubicBezTo>
                  <a:cubicBezTo>
                    <a:pt x="707" y="1562"/>
                    <a:pt x="707" y="1562"/>
                    <a:pt x="707" y="1562"/>
                  </a:cubicBezTo>
                  <a:cubicBezTo>
                    <a:pt x="750" y="1222"/>
                    <a:pt x="750" y="1222"/>
                    <a:pt x="750" y="1222"/>
                  </a:cubicBezTo>
                  <a:cubicBezTo>
                    <a:pt x="742" y="1212"/>
                    <a:pt x="734" y="1202"/>
                    <a:pt x="726" y="1192"/>
                  </a:cubicBezTo>
                  <a:cubicBezTo>
                    <a:pt x="711" y="1173"/>
                    <a:pt x="698" y="1167"/>
                    <a:pt x="685" y="1197"/>
                  </a:cubicBezTo>
                  <a:cubicBezTo>
                    <a:pt x="661" y="1258"/>
                    <a:pt x="633" y="1220"/>
                    <a:pt x="626" y="1204"/>
                  </a:cubicBezTo>
                  <a:cubicBezTo>
                    <a:pt x="589" y="1119"/>
                    <a:pt x="557" y="1097"/>
                    <a:pt x="547" y="1151"/>
                  </a:cubicBezTo>
                  <a:cubicBezTo>
                    <a:pt x="547" y="1192"/>
                    <a:pt x="538" y="1213"/>
                    <a:pt x="507" y="1189"/>
                  </a:cubicBezTo>
                  <a:cubicBezTo>
                    <a:pt x="478" y="1163"/>
                    <a:pt x="468" y="1189"/>
                    <a:pt x="457" y="1213"/>
                  </a:cubicBezTo>
                  <a:cubicBezTo>
                    <a:pt x="438" y="1247"/>
                    <a:pt x="412" y="1275"/>
                    <a:pt x="386" y="1302"/>
                  </a:cubicBezTo>
                  <a:close/>
                  <a:moveTo>
                    <a:pt x="723" y="1562"/>
                  </a:moveTo>
                  <a:cubicBezTo>
                    <a:pt x="788" y="1076"/>
                    <a:pt x="788" y="1076"/>
                    <a:pt x="788" y="1076"/>
                  </a:cubicBezTo>
                  <a:cubicBezTo>
                    <a:pt x="794" y="1042"/>
                    <a:pt x="802" y="1009"/>
                    <a:pt x="814" y="978"/>
                  </a:cubicBezTo>
                  <a:cubicBezTo>
                    <a:pt x="848" y="956"/>
                    <a:pt x="848" y="956"/>
                    <a:pt x="848" y="956"/>
                  </a:cubicBezTo>
                  <a:cubicBezTo>
                    <a:pt x="828" y="1431"/>
                    <a:pt x="828" y="1431"/>
                    <a:pt x="828" y="1431"/>
                  </a:cubicBezTo>
                  <a:cubicBezTo>
                    <a:pt x="809" y="1425"/>
                    <a:pt x="791" y="1414"/>
                    <a:pt x="774" y="1400"/>
                  </a:cubicBezTo>
                  <a:cubicBezTo>
                    <a:pt x="787" y="1433"/>
                    <a:pt x="804" y="1463"/>
                    <a:pt x="834" y="1485"/>
                  </a:cubicBezTo>
                  <a:cubicBezTo>
                    <a:pt x="834" y="1562"/>
                    <a:pt x="834" y="1562"/>
                    <a:pt x="834" y="1562"/>
                  </a:cubicBezTo>
                  <a:cubicBezTo>
                    <a:pt x="723" y="1562"/>
                    <a:pt x="723" y="1562"/>
                    <a:pt x="723" y="1562"/>
                  </a:cubicBezTo>
                  <a:close/>
                  <a:moveTo>
                    <a:pt x="525" y="1544"/>
                  </a:moveTo>
                  <a:cubicBezTo>
                    <a:pt x="526" y="1562"/>
                    <a:pt x="526" y="1562"/>
                    <a:pt x="526" y="1562"/>
                  </a:cubicBezTo>
                  <a:cubicBezTo>
                    <a:pt x="548" y="1562"/>
                    <a:pt x="548" y="1562"/>
                    <a:pt x="548" y="1562"/>
                  </a:cubicBezTo>
                  <a:cubicBezTo>
                    <a:pt x="548" y="1556"/>
                    <a:pt x="548" y="1556"/>
                    <a:pt x="548" y="1556"/>
                  </a:cubicBezTo>
                  <a:cubicBezTo>
                    <a:pt x="533" y="1553"/>
                    <a:pt x="533" y="1553"/>
                    <a:pt x="533" y="1553"/>
                  </a:cubicBezTo>
                  <a:cubicBezTo>
                    <a:pt x="533" y="1544"/>
                    <a:pt x="533" y="1544"/>
                    <a:pt x="533" y="1544"/>
                  </a:cubicBezTo>
                  <a:cubicBezTo>
                    <a:pt x="525" y="1544"/>
                    <a:pt x="525" y="1544"/>
                    <a:pt x="525" y="1544"/>
                  </a:cubicBezTo>
                  <a:close/>
                  <a:moveTo>
                    <a:pt x="1838" y="1544"/>
                  </a:moveTo>
                  <a:cubicBezTo>
                    <a:pt x="1830" y="1544"/>
                    <a:pt x="1830" y="1544"/>
                    <a:pt x="1830" y="1544"/>
                  </a:cubicBezTo>
                  <a:cubicBezTo>
                    <a:pt x="1830" y="1553"/>
                    <a:pt x="1830" y="1553"/>
                    <a:pt x="1830" y="1553"/>
                  </a:cubicBezTo>
                  <a:cubicBezTo>
                    <a:pt x="1816" y="1556"/>
                    <a:pt x="1816" y="1556"/>
                    <a:pt x="1816" y="1556"/>
                  </a:cubicBezTo>
                  <a:cubicBezTo>
                    <a:pt x="1816" y="1562"/>
                    <a:pt x="1816" y="1562"/>
                    <a:pt x="1816" y="1562"/>
                  </a:cubicBezTo>
                  <a:cubicBezTo>
                    <a:pt x="1838" y="1562"/>
                    <a:pt x="1838" y="1562"/>
                    <a:pt x="1838" y="1562"/>
                  </a:cubicBezTo>
                  <a:cubicBezTo>
                    <a:pt x="1838" y="1544"/>
                    <a:pt x="1838" y="1544"/>
                    <a:pt x="1838" y="1544"/>
                  </a:cubicBezTo>
                  <a:close/>
                  <a:moveTo>
                    <a:pt x="1444" y="1601"/>
                  </a:moveTo>
                  <a:cubicBezTo>
                    <a:pt x="1444" y="1664"/>
                    <a:pt x="1444" y="1664"/>
                    <a:pt x="1444" y="1664"/>
                  </a:cubicBezTo>
                  <a:cubicBezTo>
                    <a:pt x="1392" y="1664"/>
                    <a:pt x="1392" y="1664"/>
                    <a:pt x="1392" y="1664"/>
                  </a:cubicBezTo>
                  <a:cubicBezTo>
                    <a:pt x="1392" y="1601"/>
                    <a:pt x="1392" y="1601"/>
                    <a:pt x="1392" y="1601"/>
                  </a:cubicBezTo>
                  <a:cubicBezTo>
                    <a:pt x="1444" y="1601"/>
                    <a:pt x="1444" y="1601"/>
                    <a:pt x="1444" y="1601"/>
                  </a:cubicBezTo>
                  <a:close/>
                  <a:moveTo>
                    <a:pt x="1365" y="1515"/>
                  </a:moveTo>
                  <a:cubicBezTo>
                    <a:pt x="1365" y="1520"/>
                    <a:pt x="1365" y="1520"/>
                    <a:pt x="1365" y="1520"/>
                  </a:cubicBezTo>
                  <a:cubicBezTo>
                    <a:pt x="1318" y="1520"/>
                    <a:pt x="1318" y="1520"/>
                    <a:pt x="1318" y="1520"/>
                  </a:cubicBezTo>
                  <a:cubicBezTo>
                    <a:pt x="1318" y="1515"/>
                    <a:pt x="1318" y="1515"/>
                    <a:pt x="1318" y="1515"/>
                  </a:cubicBezTo>
                  <a:cubicBezTo>
                    <a:pt x="1365" y="1515"/>
                    <a:pt x="1365" y="1515"/>
                    <a:pt x="1365" y="1515"/>
                  </a:cubicBezTo>
                  <a:close/>
                  <a:moveTo>
                    <a:pt x="1365" y="1528"/>
                  </a:moveTo>
                  <a:cubicBezTo>
                    <a:pt x="1365" y="1534"/>
                    <a:pt x="1365" y="1534"/>
                    <a:pt x="1365" y="1534"/>
                  </a:cubicBezTo>
                  <a:cubicBezTo>
                    <a:pt x="1318" y="1534"/>
                    <a:pt x="1318" y="1534"/>
                    <a:pt x="1318" y="1534"/>
                  </a:cubicBezTo>
                  <a:cubicBezTo>
                    <a:pt x="1318" y="1528"/>
                    <a:pt x="1318" y="1528"/>
                    <a:pt x="1318" y="1528"/>
                  </a:cubicBezTo>
                  <a:cubicBezTo>
                    <a:pt x="1365" y="1528"/>
                    <a:pt x="1365" y="1528"/>
                    <a:pt x="1365" y="1528"/>
                  </a:cubicBezTo>
                  <a:close/>
                  <a:moveTo>
                    <a:pt x="1365" y="1541"/>
                  </a:moveTo>
                  <a:cubicBezTo>
                    <a:pt x="1365" y="1547"/>
                    <a:pt x="1365" y="1547"/>
                    <a:pt x="1365" y="1547"/>
                  </a:cubicBezTo>
                  <a:cubicBezTo>
                    <a:pt x="1318" y="1547"/>
                    <a:pt x="1318" y="1547"/>
                    <a:pt x="1318" y="1547"/>
                  </a:cubicBezTo>
                  <a:cubicBezTo>
                    <a:pt x="1318" y="1541"/>
                    <a:pt x="1318" y="1541"/>
                    <a:pt x="1318" y="1541"/>
                  </a:cubicBezTo>
                  <a:cubicBezTo>
                    <a:pt x="1365" y="1541"/>
                    <a:pt x="1365" y="1541"/>
                    <a:pt x="1365" y="1541"/>
                  </a:cubicBezTo>
                  <a:close/>
                  <a:moveTo>
                    <a:pt x="1365" y="1552"/>
                  </a:moveTo>
                  <a:cubicBezTo>
                    <a:pt x="1365" y="1558"/>
                    <a:pt x="1365" y="1558"/>
                    <a:pt x="1365" y="1558"/>
                  </a:cubicBezTo>
                  <a:cubicBezTo>
                    <a:pt x="1318" y="1558"/>
                    <a:pt x="1318" y="1558"/>
                    <a:pt x="1318" y="1558"/>
                  </a:cubicBezTo>
                  <a:cubicBezTo>
                    <a:pt x="1318" y="1552"/>
                    <a:pt x="1318" y="1552"/>
                    <a:pt x="1318" y="1552"/>
                  </a:cubicBezTo>
                  <a:cubicBezTo>
                    <a:pt x="1365" y="1552"/>
                    <a:pt x="1365" y="1552"/>
                    <a:pt x="1365" y="1552"/>
                  </a:cubicBezTo>
                  <a:close/>
                  <a:moveTo>
                    <a:pt x="1365" y="1564"/>
                  </a:moveTo>
                  <a:cubicBezTo>
                    <a:pt x="1365" y="1570"/>
                    <a:pt x="1365" y="1570"/>
                    <a:pt x="1365" y="1570"/>
                  </a:cubicBezTo>
                  <a:cubicBezTo>
                    <a:pt x="1318" y="1570"/>
                    <a:pt x="1318" y="1570"/>
                    <a:pt x="1318" y="1570"/>
                  </a:cubicBezTo>
                  <a:cubicBezTo>
                    <a:pt x="1318" y="1564"/>
                    <a:pt x="1318" y="1564"/>
                    <a:pt x="1318" y="1564"/>
                  </a:cubicBezTo>
                  <a:cubicBezTo>
                    <a:pt x="1365" y="1564"/>
                    <a:pt x="1365" y="1564"/>
                    <a:pt x="1365" y="1564"/>
                  </a:cubicBezTo>
                  <a:close/>
                  <a:moveTo>
                    <a:pt x="1365" y="1576"/>
                  </a:moveTo>
                  <a:cubicBezTo>
                    <a:pt x="1365" y="1582"/>
                    <a:pt x="1365" y="1582"/>
                    <a:pt x="1365" y="1582"/>
                  </a:cubicBezTo>
                  <a:cubicBezTo>
                    <a:pt x="1318" y="1582"/>
                    <a:pt x="1318" y="1582"/>
                    <a:pt x="1318" y="1582"/>
                  </a:cubicBezTo>
                  <a:cubicBezTo>
                    <a:pt x="1318" y="1576"/>
                    <a:pt x="1318" y="1576"/>
                    <a:pt x="1318" y="1576"/>
                  </a:cubicBezTo>
                  <a:cubicBezTo>
                    <a:pt x="1365" y="1576"/>
                    <a:pt x="1365" y="1576"/>
                    <a:pt x="1365" y="1576"/>
                  </a:cubicBezTo>
                  <a:close/>
                  <a:moveTo>
                    <a:pt x="1365" y="1588"/>
                  </a:moveTo>
                  <a:cubicBezTo>
                    <a:pt x="1365" y="1594"/>
                    <a:pt x="1365" y="1594"/>
                    <a:pt x="1365" y="1594"/>
                  </a:cubicBezTo>
                  <a:cubicBezTo>
                    <a:pt x="1318" y="1594"/>
                    <a:pt x="1318" y="1594"/>
                    <a:pt x="1318" y="1594"/>
                  </a:cubicBezTo>
                  <a:cubicBezTo>
                    <a:pt x="1318" y="1588"/>
                    <a:pt x="1318" y="1588"/>
                    <a:pt x="1318" y="1588"/>
                  </a:cubicBezTo>
                  <a:cubicBezTo>
                    <a:pt x="1365" y="1588"/>
                    <a:pt x="1365" y="1588"/>
                    <a:pt x="1365" y="1588"/>
                  </a:cubicBezTo>
                  <a:close/>
                  <a:moveTo>
                    <a:pt x="1365" y="1600"/>
                  </a:moveTo>
                  <a:cubicBezTo>
                    <a:pt x="1365" y="1605"/>
                    <a:pt x="1365" y="1605"/>
                    <a:pt x="1365" y="1605"/>
                  </a:cubicBezTo>
                  <a:cubicBezTo>
                    <a:pt x="1318" y="1605"/>
                    <a:pt x="1318" y="1605"/>
                    <a:pt x="1318" y="1605"/>
                  </a:cubicBezTo>
                  <a:cubicBezTo>
                    <a:pt x="1318" y="1600"/>
                    <a:pt x="1318" y="1600"/>
                    <a:pt x="1318" y="1600"/>
                  </a:cubicBezTo>
                  <a:cubicBezTo>
                    <a:pt x="1365" y="1600"/>
                    <a:pt x="1365" y="1600"/>
                    <a:pt x="1365" y="1600"/>
                  </a:cubicBezTo>
                  <a:close/>
                  <a:moveTo>
                    <a:pt x="1365" y="1612"/>
                  </a:moveTo>
                  <a:cubicBezTo>
                    <a:pt x="1365" y="1617"/>
                    <a:pt x="1365" y="1617"/>
                    <a:pt x="1365" y="1617"/>
                  </a:cubicBezTo>
                  <a:cubicBezTo>
                    <a:pt x="1318" y="1617"/>
                    <a:pt x="1318" y="1617"/>
                    <a:pt x="1318" y="1617"/>
                  </a:cubicBezTo>
                  <a:cubicBezTo>
                    <a:pt x="1318" y="1612"/>
                    <a:pt x="1318" y="1612"/>
                    <a:pt x="1318" y="1612"/>
                  </a:cubicBezTo>
                  <a:cubicBezTo>
                    <a:pt x="1365" y="1612"/>
                    <a:pt x="1365" y="1612"/>
                    <a:pt x="1365" y="1612"/>
                  </a:cubicBezTo>
                  <a:close/>
                  <a:moveTo>
                    <a:pt x="1365" y="1626"/>
                  </a:moveTo>
                  <a:cubicBezTo>
                    <a:pt x="1365" y="1631"/>
                    <a:pt x="1365" y="1631"/>
                    <a:pt x="1365" y="1631"/>
                  </a:cubicBezTo>
                  <a:cubicBezTo>
                    <a:pt x="1318" y="1631"/>
                    <a:pt x="1318" y="1631"/>
                    <a:pt x="1318" y="1631"/>
                  </a:cubicBezTo>
                  <a:cubicBezTo>
                    <a:pt x="1318" y="1626"/>
                    <a:pt x="1318" y="1626"/>
                    <a:pt x="1318" y="1626"/>
                  </a:cubicBezTo>
                  <a:cubicBezTo>
                    <a:pt x="1365" y="1626"/>
                    <a:pt x="1365" y="1626"/>
                    <a:pt x="1365" y="1626"/>
                  </a:cubicBezTo>
                  <a:close/>
                  <a:moveTo>
                    <a:pt x="1365" y="1637"/>
                  </a:moveTo>
                  <a:cubicBezTo>
                    <a:pt x="1365" y="1643"/>
                    <a:pt x="1365" y="1643"/>
                    <a:pt x="1365" y="1643"/>
                  </a:cubicBezTo>
                  <a:cubicBezTo>
                    <a:pt x="1318" y="1643"/>
                    <a:pt x="1318" y="1643"/>
                    <a:pt x="1318" y="1643"/>
                  </a:cubicBezTo>
                  <a:cubicBezTo>
                    <a:pt x="1318" y="1637"/>
                    <a:pt x="1318" y="1637"/>
                    <a:pt x="1318" y="1637"/>
                  </a:cubicBezTo>
                  <a:cubicBezTo>
                    <a:pt x="1365" y="1637"/>
                    <a:pt x="1365" y="1637"/>
                    <a:pt x="1365" y="1637"/>
                  </a:cubicBezTo>
                  <a:close/>
                  <a:moveTo>
                    <a:pt x="1365" y="1649"/>
                  </a:moveTo>
                  <a:cubicBezTo>
                    <a:pt x="1365" y="1655"/>
                    <a:pt x="1365" y="1655"/>
                    <a:pt x="1365" y="1655"/>
                  </a:cubicBezTo>
                  <a:cubicBezTo>
                    <a:pt x="1318" y="1655"/>
                    <a:pt x="1318" y="1655"/>
                    <a:pt x="1318" y="1655"/>
                  </a:cubicBezTo>
                  <a:cubicBezTo>
                    <a:pt x="1318" y="1649"/>
                    <a:pt x="1318" y="1649"/>
                    <a:pt x="1318" y="1649"/>
                  </a:cubicBezTo>
                  <a:cubicBezTo>
                    <a:pt x="1365" y="1649"/>
                    <a:pt x="1365" y="1649"/>
                    <a:pt x="1365" y="1649"/>
                  </a:cubicBezTo>
                  <a:close/>
                  <a:moveTo>
                    <a:pt x="1365" y="1661"/>
                  </a:moveTo>
                  <a:cubicBezTo>
                    <a:pt x="1365" y="1667"/>
                    <a:pt x="1365" y="1667"/>
                    <a:pt x="1365" y="1667"/>
                  </a:cubicBezTo>
                  <a:cubicBezTo>
                    <a:pt x="1318" y="1667"/>
                    <a:pt x="1318" y="1667"/>
                    <a:pt x="1318" y="1667"/>
                  </a:cubicBezTo>
                  <a:cubicBezTo>
                    <a:pt x="1318" y="1661"/>
                    <a:pt x="1318" y="1661"/>
                    <a:pt x="1318" y="1661"/>
                  </a:cubicBezTo>
                  <a:cubicBezTo>
                    <a:pt x="1365" y="1661"/>
                    <a:pt x="1365" y="1661"/>
                    <a:pt x="1365" y="1661"/>
                  </a:cubicBezTo>
                  <a:close/>
                  <a:moveTo>
                    <a:pt x="1365" y="1673"/>
                  </a:moveTo>
                  <a:cubicBezTo>
                    <a:pt x="1365" y="1679"/>
                    <a:pt x="1365" y="1679"/>
                    <a:pt x="1365" y="1679"/>
                  </a:cubicBezTo>
                  <a:cubicBezTo>
                    <a:pt x="1318" y="1679"/>
                    <a:pt x="1318" y="1679"/>
                    <a:pt x="1318" y="1679"/>
                  </a:cubicBezTo>
                  <a:cubicBezTo>
                    <a:pt x="1318" y="1673"/>
                    <a:pt x="1318" y="1673"/>
                    <a:pt x="1318" y="1673"/>
                  </a:cubicBezTo>
                  <a:cubicBezTo>
                    <a:pt x="1365" y="1673"/>
                    <a:pt x="1365" y="1673"/>
                    <a:pt x="1365" y="1673"/>
                  </a:cubicBezTo>
                  <a:close/>
                  <a:moveTo>
                    <a:pt x="1365" y="1685"/>
                  </a:moveTo>
                  <a:cubicBezTo>
                    <a:pt x="1365" y="1690"/>
                    <a:pt x="1365" y="1690"/>
                    <a:pt x="1365" y="1690"/>
                  </a:cubicBezTo>
                  <a:cubicBezTo>
                    <a:pt x="1318" y="1690"/>
                    <a:pt x="1318" y="1690"/>
                    <a:pt x="1318" y="1690"/>
                  </a:cubicBezTo>
                  <a:cubicBezTo>
                    <a:pt x="1318" y="1685"/>
                    <a:pt x="1318" y="1685"/>
                    <a:pt x="1318" y="1685"/>
                  </a:cubicBezTo>
                  <a:cubicBezTo>
                    <a:pt x="1365" y="1685"/>
                    <a:pt x="1365" y="1685"/>
                    <a:pt x="1365" y="1685"/>
                  </a:cubicBezTo>
                  <a:close/>
                  <a:moveTo>
                    <a:pt x="1365" y="1697"/>
                  </a:moveTo>
                  <a:cubicBezTo>
                    <a:pt x="1365" y="1702"/>
                    <a:pt x="1365" y="1702"/>
                    <a:pt x="1365" y="1702"/>
                  </a:cubicBezTo>
                  <a:cubicBezTo>
                    <a:pt x="1318" y="1702"/>
                    <a:pt x="1318" y="1702"/>
                    <a:pt x="1318" y="1702"/>
                  </a:cubicBezTo>
                  <a:cubicBezTo>
                    <a:pt x="1318" y="1697"/>
                    <a:pt x="1318" y="1697"/>
                    <a:pt x="1318" y="1697"/>
                  </a:cubicBezTo>
                  <a:cubicBezTo>
                    <a:pt x="1365" y="1697"/>
                    <a:pt x="1365" y="1697"/>
                    <a:pt x="1365" y="1697"/>
                  </a:cubicBezTo>
                  <a:close/>
                  <a:moveTo>
                    <a:pt x="1365" y="1709"/>
                  </a:moveTo>
                  <a:cubicBezTo>
                    <a:pt x="1365" y="1714"/>
                    <a:pt x="1365" y="1714"/>
                    <a:pt x="1365" y="1714"/>
                  </a:cubicBezTo>
                  <a:cubicBezTo>
                    <a:pt x="1318" y="1714"/>
                    <a:pt x="1318" y="1714"/>
                    <a:pt x="1318" y="1714"/>
                  </a:cubicBezTo>
                  <a:cubicBezTo>
                    <a:pt x="1318" y="1709"/>
                    <a:pt x="1318" y="1709"/>
                    <a:pt x="1318" y="1709"/>
                  </a:cubicBezTo>
                  <a:cubicBezTo>
                    <a:pt x="1365" y="1709"/>
                    <a:pt x="1365" y="1709"/>
                    <a:pt x="1365" y="1709"/>
                  </a:cubicBezTo>
                  <a:close/>
                  <a:moveTo>
                    <a:pt x="1365" y="1721"/>
                  </a:moveTo>
                  <a:cubicBezTo>
                    <a:pt x="1365" y="1726"/>
                    <a:pt x="1365" y="1726"/>
                    <a:pt x="1365" y="1726"/>
                  </a:cubicBezTo>
                  <a:cubicBezTo>
                    <a:pt x="1318" y="1726"/>
                    <a:pt x="1318" y="1726"/>
                    <a:pt x="1318" y="1726"/>
                  </a:cubicBezTo>
                  <a:cubicBezTo>
                    <a:pt x="1318" y="1721"/>
                    <a:pt x="1318" y="1721"/>
                    <a:pt x="1318" y="1721"/>
                  </a:cubicBezTo>
                  <a:cubicBezTo>
                    <a:pt x="1365" y="1721"/>
                    <a:pt x="1365" y="1721"/>
                    <a:pt x="1365" y="1721"/>
                  </a:cubicBezTo>
                  <a:close/>
                  <a:moveTo>
                    <a:pt x="1365" y="1733"/>
                  </a:moveTo>
                  <a:cubicBezTo>
                    <a:pt x="1365" y="1738"/>
                    <a:pt x="1365" y="1738"/>
                    <a:pt x="1365" y="1738"/>
                  </a:cubicBezTo>
                  <a:cubicBezTo>
                    <a:pt x="1318" y="1738"/>
                    <a:pt x="1318" y="1738"/>
                    <a:pt x="1318" y="1738"/>
                  </a:cubicBezTo>
                  <a:cubicBezTo>
                    <a:pt x="1318" y="1733"/>
                    <a:pt x="1318" y="1733"/>
                    <a:pt x="1318" y="1733"/>
                  </a:cubicBezTo>
                  <a:cubicBezTo>
                    <a:pt x="1365" y="1733"/>
                    <a:pt x="1365" y="1733"/>
                    <a:pt x="1365" y="1733"/>
                  </a:cubicBezTo>
                  <a:close/>
                  <a:moveTo>
                    <a:pt x="1365" y="1745"/>
                  </a:moveTo>
                  <a:cubicBezTo>
                    <a:pt x="1365" y="1750"/>
                    <a:pt x="1365" y="1750"/>
                    <a:pt x="1365" y="1750"/>
                  </a:cubicBezTo>
                  <a:cubicBezTo>
                    <a:pt x="1318" y="1750"/>
                    <a:pt x="1318" y="1750"/>
                    <a:pt x="1318" y="1750"/>
                  </a:cubicBezTo>
                  <a:cubicBezTo>
                    <a:pt x="1318" y="1745"/>
                    <a:pt x="1318" y="1745"/>
                    <a:pt x="1318" y="1745"/>
                  </a:cubicBezTo>
                  <a:cubicBezTo>
                    <a:pt x="1365" y="1745"/>
                    <a:pt x="1365" y="1745"/>
                    <a:pt x="1365" y="1745"/>
                  </a:cubicBezTo>
                  <a:close/>
                  <a:moveTo>
                    <a:pt x="1518" y="1515"/>
                  </a:moveTo>
                  <a:cubicBezTo>
                    <a:pt x="1518" y="1520"/>
                    <a:pt x="1518" y="1520"/>
                    <a:pt x="1518" y="1520"/>
                  </a:cubicBezTo>
                  <a:cubicBezTo>
                    <a:pt x="1471" y="1520"/>
                    <a:pt x="1471" y="1520"/>
                    <a:pt x="1471" y="1520"/>
                  </a:cubicBezTo>
                  <a:cubicBezTo>
                    <a:pt x="1471" y="1515"/>
                    <a:pt x="1471" y="1515"/>
                    <a:pt x="1471" y="1515"/>
                  </a:cubicBezTo>
                  <a:cubicBezTo>
                    <a:pt x="1518" y="1515"/>
                    <a:pt x="1518" y="1515"/>
                    <a:pt x="1518" y="1515"/>
                  </a:cubicBezTo>
                  <a:close/>
                  <a:moveTo>
                    <a:pt x="1518" y="1528"/>
                  </a:moveTo>
                  <a:cubicBezTo>
                    <a:pt x="1518" y="1534"/>
                    <a:pt x="1518" y="1534"/>
                    <a:pt x="1518" y="1534"/>
                  </a:cubicBezTo>
                  <a:cubicBezTo>
                    <a:pt x="1471" y="1534"/>
                    <a:pt x="1471" y="1534"/>
                    <a:pt x="1471" y="1534"/>
                  </a:cubicBezTo>
                  <a:cubicBezTo>
                    <a:pt x="1471" y="1528"/>
                    <a:pt x="1471" y="1528"/>
                    <a:pt x="1471" y="1528"/>
                  </a:cubicBezTo>
                  <a:cubicBezTo>
                    <a:pt x="1518" y="1528"/>
                    <a:pt x="1518" y="1528"/>
                    <a:pt x="1518" y="1528"/>
                  </a:cubicBezTo>
                  <a:close/>
                  <a:moveTo>
                    <a:pt x="1518" y="1541"/>
                  </a:moveTo>
                  <a:cubicBezTo>
                    <a:pt x="1518" y="1547"/>
                    <a:pt x="1518" y="1547"/>
                    <a:pt x="1518" y="1547"/>
                  </a:cubicBezTo>
                  <a:cubicBezTo>
                    <a:pt x="1471" y="1547"/>
                    <a:pt x="1471" y="1547"/>
                    <a:pt x="1471" y="1547"/>
                  </a:cubicBezTo>
                  <a:cubicBezTo>
                    <a:pt x="1471" y="1541"/>
                    <a:pt x="1471" y="1541"/>
                    <a:pt x="1471" y="1541"/>
                  </a:cubicBezTo>
                  <a:cubicBezTo>
                    <a:pt x="1518" y="1541"/>
                    <a:pt x="1518" y="1541"/>
                    <a:pt x="1518" y="1541"/>
                  </a:cubicBezTo>
                  <a:close/>
                  <a:moveTo>
                    <a:pt x="1518" y="1552"/>
                  </a:moveTo>
                  <a:cubicBezTo>
                    <a:pt x="1518" y="1558"/>
                    <a:pt x="1518" y="1558"/>
                    <a:pt x="1518" y="1558"/>
                  </a:cubicBezTo>
                  <a:cubicBezTo>
                    <a:pt x="1471" y="1558"/>
                    <a:pt x="1471" y="1558"/>
                    <a:pt x="1471" y="1558"/>
                  </a:cubicBezTo>
                  <a:cubicBezTo>
                    <a:pt x="1471" y="1552"/>
                    <a:pt x="1471" y="1552"/>
                    <a:pt x="1471" y="1552"/>
                  </a:cubicBezTo>
                  <a:cubicBezTo>
                    <a:pt x="1518" y="1552"/>
                    <a:pt x="1518" y="1552"/>
                    <a:pt x="1518" y="1552"/>
                  </a:cubicBezTo>
                  <a:close/>
                  <a:moveTo>
                    <a:pt x="1518" y="1564"/>
                  </a:moveTo>
                  <a:cubicBezTo>
                    <a:pt x="1518" y="1570"/>
                    <a:pt x="1518" y="1570"/>
                    <a:pt x="1518" y="1570"/>
                  </a:cubicBezTo>
                  <a:cubicBezTo>
                    <a:pt x="1471" y="1570"/>
                    <a:pt x="1471" y="1570"/>
                    <a:pt x="1471" y="1570"/>
                  </a:cubicBezTo>
                  <a:cubicBezTo>
                    <a:pt x="1471" y="1564"/>
                    <a:pt x="1471" y="1564"/>
                    <a:pt x="1471" y="1564"/>
                  </a:cubicBezTo>
                  <a:cubicBezTo>
                    <a:pt x="1518" y="1564"/>
                    <a:pt x="1518" y="1564"/>
                    <a:pt x="1518" y="1564"/>
                  </a:cubicBezTo>
                  <a:close/>
                  <a:moveTo>
                    <a:pt x="1518" y="1576"/>
                  </a:moveTo>
                  <a:cubicBezTo>
                    <a:pt x="1518" y="1582"/>
                    <a:pt x="1518" y="1582"/>
                    <a:pt x="1518" y="1582"/>
                  </a:cubicBezTo>
                  <a:cubicBezTo>
                    <a:pt x="1471" y="1582"/>
                    <a:pt x="1471" y="1582"/>
                    <a:pt x="1471" y="1582"/>
                  </a:cubicBezTo>
                  <a:cubicBezTo>
                    <a:pt x="1471" y="1576"/>
                    <a:pt x="1471" y="1576"/>
                    <a:pt x="1471" y="1576"/>
                  </a:cubicBezTo>
                  <a:cubicBezTo>
                    <a:pt x="1518" y="1576"/>
                    <a:pt x="1518" y="1576"/>
                    <a:pt x="1518" y="1576"/>
                  </a:cubicBezTo>
                  <a:close/>
                  <a:moveTo>
                    <a:pt x="1518" y="1588"/>
                  </a:moveTo>
                  <a:cubicBezTo>
                    <a:pt x="1518" y="1594"/>
                    <a:pt x="1518" y="1594"/>
                    <a:pt x="1518" y="1594"/>
                  </a:cubicBezTo>
                  <a:cubicBezTo>
                    <a:pt x="1471" y="1594"/>
                    <a:pt x="1471" y="1594"/>
                    <a:pt x="1471" y="1594"/>
                  </a:cubicBezTo>
                  <a:cubicBezTo>
                    <a:pt x="1471" y="1588"/>
                    <a:pt x="1471" y="1588"/>
                    <a:pt x="1471" y="1588"/>
                  </a:cubicBezTo>
                  <a:cubicBezTo>
                    <a:pt x="1518" y="1588"/>
                    <a:pt x="1518" y="1588"/>
                    <a:pt x="1518" y="1588"/>
                  </a:cubicBezTo>
                  <a:close/>
                  <a:moveTo>
                    <a:pt x="1518" y="1600"/>
                  </a:moveTo>
                  <a:cubicBezTo>
                    <a:pt x="1518" y="1605"/>
                    <a:pt x="1518" y="1605"/>
                    <a:pt x="1518" y="1605"/>
                  </a:cubicBezTo>
                  <a:cubicBezTo>
                    <a:pt x="1471" y="1605"/>
                    <a:pt x="1471" y="1605"/>
                    <a:pt x="1471" y="1605"/>
                  </a:cubicBezTo>
                  <a:cubicBezTo>
                    <a:pt x="1471" y="1600"/>
                    <a:pt x="1471" y="1600"/>
                    <a:pt x="1471" y="1600"/>
                  </a:cubicBezTo>
                  <a:cubicBezTo>
                    <a:pt x="1518" y="1600"/>
                    <a:pt x="1518" y="1600"/>
                    <a:pt x="1518" y="1600"/>
                  </a:cubicBezTo>
                  <a:close/>
                  <a:moveTo>
                    <a:pt x="1518" y="1612"/>
                  </a:moveTo>
                  <a:cubicBezTo>
                    <a:pt x="1518" y="1617"/>
                    <a:pt x="1518" y="1617"/>
                    <a:pt x="1518" y="1617"/>
                  </a:cubicBezTo>
                  <a:cubicBezTo>
                    <a:pt x="1471" y="1617"/>
                    <a:pt x="1471" y="1617"/>
                    <a:pt x="1471" y="1617"/>
                  </a:cubicBezTo>
                  <a:cubicBezTo>
                    <a:pt x="1471" y="1612"/>
                    <a:pt x="1471" y="1612"/>
                    <a:pt x="1471" y="1612"/>
                  </a:cubicBezTo>
                  <a:cubicBezTo>
                    <a:pt x="1518" y="1612"/>
                    <a:pt x="1518" y="1612"/>
                    <a:pt x="1518" y="1612"/>
                  </a:cubicBezTo>
                  <a:close/>
                  <a:moveTo>
                    <a:pt x="1518" y="1626"/>
                  </a:moveTo>
                  <a:cubicBezTo>
                    <a:pt x="1518" y="1631"/>
                    <a:pt x="1518" y="1631"/>
                    <a:pt x="1518" y="1631"/>
                  </a:cubicBezTo>
                  <a:cubicBezTo>
                    <a:pt x="1471" y="1631"/>
                    <a:pt x="1471" y="1631"/>
                    <a:pt x="1471" y="1631"/>
                  </a:cubicBezTo>
                  <a:cubicBezTo>
                    <a:pt x="1471" y="1626"/>
                    <a:pt x="1471" y="1626"/>
                    <a:pt x="1471" y="1626"/>
                  </a:cubicBezTo>
                  <a:cubicBezTo>
                    <a:pt x="1518" y="1626"/>
                    <a:pt x="1518" y="1626"/>
                    <a:pt x="1518" y="1626"/>
                  </a:cubicBezTo>
                  <a:close/>
                  <a:moveTo>
                    <a:pt x="1518" y="1637"/>
                  </a:moveTo>
                  <a:cubicBezTo>
                    <a:pt x="1518" y="1643"/>
                    <a:pt x="1518" y="1643"/>
                    <a:pt x="1518" y="1643"/>
                  </a:cubicBezTo>
                  <a:cubicBezTo>
                    <a:pt x="1471" y="1643"/>
                    <a:pt x="1471" y="1643"/>
                    <a:pt x="1471" y="1643"/>
                  </a:cubicBezTo>
                  <a:cubicBezTo>
                    <a:pt x="1471" y="1637"/>
                    <a:pt x="1471" y="1637"/>
                    <a:pt x="1471" y="1637"/>
                  </a:cubicBezTo>
                  <a:cubicBezTo>
                    <a:pt x="1518" y="1637"/>
                    <a:pt x="1518" y="1637"/>
                    <a:pt x="1518" y="1637"/>
                  </a:cubicBezTo>
                  <a:close/>
                  <a:moveTo>
                    <a:pt x="1518" y="1649"/>
                  </a:moveTo>
                  <a:cubicBezTo>
                    <a:pt x="1518" y="1655"/>
                    <a:pt x="1518" y="1655"/>
                    <a:pt x="1518" y="1655"/>
                  </a:cubicBezTo>
                  <a:cubicBezTo>
                    <a:pt x="1471" y="1655"/>
                    <a:pt x="1471" y="1655"/>
                    <a:pt x="1471" y="1655"/>
                  </a:cubicBezTo>
                  <a:cubicBezTo>
                    <a:pt x="1471" y="1649"/>
                    <a:pt x="1471" y="1649"/>
                    <a:pt x="1471" y="1649"/>
                  </a:cubicBezTo>
                  <a:cubicBezTo>
                    <a:pt x="1518" y="1649"/>
                    <a:pt x="1518" y="1649"/>
                    <a:pt x="1518" y="1649"/>
                  </a:cubicBezTo>
                  <a:close/>
                  <a:moveTo>
                    <a:pt x="1518" y="1661"/>
                  </a:moveTo>
                  <a:cubicBezTo>
                    <a:pt x="1518" y="1667"/>
                    <a:pt x="1518" y="1667"/>
                    <a:pt x="1518" y="1667"/>
                  </a:cubicBezTo>
                  <a:cubicBezTo>
                    <a:pt x="1471" y="1667"/>
                    <a:pt x="1471" y="1667"/>
                    <a:pt x="1471" y="1667"/>
                  </a:cubicBezTo>
                  <a:cubicBezTo>
                    <a:pt x="1471" y="1661"/>
                    <a:pt x="1471" y="1661"/>
                    <a:pt x="1471" y="1661"/>
                  </a:cubicBezTo>
                  <a:cubicBezTo>
                    <a:pt x="1518" y="1661"/>
                    <a:pt x="1518" y="1661"/>
                    <a:pt x="1518" y="1661"/>
                  </a:cubicBezTo>
                  <a:close/>
                  <a:moveTo>
                    <a:pt x="1518" y="1673"/>
                  </a:moveTo>
                  <a:cubicBezTo>
                    <a:pt x="1518" y="1679"/>
                    <a:pt x="1518" y="1679"/>
                    <a:pt x="1518" y="1679"/>
                  </a:cubicBezTo>
                  <a:cubicBezTo>
                    <a:pt x="1471" y="1679"/>
                    <a:pt x="1471" y="1679"/>
                    <a:pt x="1471" y="1679"/>
                  </a:cubicBezTo>
                  <a:cubicBezTo>
                    <a:pt x="1471" y="1673"/>
                    <a:pt x="1471" y="1673"/>
                    <a:pt x="1471" y="1673"/>
                  </a:cubicBezTo>
                  <a:cubicBezTo>
                    <a:pt x="1518" y="1673"/>
                    <a:pt x="1518" y="1673"/>
                    <a:pt x="1518" y="1673"/>
                  </a:cubicBezTo>
                  <a:close/>
                  <a:moveTo>
                    <a:pt x="1518" y="1685"/>
                  </a:moveTo>
                  <a:cubicBezTo>
                    <a:pt x="1518" y="1690"/>
                    <a:pt x="1518" y="1690"/>
                    <a:pt x="1518" y="1690"/>
                  </a:cubicBezTo>
                  <a:cubicBezTo>
                    <a:pt x="1471" y="1690"/>
                    <a:pt x="1471" y="1690"/>
                    <a:pt x="1471" y="1690"/>
                  </a:cubicBezTo>
                  <a:cubicBezTo>
                    <a:pt x="1471" y="1685"/>
                    <a:pt x="1471" y="1685"/>
                    <a:pt x="1471" y="1685"/>
                  </a:cubicBezTo>
                  <a:cubicBezTo>
                    <a:pt x="1518" y="1685"/>
                    <a:pt x="1518" y="1685"/>
                    <a:pt x="1518" y="1685"/>
                  </a:cubicBezTo>
                  <a:close/>
                  <a:moveTo>
                    <a:pt x="1518" y="1697"/>
                  </a:moveTo>
                  <a:cubicBezTo>
                    <a:pt x="1518" y="1702"/>
                    <a:pt x="1518" y="1702"/>
                    <a:pt x="1518" y="1702"/>
                  </a:cubicBezTo>
                  <a:cubicBezTo>
                    <a:pt x="1471" y="1702"/>
                    <a:pt x="1471" y="1702"/>
                    <a:pt x="1471" y="1702"/>
                  </a:cubicBezTo>
                  <a:cubicBezTo>
                    <a:pt x="1471" y="1697"/>
                    <a:pt x="1471" y="1697"/>
                    <a:pt x="1471" y="1697"/>
                  </a:cubicBezTo>
                  <a:cubicBezTo>
                    <a:pt x="1518" y="1697"/>
                    <a:pt x="1518" y="1697"/>
                    <a:pt x="1518" y="1697"/>
                  </a:cubicBezTo>
                  <a:close/>
                  <a:moveTo>
                    <a:pt x="1518" y="1709"/>
                  </a:moveTo>
                  <a:cubicBezTo>
                    <a:pt x="1518" y="1714"/>
                    <a:pt x="1518" y="1714"/>
                    <a:pt x="1518" y="1714"/>
                  </a:cubicBezTo>
                  <a:cubicBezTo>
                    <a:pt x="1471" y="1714"/>
                    <a:pt x="1471" y="1714"/>
                    <a:pt x="1471" y="1714"/>
                  </a:cubicBezTo>
                  <a:cubicBezTo>
                    <a:pt x="1471" y="1709"/>
                    <a:pt x="1471" y="1709"/>
                    <a:pt x="1471" y="1709"/>
                  </a:cubicBezTo>
                  <a:cubicBezTo>
                    <a:pt x="1518" y="1709"/>
                    <a:pt x="1518" y="1709"/>
                    <a:pt x="1518" y="1709"/>
                  </a:cubicBezTo>
                  <a:close/>
                  <a:moveTo>
                    <a:pt x="1518" y="1721"/>
                  </a:moveTo>
                  <a:cubicBezTo>
                    <a:pt x="1518" y="1726"/>
                    <a:pt x="1518" y="1726"/>
                    <a:pt x="1518" y="1726"/>
                  </a:cubicBezTo>
                  <a:cubicBezTo>
                    <a:pt x="1471" y="1726"/>
                    <a:pt x="1471" y="1726"/>
                    <a:pt x="1471" y="1726"/>
                  </a:cubicBezTo>
                  <a:cubicBezTo>
                    <a:pt x="1471" y="1721"/>
                    <a:pt x="1471" y="1721"/>
                    <a:pt x="1471" y="1721"/>
                  </a:cubicBezTo>
                  <a:cubicBezTo>
                    <a:pt x="1518" y="1721"/>
                    <a:pt x="1518" y="1721"/>
                    <a:pt x="1518" y="1721"/>
                  </a:cubicBezTo>
                  <a:close/>
                  <a:moveTo>
                    <a:pt x="1518" y="1733"/>
                  </a:moveTo>
                  <a:cubicBezTo>
                    <a:pt x="1518" y="1738"/>
                    <a:pt x="1518" y="1738"/>
                    <a:pt x="1518" y="1738"/>
                  </a:cubicBezTo>
                  <a:cubicBezTo>
                    <a:pt x="1471" y="1738"/>
                    <a:pt x="1471" y="1738"/>
                    <a:pt x="1471" y="1738"/>
                  </a:cubicBezTo>
                  <a:cubicBezTo>
                    <a:pt x="1471" y="1733"/>
                    <a:pt x="1471" y="1733"/>
                    <a:pt x="1471" y="1733"/>
                  </a:cubicBezTo>
                  <a:cubicBezTo>
                    <a:pt x="1518" y="1733"/>
                    <a:pt x="1518" y="1733"/>
                    <a:pt x="1518" y="1733"/>
                  </a:cubicBezTo>
                  <a:close/>
                  <a:moveTo>
                    <a:pt x="1518" y="1745"/>
                  </a:moveTo>
                  <a:cubicBezTo>
                    <a:pt x="1518" y="1750"/>
                    <a:pt x="1518" y="1750"/>
                    <a:pt x="1518" y="1750"/>
                  </a:cubicBezTo>
                  <a:cubicBezTo>
                    <a:pt x="1471" y="1750"/>
                    <a:pt x="1471" y="1750"/>
                    <a:pt x="1471" y="1750"/>
                  </a:cubicBezTo>
                  <a:cubicBezTo>
                    <a:pt x="1471" y="1745"/>
                    <a:pt x="1471" y="1745"/>
                    <a:pt x="1471" y="1745"/>
                  </a:cubicBezTo>
                  <a:cubicBezTo>
                    <a:pt x="1518" y="1745"/>
                    <a:pt x="1518" y="1745"/>
                    <a:pt x="1518" y="1745"/>
                  </a:cubicBezTo>
                  <a:close/>
                  <a:moveTo>
                    <a:pt x="917" y="1601"/>
                  </a:moveTo>
                  <a:cubicBezTo>
                    <a:pt x="970" y="1601"/>
                    <a:pt x="970" y="1601"/>
                    <a:pt x="970" y="1601"/>
                  </a:cubicBezTo>
                  <a:cubicBezTo>
                    <a:pt x="970" y="1664"/>
                    <a:pt x="970" y="1664"/>
                    <a:pt x="970" y="1664"/>
                  </a:cubicBezTo>
                  <a:cubicBezTo>
                    <a:pt x="917" y="1664"/>
                    <a:pt x="917" y="1664"/>
                    <a:pt x="917" y="1664"/>
                  </a:cubicBezTo>
                  <a:cubicBezTo>
                    <a:pt x="917" y="1601"/>
                    <a:pt x="917" y="1601"/>
                    <a:pt x="917" y="1601"/>
                  </a:cubicBezTo>
                  <a:close/>
                  <a:moveTo>
                    <a:pt x="997" y="1515"/>
                  </a:moveTo>
                  <a:cubicBezTo>
                    <a:pt x="1043" y="1515"/>
                    <a:pt x="1043" y="1515"/>
                    <a:pt x="1043" y="1515"/>
                  </a:cubicBezTo>
                  <a:cubicBezTo>
                    <a:pt x="1043" y="1520"/>
                    <a:pt x="1043" y="1520"/>
                    <a:pt x="1043" y="1520"/>
                  </a:cubicBezTo>
                  <a:cubicBezTo>
                    <a:pt x="997" y="1520"/>
                    <a:pt x="997" y="1520"/>
                    <a:pt x="997" y="1520"/>
                  </a:cubicBezTo>
                  <a:cubicBezTo>
                    <a:pt x="997" y="1515"/>
                    <a:pt x="997" y="1515"/>
                    <a:pt x="997" y="1515"/>
                  </a:cubicBezTo>
                  <a:close/>
                  <a:moveTo>
                    <a:pt x="997" y="1528"/>
                  </a:moveTo>
                  <a:cubicBezTo>
                    <a:pt x="1043" y="1528"/>
                    <a:pt x="1043" y="1528"/>
                    <a:pt x="1043" y="1528"/>
                  </a:cubicBezTo>
                  <a:cubicBezTo>
                    <a:pt x="1043" y="1534"/>
                    <a:pt x="1043" y="1534"/>
                    <a:pt x="1043" y="1534"/>
                  </a:cubicBezTo>
                  <a:cubicBezTo>
                    <a:pt x="997" y="1534"/>
                    <a:pt x="997" y="1534"/>
                    <a:pt x="997" y="1534"/>
                  </a:cubicBezTo>
                  <a:cubicBezTo>
                    <a:pt x="997" y="1528"/>
                    <a:pt x="997" y="1528"/>
                    <a:pt x="997" y="1528"/>
                  </a:cubicBezTo>
                  <a:close/>
                  <a:moveTo>
                    <a:pt x="997" y="1541"/>
                  </a:moveTo>
                  <a:cubicBezTo>
                    <a:pt x="1043" y="1541"/>
                    <a:pt x="1043" y="1541"/>
                    <a:pt x="1043" y="1541"/>
                  </a:cubicBezTo>
                  <a:cubicBezTo>
                    <a:pt x="1043" y="1547"/>
                    <a:pt x="1043" y="1547"/>
                    <a:pt x="1043" y="1547"/>
                  </a:cubicBezTo>
                  <a:cubicBezTo>
                    <a:pt x="997" y="1547"/>
                    <a:pt x="997" y="1547"/>
                    <a:pt x="997" y="1547"/>
                  </a:cubicBezTo>
                  <a:cubicBezTo>
                    <a:pt x="997" y="1541"/>
                    <a:pt x="997" y="1541"/>
                    <a:pt x="997" y="1541"/>
                  </a:cubicBezTo>
                  <a:close/>
                  <a:moveTo>
                    <a:pt x="997" y="1552"/>
                  </a:moveTo>
                  <a:cubicBezTo>
                    <a:pt x="1043" y="1552"/>
                    <a:pt x="1043" y="1552"/>
                    <a:pt x="1043" y="1552"/>
                  </a:cubicBezTo>
                  <a:cubicBezTo>
                    <a:pt x="1043" y="1558"/>
                    <a:pt x="1043" y="1558"/>
                    <a:pt x="1043" y="1558"/>
                  </a:cubicBezTo>
                  <a:cubicBezTo>
                    <a:pt x="997" y="1558"/>
                    <a:pt x="997" y="1558"/>
                    <a:pt x="997" y="1558"/>
                  </a:cubicBezTo>
                  <a:cubicBezTo>
                    <a:pt x="997" y="1552"/>
                    <a:pt x="997" y="1552"/>
                    <a:pt x="997" y="1552"/>
                  </a:cubicBezTo>
                  <a:close/>
                  <a:moveTo>
                    <a:pt x="997" y="1564"/>
                  </a:moveTo>
                  <a:cubicBezTo>
                    <a:pt x="1043" y="1564"/>
                    <a:pt x="1043" y="1564"/>
                    <a:pt x="1043" y="1564"/>
                  </a:cubicBezTo>
                  <a:cubicBezTo>
                    <a:pt x="1043" y="1570"/>
                    <a:pt x="1043" y="1570"/>
                    <a:pt x="1043" y="1570"/>
                  </a:cubicBezTo>
                  <a:cubicBezTo>
                    <a:pt x="997" y="1570"/>
                    <a:pt x="997" y="1570"/>
                    <a:pt x="997" y="1570"/>
                  </a:cubicBezTo>
                  <a:cubicBezTo>
                    <a:pt x="997" y="1564"/>
                    <a:pt x="997" y="1564"/>
                    <a:pt x="997" y="1564"/>
                  </a:cubicBezTo>
                  <a:close/>
                  <a:moveTo>
                    <a:pt x="997" y="1576"/>
                  </a:moveTo>
                  <a:cubicBezTo>
                    <a:pt x="1043" y="1576"/>
                    <a:pt x="1043" y="1576"/>
                    <a:pt x="1043" y="1576"/>
                  </a:cubicBezTo>
                  <a:cubicBezTo>
                    <a:pt x="1043" y="1582"/>
                    <a:pt x="1043" y="1582"/>
                    <a:pt x="1043" y="1582"/>
                  </a:cubicBezTo>
                  <a:cubicBezTo>
                    <a:pt x="997" y="1582"/>
                    <a:pt x="997" y="1582"/>
                    <a:pt x="997" y="1582"/>
                  </a:cubicBezTo>
                  <a:cubicBezTo>
                    <a:pt x="997" y="1576"/>
                    <a:pt x="997" y="1576"/>
                    <a:pt x="997" y="1576"/>
                  </a:cubicBezTo>
                  <a:close/>
                  <a:moveTo>
                    <a:pt x="997" y="1588"/>
                  </a:moveTo>
                  <a:cubicBezTo>
                    <a:pt x="1043" y="1588"/>
                    <a:pt x="1043" y="1588"/>
                    <a:pt x="1043" y="1588"/>
                  </a:cubicBezTo>
                  <a:cubicBezTo>
                    <a:pt x="1043" y="1594"/>
                    <a:pt x="1043" y="1594"/>
                    <a:pt x="1043" y="1594"/>
                  </a:cubicBezTo>
                  <a:cubicBezTo>
                    <a:pt x="997" y="1594"/>
                    <a:pt x="997" y="1594"/>
                    <a:pt x="997" y="1594"/>
                  </a:cubicBezTo>
                  <a:cubicBezTo>
                    <a:pt x="997" y="1588"/>
                    <a:pt x="997" y="1588"/>
                    <a:pt x="997" y="1588"/>
                  </a:cubicBezTo>
                  <a:close/>
                  <a:moveTo>
                    <a:pt x="997" y="1600"/>
                  </a:moveTo>
                  <a:cubicBezTo>
                    <a:pt x="1043" y="1600"/>
                    <a:pt x="1043" y="1600"/>
                    <a:pt x="1043" y="1600"/>
                  </a:cubicBezTo>
                  <a:cubicBezTo>
                    <a:pt x="1043" y="1605"/>
                    <a:pt x="1043" y="1605"/>
                    <a:pt x="1043" y="1605"/>
                  </a:cubicBezTo>
                  <a:cubicBezTo>
                    <a:pt x="997" y="1605"/>
                    <a:pt x="997" y="1605"/>
                    <a:pt x="997" y="1605"/>
                  </a:cubicBezTo>
                  <a:cubicBezTo>
                    <a:pt x="997" y="1600"/>
                    <a:pt x="997" y="1600"/>
                    <a:pt x="997" y="1600"/>
                  </a:cubicBezTo>
                  <a:close/>
                  <a:moveTo>
                    <a:pt x="997" y="1612"/>
                  </a:moveTo>
                  <a:cubicBezTo>
                    <a:pt x="1043" y="1612"/>
                    <a:pt x="1043" y="1612"/>
                    <a:pt x="1043" y="1612"/>
                  </a:cubicBezTo>
                  <a:cubicBezTo>
                    <a:pt x="1043" y="1617"/>
                    <a:pt x="1043" y="1617"/>
                    <a:pt x="1043" y="1617"/>
                  </a:cubicBezTo>
                  <a:cubicBezTo>
                    <a:pt x="997" y="1617"/>
                    <a:pt x="997" y="1617"/>
                    <a:pt x="997" y="1617"/>
                  </a:cubicBezTo>
                  <a:cubicBezTo>
                    <a:pt x="997" y="1612"/>
                    <a:pt x="997" y="1612"/>
                    <a:pt x="997" y="1612"/>
                  </a:cubicBezTo>
                  <a:close/>
                  <a:moveTo>
                    <a:pt x="997" y="1626"/>
                  </a:moveTo>
                  <a:cubicBezTo>
                    <a:pt x="1043" y="1626"/>
                    <a:pt x="1043" y="1626"/>
                    <a:pt x="1043" y="1626"/>
                  </a:cubicBezTo>
                  <a:cubicBezTo>
                    <a:pt x="1043" y="1631"/>
                    <a:pt x="1043" y="1631"/>
                    <a:pt x="1043" y="1631"/>
                  </a:cubicBezTo>
                  <a:cubicBezTo>
                    <a:pt x="997" y="1631"/>
                    <a:pt x="997" y="1631"/>
                    <a:pt x="997" y="1631"/>
                  </a:cubicBezTo>
                  <a:cubicBezTo>
                    <a:pt x="997" y="1626"/>
                    <a:pt x="997" y="1626"/>
                    <a:pt x="997" y="1626"/>
                  </a:cubicBezTo>
                  <a:close/>
                  <a:moveTo>
                    <a:pt x="997" y="1637"/>
                  </a:moveTo>
                  <a:cubicBezTo>
                    <a:pt x="1043" y="1637"/>
                    <a:pt x="1043" y="1637"/>
                    <a:pt x="1043" y="1637"/>
                  </a:cubicBezTo>
                  <a:cubicBezTo>
                    <a:pt x="1043" y="1643"/>
                    <a:pt x="1043" y="1643"/>
                    <a:pt x="1043" y="1643"/>
                  </a:cubicBezTo>
                  <a:cubicBezTo>
                    <a:pt x="997" y="1643"/>
                    <a:pt x="997" y="1643"/>
                    <a:pt x="997" y="1643"/>
                  </a:cubicBezTo>
                  <a:cubicBezTo>
                    <a:pt x="997" y="1637"/>
                    <a:pt x="997" y="1637"/>
                    <a:pt x="997" y="1637"/>
                  </a:cubicBezTo>
                  <a:close/>
                  <a:moveTo>
                    <a:pt x="997" y="1649"/>
                  </a:moveTo>
                  <a:cubicBezTo>
                    <a:pt x="1043" y="1649"/>
                    <a:pt x="1043" y="1649"/>
                    <a:pt x="1043" y="1649"/>
                  </a:cubicBezTo>
                  <a:cubicBezTo>
                    <a:pt x="1043" y="1655"/>
                    <a:pt x="1043" y="1655"/>
                    <a:pt x="1043" y="1655"/>
                  </a:cubicBezTo>
                  <a:cubicBezTo>
                    <a:pt x="997" y="1655"/>
                    <a:pt x="997" y="1655"/>
                    <a:pt x="997" y="1655"/>
                  </a:cubicBezTo>
                  <a:cubicBezTo>
                    <a:pt x="997" y="1649"/>
                    <a:pt x="997" y="1649"/>
                    <a:pt x="997" y="1649"/>
                  </a:cubicBezTo>
                  <a:close/>
                  <a:moveTo>
                    <a:pt x="997" y="1661"/>
                  </a:moveTo>
                  <a:cubicBezTo>
                    <a:pt x="1043" y="1661"/>
                    <a:pt x="1043" y="1661"/>
                    <a:pt x="1043" y="1661"/>
                  </a:cubicBezTo>
                  <a:cubicBezTo>
                    <a:pt x="1043" y="1667"/>
                    <a:pt x="1043" y="1667"/>
                    <a:pt x="1043" y="1667"/>
                  </a:cubicBezTo>
                  <a:cubicBezTo>
                    <a:pt x="997" y="1667"/>
                    <a:pt x="997" y="1667"/>
                    <a:pt x="997" y="1667"/>
                  </a:cubicBezTo>
                  <a:cubicBezTo>
                    <a:pt x="997" y="1661"/>
                    <a:pt x="997" y="1661"/>
                    <a:pt x="997" y="1661"/>
                  </a:cubicBezTo>
                  <a:close/>
                  <a:moveTo>
                    <a:pt x="997" y="1673"/>
                  </a:moveTo>
                  <a:cubicBezTo>
                    <a:pt x="1043" y="1673"/>
                    <a:pt x="1043" y="1673"/>
                    <a:pt x="1043" y="1673"/>
                  </a:cubicBezTo>
                  <a:cubicBezTo>
                    <a:pt x="1043" y="1679"/>
                    <a:pt x="1043" y="1679"/>
                    <a:pt x="1043" y="1679"/>
                  </a:cubicBezTo>
                  <a:cubicBezTo>
                    <a:pt x="997" y="1679"/>
                    <a:pt x="997" y="1679"/>
                    <a:pt x="997" y="1679"/>
                  </a:cubicBezTo>
                  <a:cubicBezTo>
                    <a:pt x="997" y="1673"/>
                    <a:pt x="997" y="1673"/>
                    <a:pt x="997" y="1673"/>
                  </a:cubicBezTo>
                  <a:close/>
                  <a:moveTo>
                    <a:pt x="997" y="1685"/>
                  </a:moveTo>
                  <a:cubicBezTo>
                    <a:pt x="1043" y="1685"/>
                    <a:pt x="1043" y="1685"/>
                    <a:pt x="1043" y="1685"/>
                  </a:cubicBezTo>
                  <a:cubicBezTo>
                    <a:pt x="1043" y="1690"/>
                    <a:pt x="1043" y="1690"/>
                    <a:pt x="1043" y="1690"/>
                  </a:cubicBezTo>
                  <a:cubicBezTo>
                    <a:pt x="997" y="1690"/>
                    <a:pt x="997" y="1690"/>
                    <a:pt x="997" y="1690"/>
                  </a:cubicBezTo>
                  <a:cubicBezTo>
                    <a:pt x="997" y="1685"/>
                    <a:pt x="997" y="1685"/>
                    <a:pt x="997" y="1685"/>
                  </a:cubicBezTo>
                  <a:close/>
                  <a:moveTo>
                    <a:pt x="997" y="1697"/>
                  </a:moveTo>
                  <a:cubicBezTo>
                    <a:pt x="1043" y="1697"/>
                    <a:pt x="1043" y="1697"/>
                    <a:pt x="1043" y="1697"/>
                  </a:cubicBezTo>
                  <a:cubicBezTo>
                    <a:pt x="1043" y="1702"/>
                    <a:pt x="1043" y="1702"/>
                    <a:pt x="1043" y="1702"/>
                  </a:cubicBezTo>
                  <a:cubicBezTo>
                    <a:pt x="997" y="1702"/>
                    <a:pt x="997" y="1702"/>
                    <a:pt x="997" y="1702"/>
                  </a:cubicBezTo>
                  <a:cubicBezTo>
                    <a:pt x="997" y="1697"/>
                    <a:pt x="997" y="1697"/>
                    <a:pt x="997" y="1697"/>
                  </a:cubicBezTo>
                  <a:close/>
                  <a:moveTo>
                    <a:pt x="997" y="1709"/>
                  </a:moveTo>
                  <a:cubicBezTo>
                    <a:pt x="1043" y="1709"/>
                    <a:pt x="1043" y="1709"/>
                    <a:pt x="1043" y="1709"/>
                  </a:cubicBezTo>
                  <a:cubicBezTo>
                    <a:pt x="1043" y="1714"/>
                    <a:pt x="1043" y="1714"/>
                    <a:pt x="1043" y="1714"/>
                  </a:cubicBezTo>
                  <a:cubicBezTo>
                    <a:pt x="997" y="1714"/>
                    <a:pt x="997" y="1714"/>
                    <a:pt x="997" y="1714"/>
                  </a:cubicBezTo>
                  <a:cubicBezTo>
                    <a:pt x="997" y="1709"/>
                    <a:pt x="997" y="1709"/>
                    <a:pt x="997" y="1709"/>
                  </a:cubicBezTo>
                  <a:close/>
                  <a:moveTo>
                    <a:pt x="997" y="1721"/>
                  </a:moveTo>
                  <a:cubicBezTo>
                    <a:pt x="1043" y="1721"/>
                    <a:pt x="1043" y="1721"/>
                    <a:pt x="1043" y="1721"/>
                  </a:cubicBezTo>
                  <a:cubicBezTo>
                    <a:pt x="1043" y="1726"/>
                    <a:pt x="1043" y="1726"/>
                    <a:pt x="1043" y="1726"/>
                  </a:cubicBezTo>
                  <a:cubicBezTo>
                    <a:pt x="997" y="1726"/>
                    <a:pt x="997" y="1726"/>
                    <a:pt x="997" y="1726"/>
                  </a:cubicBezTo>
                  <a:cubicBezTo>
                    <a:pt x="997" y="1721"/>
                    <a:pt x="997" y="1721"/>
                    <a:pt x="997" y="1721"/>
                  </a:cubicBezTo>
                  <a:close/>
                  <a:moveTo>
                    <a:pt x="997" y="1733"/>
                  </a:moveTo>
                  <a:cubicBezTo>
                    <a:pt x="1043" y="1733"/>
                    <a:pt x="1043" y="1733"/>
                    <a:pt x="1043" y="1733"/>
                  </a:cubicBezTo>
                  <a:cubicBezTo>
                    <a:pt x="1043" y="1738"/>
                    <a:pt x="1043" y="1738"/>
                    <a:pt x="1043" y="1738"/>
                  </a:cubicBezTo>
                  <a:cubicBezTo>
                    <a:pt x="997" y="1738"/>
                    <a:pt x="997" y="1738"/>
                    <a:pt x="997" y="1738"/>
                  </a:cubicBezTo>
                  <a:cubicBezTo>
                    <a:pt x="997" y="1733"/>
                    <a:pt x="997" y="1733"/>
                    <a:pt x="997" y="1733"/>
                  </a:cubicBezTo>
                  <a:close/>
                  <a:moveTo>
                    <a:pt x="997" y="1745"/>
                  </a:moveTo>
                  <a:cubicBezTo>
                    <a:pt x="1043" y="1745"/>
                    <a:pt x="1043" y="1745"/>
                    <a:pt x="1043" y="1745"/>
                  </a:cubicBezTo>
                  <a:cubicBezTo>
                    <a:pt x="1043" y="1750"/>
                    <a:pt x="1043" y="1750"/>
                    <a:pt x="1043" y="1750"/>
                  </a:cubicBezTo>
                  <a:cubicBezTo>
                    <a:pt x="997" y="1750"/>
                    <a:pt x="997" y="1750"/>
                    <a:pt x="997" y="1750"/>
                  </a:cubicBezTo>
                  <a:cubicBezTo>
                    <a:pt x="997" y="1745"/>
                    <a:pt x="997" y="1745"/>
                    <a:pt x="997" y="1745"/>
                  </a:cubicBezTo>
                  <a:close/>
                  <a:moveTo>
                    <a:pt x="844" y="1515"/>
                  </a:moveTo>
                  <a:cubicBezTo>
                    <a:pt x="891" y="1515"/>
                    <a:pt x="891" y="1515"/>
                    <a:pt x="891" y="1515"/>
                  </a:cubicBezTo>
                  <a:cubicBezTo>
                    <a:pt x="891" y="1520"/>
                    <a:pt x="891" y="1520"/>
                    <a:pt x="891" y="1520"/>
                  </a:cubicBezTo>
                  <a:cubicBezTo>
                    <a:pt x="844" y="1520"/>
                    <a:pt x="844" y="1520"/>
                    <a:pt x="844" y="1520"/>
                  </a:cubicBezTo>
                  <a:cubicBezTo>
                    <a:pt x="844" y="1515"/>
                    <a:pt x="844" y="1515"/>
                    <a:pt x="844" y="1515"/>
                  </a:cubicBezTo>
                  <a:close/>
                  <a:moveTo>
                    <a:pt x="844" y="1528"/>
                  </a:moveTo>
                  <a:cubicBezTo>
                    <a:pt x="891" y="1528"/>
                    <a:pt x="891" y="1528"/>
                    <a:pt x="891" y="1528"/>
                  </a:cubicBezTo>
                  <a:cubicBezTo>
                    <a:pt x="891" y="1534"/>
                    <a:pt x="891" y="1534"/>
                    <a:pt x="891" y="1534"/>
                  </a:cubicBezTo>
                  <a:cubicBezTo>
                    <a:pt x="844" y="1534"/>
                    <a:pt x="844" y="1534"/>
                    <a:pt x="844" y="1534"/>
                  </a:cubicBezTo>
                  <a:cubicBezTo>
                    <a:pt x="844" y="1528"/>
                    <a:pt x="844" y="1528"/>
                    <a:pt x="844" y="1528"/>
                  </a:cubicBezTo>
                  <a:close/>
                  <a:moveTo>
                    <a:pt x="844" y="1541"/>
                  </a:moveTo>
                  <a:cubicBezTo>
                    <a:pt x="891" y="1541"/>
                    <a:pt x="891" y="1541"/>
                    <a:pt x="891" y="1541"/>
                  </a:cubicBezTo>
                  <a:cubicBezTo>
                    <a:pt x="891" y="1547"/>
                    <a:pt x="891" y="1547"/>
                    <a:pt x="891" y="1547"/>
                  </a:cubicBezTo>
                  <a:cubicBezTo>
                    <a:pt x="844" y="1547"/>
                    <a:pt x="844" y="1547"/>
                    <a:pt x="844" y="1547"/>
                  </a:cubicBezTo>
                  <a:cubicBezTo>
                    <a:pt x="844" y="1541"/>
                    <a:pt x="844" y="1541"/>
                    <a:pt x="844" y="1541"/>
                  </a:cubicBezTo>
                  <a:close/>
                  <a:moveTo>
                    <a:pt x="844" y="1552"/>
                  </a:moveTo>
                  <a:cubicBezTo>
                    <a:pt x="891" y="1552"/>
                    <a:pt x="891" y="1552"/>
                    <a:pt x="891" y="1552"/>
                  </a:cubicBezTo>
                  <a:cubicBezTo>
                    <a:pt x="891" y="1558"/>
                    <a:pt x="891" y="1558"/>
                    <a:pt x="891" y="1558"/>
                  </a:cubicBezTo>
                  <a:cubicBezTo>
                    <a:pt x="844" y="1558"/>
                    <a:pt x="844" y="1558"/>
                    <a:pt x="844" y="1558"/>
                  </a:cubicBezTo>
                  <a:cubicBezTo>
                    <a:pt x="844" y="1552"/>
                    <a:pt x="844" y="1552"/>
                    <a:pt x="844" y="1552"/>
                  </a:cubicBezTo>
                  <a:close/>
                  <a:moveTo>
                    <a:pt x="844" y="1564"/>
                  </a:moveTo>
                  <a:cubicBezTo>
                    <a:pt x="891" y="1564"/>
                    <a:pt x="891" y="1564"/>
                    <a:pt x="891" y="1564"/>
                  </a:cubicBezTo>
                  <a:cubicBezTo>
                    <a:pt x="891" y="1570"/>
                    <a:pt x="891" y="1570"/>
                    <a:pt x="891" y="1570"/>
                  </a:cubicBezTo>
                  <a:cubicBezTo>
                    <a:pt x="844" y="1570"/>
                    <a:pt x="844" y="1570"/>
                    <a:pt x="844" y="1570"/>
                  </a:cubicBezTo>
                  <a:cubicBezTo>
                    <a:pt x="844" y="1564"/>
                    <a:pt x="844" y="1564"/>
                    <a:pt x="844" y="1564"/>
                  </a:cubicBezTo>
                  <a:close/>
                  <a:moveTo>
                    <a:pt x="844" y="1576"/>
                  </a:moveTo>
                  <a:cubicBezTo>
                    <a:pt x="891" y="1576"/>
                    <a:pt x="891" y="1576"/>
                    <a:pt x="891" y="1576"/>
                  </a:cubicBezTo>
                  <a:cubicBezTo>
                    <a:pt x="891" y="1582"/>
                    <a:pt x="891" y="1582"/>
                    <a:pt x="891" y="1582"/>
                  </a:cubicBezTo>
                  <a:cubicBezTo>
                    <a:pt x="844" y="1582"/>
                    <a:pt x="844" y="1582"/>
                    <a:pt x="844" y="1582"/>
                  </a:cubicBezTo>
                  <a:cubicBezTo>
                    <a:pt x="844" y="1576"/>
                    <a:pt x="844" y="1576"/>
                    <a:pt x="844" y="1576"/>
                  </a:cubicBezTo>
                  <a:close/>
                  <a:moveTo>
                    <a:pt x="844" y="1588"/>
                  </a:moveTo>
                  <a:cubicBezTo>
                    <a:pt x="891" y="1588"/>
                    <a:pt x="891" y="1588"/>
                    <a:pt x="891" y="1588"/>
                  </a:cubicBezTo>
                  <a:cubicBezTo>
                    <a:pt x="891" y="1594"/>
                    <a:pt x="891" y="1594"/>
                    <a:pt x="891" y="1594"/>
                  </a:cubicBezTo>
                  <a:cubicBezTo>
                    <a:pt x="844" y="1594"/>
                    <a:pt x="844" y="1594"/>
                    <a:pt x="844" y="1594"/>
                  </a:cubicBezTo>
                  <a:cubicBezTo>
                    <a:pt x="844" y="1588"/>
                    <a:pt x="844" y="1588"/>
                    <a:pt x="844" y="1588"/>
                  </a:cubicBezTo>
                  <a:close/>
                  <a:moveTo>
                    <a:pt x="844" y="1600"/>
                  </a:moveTo>
                  <a:cubicBezTo>
                    <a:pt x="891" y="1600"/>
                    <a:pt x="891" y="1600"/>
                    <a:pt x="891" y="1600"/>
                  </a:cubicBezTo>
                  <a:cubicBezTo>
                    <a:pt x="891" y="1605"/>
                    <a:pt x="891" y="1605"/>
                    <a:pt x="891" y="1605"/>
                  </a:cubicBezTo>
                  <a:cubicBezTo>
                    <a:pt x="844" y="1605"/>
                    <a:pt x="844" y="1605"/>
                    <a:pt x="844" y="1605"/>
                  </a:cubicBezTo>
                  <a:cubicBezTo>
                    <a:pt x="844" y="1600"/>
                    <a:pt x="844" y="1600"/>
                    <a:pt x="844" y="1600"/>
                  </a:cubicBezTo>
                  <a:close/>
                  <a:moveTo>
                    <a:pt x="844" y="1612"/>
                  </a:moveTo>
                  <a:cubicBezTo>
                    <a:pt x="891" y="1612"/>
                    <a:pt x="891" y="1612"/>
                    <a:pt x="891" y="1612"/>
                  </a:cubicBezTo>
                  <a:cubicBezTo>
                    <a:pt x="891" y="1617"/>
                    <a:pt x="891" y="1617"/>
                    <a:pt x="891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44" y="1612"/>
                    <a:pt x="844" y="1612"/>
                    <a:pt x="844" y="1612"/>
                  </a:cubicBezTo>
                  <a:close/>
                  <a:moveTo>
                    <a:pt x="844" y="1626"/>
                  </a:moveTo>
                  <a:cubicBezTo>
                    <a:pt x="891" y="1626"/>
                    <a:pt x="891" y="1626"/>
                    <a:pt x="891" y="1626"/>
                  </a:cubicBezTo>
                  <a:cubicBezTo>
                    <a:pt x="891" y="1631"/>
                    <a:pt x="891" y="1631"/>
                    <a:pt x="891" y="1631"/>
                  </a:cubicBezTo>
                  <a:cubicBezTo>
                    <a:pt x="844" y="1631"/>
                    <a:pt x="844" y="1631"/>
                    <a:pt x="844" y="1631"/>
                  </a:cubicBezTo>
                  <a:cubicBezTo>
                    <a:pt x="844" y="1626"/>
                    <a:pt x="844" y="1626"/>
                    <a:pt x="844" y="1626"/>
                  </a:cubicBezTo>
                  <a:close/>
                  <a:moveTo>
                    <a:pt x="844" y="1637"/>
                  </a:moveTo>
                  <a:cubicBezTo>
                    <a:pt x="891" y="1637"/>
                    <a:pt x="891" y="1637"/>
                    <a:pt x="891" y="1637"/>
                  </a:cubicBezTo>
                  <a:cubicBezTo>
                    <a:pt x="891" y="1643"/>
                    <a:pt x="891" y="1643"/>
                    <a:pt x="891" y="1643"/>
                  </a:cubicBezTo>
                  <a:cubicBezTo>
                    <a:pt x="844" y="1643"/>
                    <a:pt x="844" y="1643"/>
                    <a:pt x="844" y="1643"/>
                  </a:cubicBezTo>
                  <a:cubicBezTo>
                    <a:pt x="844" y="1637"/>
                    <a:pt x="844" y="1637"/>
                    <a:pt x="844" y="1637"/>
                  </a:cubicBezTo>
                  <a:close/>
                  <a:moveTo>
                    <a:pt x="844" y="1649"/>
                  </a:moveTo>
                  <a:cubicBezTo>
                    <a:pt x="891" y="1649"/>
                    <a:pt x="891" y="1649"/>
                    <a:pt x="891" y="1649"/>
                  </a:cubicBezTo>
                  <a:cubicBezTo>
                    <a:pt x="891" y="1655"/>
                    <a:pt x="891" y="1655"/>
                    <a:pt x="891" y="1655"/>
                  </a:cubicBezTo>
                  <a:cubicBezTo>
                    <a:pt x="844" y="1655"/>
                    <a:pt x="844" y="1655"/>
                    <a:pt x="844" y="1655"/>
                  </a:cubicBezTo>
                  <a:cubicBezTo>
                    <a:pt x="844" y="1649"/>
                    <a:pt x="844" y="1649"/>
                    <a:pt x="844" y="1649"/>
                  </a:cubicBezTo>
                  <a:close/>
                  <a:moveTo>
                    <a:pt x="844" y="1661"/>
                  </a:moveTo>
                  <a:cubicBezTo>
                    <a:pt x="891" y="1661"/>
                    <a:pt x="891" y="1661"/>
                    <a:pt x="891" y="1661"/>
                  </a:cubicBezTo>
                  <a:cubicBezTo>
                    <a:pt x="891" y="1667"/>
                    <a:pt x="891" y="1667"/>
                    <a:pt x="891" y="1667"/>
                  </a:cubicBezTo>
                  <a:cubicBezTo>
                    <a:pt x="844" y="1667"/>
                    <a:pt x="844" y="1667"/>
                    <a:pt x="844" y="1667"/>
                  </a:cubicBezTo>
                  <a:cubicBezTo>
                    <a:pt x="844" y="1661"/>
                    <a:pt x="844" y="1661"/>
                    <a:pt x="844" y="1661"/>
                  </a:cubicBezTo>
                  <a:close/>
                  <a:moveTo>
                    <a:pt x="844" y="1673"/>
                  </a:moveTo>
                  <a:cubicBezTo>
                    <a:pt x="891" y="1673"/>
                    <a:pt x="891" y="1673"/>
                    <a:pt x="891" y="1673"/>
                  </a:cubicBezTo>
                  <a:cubicBezTo>
                    <a:pt x="891" y="1679"/>
                    <a:pt x="891" y="1679"/>
                    <a:pt x="891" y="1679"/>
                  </a:cubicBezTo>
                  <a:cubicBezTo>
                    <a:pt x="844" y="1679"/>
                    <a:pt x="844" y="1679"/>
                    <a:pt x="844" y="1679"/>
                  </a:cubicBezTo>
                  <a:cubicBezTo>
                    <a:pt x="844" y="1673"/>
                    <a:pt x="844" y="1673"/>
                    <a:pt x="844" y="1673"/>
                  </a:cubicBezTo>
                  <a:close/>
                  <a:moveTo>
                    <a:pt x="844" y="1685"/>
                  </a:moveTo>
                  <a:cubicBezTo>
                    <a:pt x="891" y="1685"/>
                    <a:pt x="891" y="1685"/>
                    <a:pt x="891" y="1685"/>
                  </a:cubicBezTo>
                  <a:cubicBezTo>
                    <a:pt x="891" y="1690"/>
                    <a:pt x="891" y="1690"/>
                    <a:pt x="891" y="1690"/>
                  </a:cubicBezTo>
                  <a:cubicBezTo>
                    <a:pt x="844" y="1690"/>
                    <a:pt x="844" y="1690"/>
                    <a:pt x="844" y="1690"/>
                  </a:cubicBezTo>
                  <a:cubicBezTo>
                    <a:pt x="844" y="1685"/>
                    <a:pt x="844" y="1685"/>
                    <a:pt x="844" y="1685"/>
                  </a:cubicBezTo>
                  <a:close/>
                  <a:moveTo>
                    <a:pt x="844" y="1697"/>
                  </a:moveTo>
                  <a:cubicBezTo>
                    <a:pt x="891" y="1697"/>
                    <a:pt x="891" y="1697"/>
                    <a:pt x="891" y="1697"/>
                  </a:cubicBezTo>
                  <a:cubicBezTo>
                    <a:pt x="891" y="1702"/>
                    <a:pt x="891" y="1702"/>
                    <a:pt x="891" y="1702"/>
                  </a:cubicBezTo>
                  <a:cubicBezTo>
                    <a:pt x="844" y="1702"/>
                    <a:pt x="844" y="1702"/>
                    <a:pt x="844" y="1702"/>
                  </a:cubicBezTo>
                  <a:cubicBezTo>
                    <a:pt x="844" y="1697"/>
                    <a:pt x="844" y="1697"/>
                    <a:pt x="844" y="1697"/>
                  </a:cubicBezTo>
                  <a:close/>
                  <a:moveTo>
                    <a:pt x="844" y="1709"/>
                  </a:moveTo>
                  <a:cubicBezTo>
                    <a:pt x="891" y="1709"/>
                    <a:pt x="891" y="1709"/>
                    <a:pt x="891" y="1709"/>
                  </a:cubicBezTo>
                  <a:cubicBezTo>
                    <a:pt x="891" y="1714"/>
                    <a:pt x="891" y="1714"/>
                    <a:pt x="891" y="1714"/>
                  </a:cubicBezTo>
                  <a:cubicBezTo>
                    <a:pt x="844" y="1714"/>
                    <a:pt x="844" y="1714"/>
                    <a:pt x="844" y="1714"/>
                  </a:cubicBezTo>
                  <a:cubicBezTo>
                    <a:pt x="844" y="1709"/>
                    <a:pt x="844" y="1709"/>
                    <a:pt x="844" y="1709"/>
                  </a:cubicBezTo>
                  <a:close/>
                  <a:moveTo>
                    <a:pt x="844" y="1721"/>
                  </a:moveTo>
                  <a:cubicBezTo>
                    <a:pt x="891" y="1721"/>
                    <a:pt x="891" y="1721"/>
                    <a:pt x="891" y="1721"/>
                  </a:cubicBezTo>
                  <a:cubicBezTo>
                    <a:pt x="891" y="1726"/>
                    <a:pt x="891" y="1726"/>
                    <a:pt x="891" y="1726"/>
                  </a:cubicBezTo>
                  <a:cubicBezTo>
                    <a:pt x="844" y="1726"/>
                    <a:pt x="844" y="1726"/>
                    <a:pt x="844" y="1726"/>
                  </a:cubicBezTo>
                  <a:cubicBezTo>
                    <a:pt x="844" y="1721"/>
                    <a:pt x="844" y="1721"/>
                    <a:pt x="844" y="1721"/>
                  </a:cubicBezTo>
                  <a:close/>
                  <a:moveTo>
                    <a:pt x="844" y="1733"/>
                  </a:moveTo>
                  <a:cubicBezTo>
                    <a:pt x="891" y="1733"/>
                    <a:pt x="891" y="1733"/>
                    <a:pt x="891" y="1733"/>
                  </a:cubicBezTo>
                  <a:cubicBezTo>
                    <a:pt x="891" y="1738"/>
                    <a:pt x="891" y="1738"/>
                    <a:pt x="891" y="1738"/>
                  </a:cubicBezTo>
                  <a:cubicBezTo>
                    <a:pt x="844" y="1738"/>
                    <a:pt x="844" y="1738"/>
                    <a:pt x="844" y="1738"/>
                  </a:cubicBezTo>
                  <a:cubicBezTo>
                    <a:pt x="844" y="1733"/>
                    <a:pt x="844" y="1733"/>
                    <a:pt x="844" y="1733"/>
                  </a:cubicBezTo>
                  <a:close/>
                  <a:moveTo>
                    <a:pt x="844" y="1745"/>
                  </a:moveTo>
                  <a:cubicBezTo>
                    <a:pt x="891" y="1745"/>
                    <a:pt x="891" y="1745"/>
                    <a:pt x="891" y="1745"/>
                  </a:cubicBezTo>
                  <a:cubicBezTo>
                    <a:pt x="891" y="1750"/>
                    <a:pt x="891" y="1750"/>
                    <a:pt x="891" y="1750"/>
                  </a:cubicBezTo>
                  <a:cubicBezTo>
                    <a:pt x="844" y="1750"/>
                    <a:pt x="844" y="1750"/>
                    <a:pt x="844" y="1750"/>
                  </a:cubicBezTo>
                  <a:cubicBezTo>
                    <a:pt x="844" y="1745"/>
                    <a:pt x="844" y="1745"/>
                    <a:pt x="844" y="1745"/>
                  </a:cubicBezTo>
                  <a:close/>
                  <a:moveTo>
                    <a:pt x="1140" y="1387"/>
                  </a:moveTo>
                  <a:cubicBezTo>
                    <a:pt x="1140" y="1392"/>
                    <a:pt x="1140" y="1392"/>
                    <a:pt x="1140" y="1392"/>
                  </a:cubicBezTo>
                  <a:cubicBezTo>
                    <a:pt x="958" y="1392"/>
                    <a:pt x="958" y="1392"/>
                    <a:pt x="958" y="1392"/>
                  </a:cubicBezTo>
                  <a:cubicBezTo>
                    <a:pt x="958" y="1387"/>
                    <a:pt x="958" y="1387"/>
                    <a:pt x="958" y="1387"/>
                  </a:cubicBezTo>
                  <a:cubicBezTo>
                    <a:pt x="1140" y="1387"/>
                    <a:pt x="1140" y="1387"/>
                    <a:pt x="1140" y="1387"/>
                  </a:cubicBezTo>
                  <a:close/>
                  <a:moveTo>
                    <a:pt x="951" y="1411"/>
                  </a:moveTo>
                  <a:cubicBezTo>
                    <a:pt x="1006" y="1461"/>
                    <a:pt x="1006" y="1461"/>
                    <a:pt x="1006" y="1461"/>
                  </a:cubicBezTo>
                  <a:cubicBezTo>
                    <a:pt x="901" y="1461"/>
                    <a:pt x="901" y="1461"/>
                    <a:pt x="901" y="1461"/>
                  </a:cubicBezTo>
                  <a:cubicBezTo>
                    <a:pt x="951" y="1411"/>
                    <a:pt x="951" y="1411"/>
                    <a:pt x="951" y="1411"/>
                  </a:cubicBezTo>
                  <a:close/>
                  <a:moveTo>
                    <a:pt x="1221" y="1387"/>
                  </a:moveTo>
                  <a:cubicBezTo>
                    <a:pt x="1403" y="1387"/>
                    <a:pt x="1403" y="1387"/>
                    <a:pt x="1403" y="1387"/>
                  </a:cubicBezTo>
                  <a:cubicBezTo>
                    <a:pt x="1403" y="1392"/>
                    <a:pt x="1403" y="1392"/>
                    <a:pt x="1403" y="1392"/>
                  </a:cubicBezTo>
                  <a:cubicBezTo>
                    <a:pt x="1221" y="1392"/>
                    <a:pt x="1221" y="1392"/>
                    <a:pt x="1221" y="1392"/>
                  </a:cubicBezTo>
                  <a:cubicBezTo>
                    <a:pt x="1221" y="1387"/>
                    <a:pt x="1221" y="1387"/>
                    <a:pt x="1221" y="1387"/>
                  </a:cubicBezTo>
                  <a:close/>
                  <a:moveTo>
                    <a:pt x="1409" y="1411"/>
                  </a:moveTo>
                  <a:cubicBezTo>
                    <a:pt x="1459" y="1461"/>
                    <a:pt x="1459" y="1461"/>
                    <a:pt x="1459" y="1461"/>
                  </a:cubicBezTo>
                  <a:cubicBezTo>
                    <a:pt x="1355" y="1461"/>
                    <a:pt x="1355" y="1461"/>
                    <a:pt x="1355" y="1461"/>
                  </a:cubicBezTo>
                  <a:lnTo>
                    <a:pt x="1409" y="14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solidFill>
                  <a:schemeClr val="accent1">
                    <a:lumMod val="50000"/>
                  </a:schemeClr>
                </a:solidFill>
                <a:cs typeface="+mn-ea"/>
                <a:sym typeface="+mn-lt"/>
              </a:endParaRPr>
            </a:p>
          </p:txBody>
        </p:sp>
      </p:grpSp>
      <p:cxnSp>
        <p:nvCxnSpPr>
          <p:cNvPr id="105" name="直接连接符 104">
            <a:extLst>
              <a:ext uri="{FF2B5EF4-FFF2-40B4-BE49-F238E27FC236}">
                <a16:creationId xmlns:a16="http://schemas.microsoft.com/office/drawing/2014/main" id="{738F9CCD-38CB-4E6E-8737-571AB80EAF60}"/>
              </a:ext>
            </a:extLst>
          </p:cNvPr>
          <p:cNvCxnSpPr>
            <a:cxnSpLocks/>
          </p:cNvCxnSpPr>
          <p:nvPr/>
        </p:nvCxnSpPr>
        <p:spPr>
          <a:xfrm>
            <a:off x="11426703" y="1497686"/>
            <a:ext cx="0" cy="413603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pic>
        <p:nvPicPr>
          <p:cNvPr id="11" name="图片 10">
            <a:extLst>
              <a:ext uri="{FF2B5EF4-FFF2-40B4-BE49-F238E27FC236}">
                <a16:creationId xmlns:a16="http://schemas.microsoft.com/office/drawing/2014/main" id="{1656719D-B7E4-46A2-8206-2080328DABEB}"/>
              </a:ext>
            </a:extLst>
          </p:cNvPr>
          <p:cNvPicPr>
            <a:picLocks/>
          </p:cNvPicPr>
          <p:nvPr/>
        </p:nvPicPr>
        <p:blipFill rotWithShape="1">
          <a:blip r:embed="rId8"/>
          <a:srcRect l="21857" t="20846"/>
          <a:stretch/>
        </p:blipFill>
        <p:spPr>
          <a:xfrm>
            <a:off x="-1" y="0"/>
            <a:ext cx="4224817" cy="4309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4593994" y="2533650"/>
            <a:ext cx="5419185" cy="895350"/>
          </a:xfrm>
        </p:spPr>
        <p:txBody>
          <a:bodyPr/>
          <a:lstStyle/>
          <a:p>
            <a:r>
              <a:rPr lang="en-US" altLang="zh-CN" dirty="0">
                <a:solidFill>
                  <a:schemeClr val="accent1"/>
                </a:solidFill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solidFill>
                <a:schemeClr val="accent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4595110" y="3429000"/>
            <a:ext cx="5419185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227081" y="2831071"/>
            <a:ext cx="1147658" cy="1128308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-150" dirty="0">
                <a:solidFill>
                  <a:schemeClr val="accent1"/>
                </a:solidFill>
                <a:cs typeface="+mn-ea"/>
                <a:sym typeface="+mn-lt"/>
              </a:rPr>
              <a:t>01</a:t>
            </a:r>
            <a:endParaRPr lang="zh-CN" altLang="en-US" spc="-15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pSp>
        <p:nvGrpSpPr>
          <p:cNvPr id="54" name="组合 53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170AFD-33CA-4937-9761-64E42B726CF3}"/>
              </a:ext>
            </a:extLst>
          </p:cNvPr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856217" y="1021604"/>
            <a:ext cx="2037291" cy="485589"/>
            <a:chOff x="2246313" y="2511425"/>
            <a:chExt cx="7699375" cy="1835150"/>
          </a:xfrm>
          <a:solidFill>
            <a:schemeClr val="accent2"/>
          </a:solidFill>
        </p:grpSpPr>
        <p:sp>
          <p:nvSpPr>
            <p:cNvPr id="55" name="任意多边形: 形状 54">
              <a:extLst>
                <a:ext uri="{FF2B5EF4-FFF2-40B4-BE49-F238E27FC236}">
                  <a16:creationId xmlns:a16="http://schemas.microsoft.com/office/drawing/2014/main" id="{3D06CFDA-9E0E-40FF-941B-D3322278EE26}"/>
                </a:ext>
              </a:extLst>
            </p:cNvPr>
            <p:cNvSpPr/>
            <p:nvPr/>
          </p:nvSpPr>
          <p:spPr bwMode="auto">
            <a:xfrm>
              <a:off x="5649913" y="3900488"/>
              <a:ext cx="219075" cy="223838"/>
            </a:xfrm>
            <a:custGeom>
              <a:avLst/>
              <a:gdLst>
                <a:gd name="T0" fmla="*/ 143 w 283"/>
                <a:gd name="T1" fmla="*/ 170 h 288"/>
                <a:gd name="T2" fmla="*/ 209 w 283"/>
                <a:gd name="T3" fmla="*/ 170 h 288"/>
                <a:gd name="T4" fmla="*/ 209 w 283"/>
                <a:gd name="T5" fmla="*/ 216 h 288"/>
                <a:gd name="T6" fmla="*/ 98 w 283"/>
                <a:gd name="T7" fmla="*/ 216 h 288"/>
                <a:gd name="T8" fmla="*/ 69 w 283"/>
                <a:gd name="T9" fmla="*/ 185 h 288"/>
                <a:gd name="T10" fmla="*/ 69 w 283"/>
                <a:gd name="T11" fmla="*/ 96 h 288"/>
                <a:gd name="T12" fmla="*/ 98 w 283"/>
                <a:gd name="T13" fmla="*/ 67 h 288"/>
                <a:gd name="T14" fmla="*/ 269 w 283"/>
                <a:gd name="T15" fmla="*/ 67 h 288"/>
                <a:gd name="T16" fmla="*/ 269 w 283"/>
                <a:gd name="T17" fmla="*/ 0 h 288"/>
                <a:gd name="T18" fmla="*/ 76 w 283"/>
                <a:gd name="T19" fmla="*/ 0 h 288"/>
                <a:gd name="T20" fmla="*/ 0 w 283"/>
                <a:gd name="T21" fmla="*/ 89 h 288"/>
                <a:gd name="T22" fmla="*/ 0 w 283"/>
                <a:gd name="T23" fmla="*/ 177 h 288"/>
                <a:gd name="T24" fmla="*/ 106 w 283"/>
                <a:gd name="T25" fmla="*/ 288 h 288"/>
                <a:gd name="T26" fmla="*/ 283 w 283"/>
                <a:gd name="T27" fmla="*/ 288 h 288"/>
                <a:gd name="T28" fmla="*/ 283 w 283"/>
                <a:gd name="T29" fmla="*/ 115 h 288"/>
                <a:gd name="T30" fmla="*/ 143 w 283"/>
                <a:gd name="T31" fmla="*/ 115 h 288"/>
                <a:gd name="T32" fmla="*/ 143 w 283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3" h="288">
                  <a:moveTo>
                    <a:pt x="143" y="170"/>
                  </a:moveTo>
                  <a:cubicBezTo>
                    <a:pt x="209" y="170"/>
                    <a:pt x="209" y="170"/>
                    <a:pt x="209" y="170"/>
                  </a:cubicBezTo>
                  <a:cubicBezTo>
                    <a:pt x="209" y="216"/>
                    <a:pt x="209" y="216"/>
                    <a:pt x="209" y="216"/>
                  </a:cubicBezTo>
                  <a:cubicBezTo>
                    <a:pt x="98" y="216"/>
                    <a:pt x="98" y="216"/>
                    <a:pt x="98" y="216"/>
                  </a:cubicBezTo>
                  <a:cubicBezTo>
                    <a:pt x="81" y="216"/>
                    <a:pt x="69" y="202"/>
                    <a:pt x="69" y="185"/>
                  </a:cubicBezTo>
                  <a:cubicBezTo>
                    <a:pt x="69" y="96"/>
                    <a:pt x="69" y="96"/>
                    <a:pt x="69" y="96"/>
                  </a:cubicBezTo>
                  <a:cubicBezTo>
                    <a:pt x="69" y="79"/>
                    <a:pt x="81" y="67"/>
                    <a:pt x="98" y="67"/>
                  </a:cubicBezTo>
                  <a:cubicBezTo>
                    <a:pt x="269" y="67"/>
                    <a:pt x="269" y="67"/>
                    <a:pt x="269" y="67"/>
                  </a:cubicBezTo>
                  <a:cubicBezTo>
                    <a:pt x="269" y="0"/>
                    <a:pt x="269" y="0"/>
                    <a:pt x="269" y="0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35" y="0"/>
                    <a:pt x="0" y="49"/>
                    <a:pt x="0" y="89"/>
                  </a:cubicBezTo>
                  <a:cubicBezTo>
                    <a:pt x="0" y="177"/>
                    <a:pt x="0" y="177"/>
                    <a:pt x="0" y="177"/>
                  </a:cubicBezTo>
                  <a:cubicBezTo>
                    <a:pt x="0" y="248"/>
                    <a:pt x="35" y="288"/>
                    <a:pt x="106" y="288"/>
                  </a:cubicBezTo>
                  <a:cubicBezTo>
                    <a:pt x="283" y="288"/>
                    <a:pt x="283" y="288"/>
                    <a:pt x="283" y="288"/>
                  </a:cubicBezTo>
                  <a:cubicBezTo>
                    <a:pt x="283" y="115"/>
                    <a:pt x="283" y="115"/>
                    <a:pt x="283" y="115"/>
                  </a:cubicBezTo>
                  <a:cubicBezTo>
                    <a:pt x="143" y="115"/>
                    <a:pt x="143" y="115"/>
                    <a:pt x="143" y="115"/>
                  </a:cubicBezTo>
                  <a:lnTo>
                    <a:pt x="14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6" name="矩形 55">
              <a:extLst>
                <a:ext uri="{FF2B5EF4-FFF2-40B4-BE49-F238E27FC236}">
                  <a16:creationId xmlns:a16="http://schemas.microsoft.com/office/drawing/2014/main" id="{FFB513E0-7780-4104-98B5-116DD55B8C2F}"/>
                </a:ext>
              </a:extLst>
            </p:cNvPr>
            <p:cNvSpPr/>
            <p:nvPr/>
          </p:nvSpPr>
          <p:spPr bwMode="auto">
            <a:xfrm>
              <a:off x="6121401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7" name="任意多边形: 形状 56">
              <a:extLst>
                <a:ext uri="{FF2B5EF4-FFF2-40B4-BE49-F238E27FC236}">
                  <a16:creationId xmlns:a16="http://schemas.microsoft.com/office/drawing/2014/main" id="{E8EBDDCB-195D-43BD-9A26-45856C0F1A10}"/>
                </a:ext>
              </a:extLst>
            </p:cNvPr>
            <p:cNvSpPr/>
            <p:nvPr/>
          </p:nvSpPr>
          <p:spPr bwMode="auto">
            <a:xfrm>
              <a:off x="9520238" y="3900488"/>
              <a:ext cx="195263" cy="223838"/>
            </a:xfrm>
            <a:custGeom>
              <a:avLst/>
              <a:gdLst>
                <a:gd name="T0" fmla="*/ 0 w 123"/>
                <a:gd name="T1" fmla="*/ 37 h 141"/>
                <a:gd name="T2" fmla="*/ 43 w 123"/>
                <a:gd name="T3" fmla="*/ 37 h 141"/>
                <a:gd name="T4" fmla="*/ 43 w 123"/>
                <a:gd name="T5" fmla="*/ 141 h 141"/>
                <a:gd name="T6" fmla="*/ 79 w 123"/>
                <a:gd name="T7" fmla="*/ 141 h 141"/>
                <a:gd name="T8" fmla="*/ 79 w 123"/>
                <a:gd name="T9" fmla="*/ 37 h 141"/>
                <a:gd name="T10" fmla="*/ 123 w 123"/>
                <a:gd name="T11" fmla="*/ 37 h 141"/>
                <a:gd name="T12" fmla="*/ 123 w 123"/>
                <a:gd name="T13" fmla="*/ 0 h 141"/>
                <a:gd name="T14" fmla="*/ 0 w 123"/>
                <a:gd name="T15" fmla="*/ 0 h 141"/>
                <a:gd name="T16" fmla="*/ 0 w 123"/>
                <a:gd name="T17" fmla="*/ 37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3" h="141">
                  <a:moveTo>
                    <a:pt x="0" y="37"/>
                  </a:moveTo>
                  <a:lnTo>
                    <a:pt x="43" y="37"/>
                  </a:lnTo>
                  <a:lnTo>
                    <a:pt x="43" y="141"/>
                  </a:lnTo>
                  <a:lnTo>
                    <a:pt x="79" y="141"/>
                  </a:lnTo>
                  <a:lnTo>
                    <a:pt x="79" y="37"/>
                  </a:lnTo>
                  <a:lnTo>
                    <a:pt x="123" y="37"/>
                  </a:lnTo>
                  <a:lnTo>
                    <a:pt x="123" y="0"/>
                  </a:lnTo>
                  <a:lnTo>
                    <a:pt x="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C9472F06-7275-4B89-82F7-EA89BE97752F}"/>
                </a:ext>
              </a:extLst>
            </p:cNvPr>
            <p:cNvSpPr/>
            <p:nvPr/>
          </p:nvSpPr>
          <p:spPr bwMode="auto">
            <a:xfrm>
              <a:off x="8416926" y="3900488"/>
              <a:ext cx="5873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59" name="任意多边形: 形状 58">
              <a:extLst>
                <a:ext uri="{FF2B5EF4-FFF2-40B4-BE49-F238E27FC236}">
                  <a16:creationId xmlns:a16="http://schemas.microsoft.com/office/drawing/2014/main" id="{4A81CF18-BD3C-4FD3-B326-BDAA66624484}"/>
                </a:ext>
              </a:extLst>
            </p:cNvPr>
            <p:cNvSpPr/>
            <p:nvPr/>
          </p:nvSpPr>
          <p:spPr bwMode="auto">
            <a:xfrm>
              <a:off x="5880101" y="3900488"/>
              <a:ext cx="225425" cy="223838"/>
            </a:xfrm>
            <a:custGeom>
              <a:avLst/>
              <a:gdLst>
                <a:gd name="T0" fmla="*/ 281 w 289"/>
                <a:gd name="T1" fmla="*/ 0 h 288"/>
                <a:gd name="T2" fmla="*/ 197 w 289"/>
                <a:gd name="T3" fmla="*/ 0 h 288"/>
                <a:gd name="T4" fmla="*/ 145 w 289"/>
                <a:gd name="T5" fmla="*/ 85 h 288"/>
                <a:gd name="T6" fmla="*/ 91 w 289"/>
                <a:gd name="T7" fmla="*/ 0 h 288"/>
                <a:gd name="T8" fmla="*/ 1 w 289"/>
                <a:gd name="T9" fmla="*/ 0 h 288"/>
                <a:gd name="T10" fmla="*/ 97 w 289"/>
                <a:gd name="T11" fmla="*/ 140 h 288"/>
                <a:gd name="T12" fmla="*/ 0 w 289"/>
                <a:gd name="T13" fmla="*/ 288 h 288"/>
                <a:gd name="T14" fmla="*/ 89 w 289"/>
                <a:gd name="T15" fmla="*/ 288 h 288"/>
                <a:gd name="T16" fmla="*/ 137 w 289"/>
                <a:gd name="T17" fmla="*/ 209 h 288"/>
                <a:gd name="T18" fmla="*/ 148 w 289"/>
                <a:gd name="T19" fmla="*/ 207 h 288"/>
                <a:gd name="T20" fmla="*/ 193 w 289"/>
                <a:gd name="T21" fmla="*/ 288 h 288"/>
                <a:gd name="T22" fmla="*/ 289 w 289"/>
                <a:gd name="T23" fmla="*/ 288 h 288"/>
                <a:gd name="T24" fmla="*/ 192 w 289"/>
                <a:gd name="T25" fmla="*/ 148 h 288"/>
                <a:gd name="T26" fmla="*/ 281 w 289"/>
                <a:gd name="T27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9" h="288">
                  <a:moveTo>
                    <a:pt x="281" y="0"/>
                  </a:moveTo>
                  <a:cubicBezTo>
                    <a:pt x="197" y="0"/>
                    <a:pt x="197" y="0"/>
                    <a:pt x="197" y="0"/>
                  </a:cubicBezTo>
                  <a:cubicBezTo>
                    <a:pt x="145" y="85"/>
                    <a:pt x="145" y="85"/>
                    <a:pt x="145" y="85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97" y="140"/>
                    <a:pt x="97" y="140"/>
                    <a:pt x="97" y="14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89" y="288"/>
                    <a:pt x="89" y="288"/>
                    <a:pt x="89" y="288"/>
                  </a:cubicBezTo>
                  <a:cubicBezTo>
                    <a:pt x="137" y="209"/>
                    <a:pt x="137" y="209"/>
                    <a:pt x="137" y="209"/>
                  </a:cubicBezTo>
                  <a:cubicBezTo>
                    <a:pt x="148" y="207"/>
                    <a:pt x="148" y="207"/>
                    <a:pt x="148" y="207"/>
                  </a:cubicBezTo>
                  <a:cubicBezTo>
                    <a:pt x="193" y="288"/>
                    <a:pt x="193" y="288"/>
                    <a:pt x="193" y="288"/>
                  </a:cubicBezTo>
                  <a:cubicBezTo>
                    <a:pt x="289" y="288"/>
                    <a:pt x="289" y="288"/>
                    <a:pt x="289" y="288"/>
                  </a:cubicBezTo>
                  <a:cubicBezTo>
                    <a:pt x="280" y="275"/>
                    <a:pt x="192" y="150"/>
                    <a:pt x="192" y="148"/>
                  </a:cubicBezTo>
                  <a:cubicBezTo>
                    <a:pt x="192" y="115"/>
                    <a:pt x="270" y="42"/>
                    <a:pt x="281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0" name="任意多边形: 形状 59">
              <a:extLst>
                <a:ext uri="{FF2B5EF4-FFF2-40B4-BE49-F238E27FC236}">
                  <a16:creationId xmlns:a16="http://schemas.microsoft.com/office/drawing/2014/main" id="{814BDF74-7955-4B1D-B4ED-2D7C7A80C32B}"/>
                </a:ext>
              </a:extLst>
            </p:cNvPr>
            <p:cNvSpPr/>
            <p:nvPr/>
          </p:nvSpPr>
          <p:spPr bwMode="auto">
            <a:xfrm>
              <a:off x="6810376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63 w 289"/>
                <a:gd name="T11" fmla="*/ 288 h 288"/>
                <a:gd name="T12" fmla="*/ 259 w 289"/>
                <a:gd name="T13" fmla="*/ 288 h 288"/>
                <a:gd name="T14" fmla="*/ 178 w 289"/>
                <a:gd name="T15" fmla="*/ 221 h 288"/>
                <a:gd name="T16" fmla="*/ 289 w 289"/>
                <a:gd name="T17" fmla="*/ 110 h 288"/>
                <a:gd name="T18" fmla="*/ 289 w 289"/>
                <a:gd name="T19" fmla="*/ 103 h 288"/>
                <a:gd name="T20" fmla="*/ 178 w 289"/>
                <a:gd name="T21" fmla="*/ 0 h 288"/>
                <a:gd name="T22" fmla="*/ 215 w 289"/>
                <a:gd name="T23" fmla="*/ 110 h 288"/>
                <a:gd name="T24" fmla="*/ 207 w 289"/>
                <a:gd name="T25" fmla="*/ 147 h 288"/>
                <a:gd name="T26" fmla="*/ 67 w 289"/>
                <a:gd name="T27" fmla="*/ 147 h 288"/>
                <a:gd name="T28" fmla="*/ 67 w 289"/>
                <a:gd name="T29" fmla="*/ 73 h 288"/>
                <a:gd name="T30" fmla="*/ 193 w 289"/>
                <a:gd name="T31" fmla="*/ 73 h 288"/>
                <a:gd name="T32" fmla="*/ 215 w 289"/>
                <a:gd name="T33" fmla="*/ 95 h 288"/>
                <a:gd name="T34" fmla="*/ 215 w 289"/>
                <a:gd name="T35" fmla="*/ 11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63" y="288"/>
                    <a:pt x="163" y="288"/>
                    <a:pt x="163" y="288"/>
                  </a:cubicBezTo>
                  <a:cubicBezTo>
                    <a:pt x="259" y="288"/>
                    <a:pt x="259" y="288"/>
                    <a:pt x="259" y="288"/>
                  </a:cubicBezTo>
                  <a:cubicBezTo>
                    <a:pt x="178" y="221"/>
                    <a:pt x="178" y="221"/>
                    <a:pt x="178" y="221"/>
                  </a:cubicBezTo>
                  <a:cubicBezTo>
                    <a:pt x="247" y="221"/>
                    <a:pt x="289" y="178"/>
                    <a:pt x="289" y="110"/>
                  </a:cubicBezTo>
                  <a:cubicBezTo>
                    <a:pt x="289" y="103"/>
                    <a:pt x="289" y="103"/>
                    <a:pt x="289" y="103"/>
                  </a:cubicBezTo>
                  <a:cubicBezTo>
                    <a:pt x="289" y="32"/>
                    <a:pt x="250" y="0"/>
                    <a:pt x="178" y="0"/>
                  </a:cubicBezTo>
                  <a:close/>
                  <a:moveTo>
                    <a:pt x="215" y="110"/>
                  </a:moveTo>
                  <a:cubicBezTo>
                    <a:pt x="215" y="130"/>
                    <a:pt x="211" y="131"/>
                    <a:pt x="207" y="147"/>
                  </a:cubicBezTo>
                  <a:cubicBezTo>
                    <a:pt x="67" y="147"/>
                    <a:pt x="67" y="147"/>
                    <a:pt x="67" y="147"/>
                  </a:cubicBezTo>
                  <a:cubicBezTo>
                    <a:pt x="67" y="73"/>
                    <a:pt x="67" y="73"/>
                    <a:pt x="67" y="73"/>
                  </a:cubicBezTo>
                  <a:cubicBezTo>
                    <a:pt x="193" y="73"/>
                    <a:pt x="193" y="73"/>
                    <a:pt x="193" y="73"/>
                  </a:cubicBezTo>
                  <a:cubicBezTo>
                    <a:pt x="210" y="73"/>
                    <a:pt x="215" y="78"/>
                    <a:pt x="215" y="95"/>
                  </a:cubicBezTo>
                  <a:lnTo>
                    <a:pt x="2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1" name="任意多边形: 形状 60">
              <a:extLst>
                <a:ext uri="{FF2B5EF4-FFF2-40B4-BE49-F238E27FC236}">
                  <a16:creationId xmlns:a16="http://schemas.microsoft.com/office/drawing/2014/main" id="{F97B3CB1-8946-4FDB-B8E6-D9FE1E288CCE}"/>
                </a:ext>
              </a:extLst>
            </p:cNvPr>
            <p:cNvSpPr/>
            <p:nvPr/>
          </p:nvSpPr>
          <p:spPr bwMode="auto">
            <a:xfrm>
              <a:off x="4887913" y="3900488"/>
              <a:ext cx="223838" cy="223838"/>
            </a:xfrm>
            <a:custGeom>
              <a:avLst/>
              <a:gdLst>
                <a:gd name="T0" fmla="*/ 214 w 288"/>
                <a:gd name="T1" fmla="*/ 192 h 288"/>
                <a:gd name="T2" fmla="*/ 192 w 288"/>
                <a:gd name="T3" fmla="*/ 214 h 288"/>
                <a:gd name="T4" fmla="*/ 110 w 288"/>
                <a:gd name="T5" fmla="*/ 214 h 288"/>
                <a:gd name="T6" fmla="*/ 73 w 288"/>
                <a:gd name="T7" fmla="*/ 207 h 288"/>
                <a:gd name="T8" fmla="*/ 73 w 288"/>
                <a:gd name="T9" fmla="*/ 0 h 288"/>
                <a:gd name="T10" fmla="*/ 0 w 288"/>
                <a:gd name="T11" fmla="*/ 0 h 288"/>
                <a:gd name="T12" fmla="*/ 0 w 288"/>
                <a:gd name="T13" fmla="*/ 185 h 288"/>
                <a:gd name="T14" fmla="*/ 81 w 288"/>
                <a:gd name="T15" fmla="*/ 288 h 288"/>
                <a:gd name="T16" fmla="*/ 199 w 288"/>
                <a:gd name="T17" fmla="*/ 288 h 288"/>
                <a:gd name="T18" fmla="*/ 288 w 288"/>
                <a:gd name="T19" fmla="*/ 192 h 288"/>
                <a:gd name="T20" fmla="*/ 288 w 288"/>
                <a:gd name="T21" fmla="*/ 0 h 288"/>
                <a:gd name="T22" fmla="*/ 214 w 288"/>
                <a:gd name="T23" fmla="*/ 0 h 288"/>
                <a:gd name="T24" fmla="*/ 214 w 288"/>
                <a:gd name="T25" fmla="*/ 19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214" y="192"/>
                  </a:moveTo>
                  <a:cubicBezTo>
                    <a:pt x="214" y="209"/>
                    <a:pt x="209" y="214"/>
                    <a:pt x="192" y="214"/>
                  </a:cubicBezTo>
                  <a:cubicBezTo>
                    <a:pt x="110" y="214"/>
                    <a:pt x="110" y="214"/>
                    <a:pt x="110" y="214"/>
                  </a:cubicBezTo>
                  <a:cubicBezTo>
                    <a:pt x="90" y="214"/>
                    <a:pt x="90" y="211"/>
                    <a:pt x="73" y="207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85"/>
                    <a:pt x="0" y="185"/>
                    <a:pt x="0" y="185"/>
                  </a:cubicBezTo>
                  <a:cubicBezTo>
                    <a:pt x="0" y="235"/>
                    <a:pt x="42" y="288"/>
                    <a:pt x="81" y="288"/>
                  </a:cubicBezTo>
                  <a:cubicBezTo>
                    <a:pt x="199" y="288"/>
                    <a:pt x="199" y="288"/>
                    <a:pt x="199" y="288"/>
                  </a:cubicBezTo>
                  <a:cubicBezTo>
                    <a:pt x="249" y="288"/>
                    <a:pt x="288" y="245"/>
                    <a:pt x="288" y="192"/>
                  </a:cubicBezTo>
                  <a:cubicBezTo>
                    <a:pt x="288" y="0"/>
                    <a:pt x="288" y="0"/>
                    <a:pt x="288" y="0"/>
                  </a:cubicBezTo>
                  <a:cubicBezTo>
                    <a:pt x="214" y="0"/>
                    <a:pt x="214" y="0"/>
                    <a:pt x="214" y="0"/>
                  </a:cubicBezTo>
                  <a:lnTo>
                    <a:pt x="214" y="19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2" name="任意多边形: 形状 61">
              <a:extLst>
                <a:ext uri="{FF2B5EF4-FFF2-40B4-BE49-F238E27FC236}">
                  <a16:creationId xmlns:a16="http://schemas.microsoft.com/office/drawing/2014/main" id="{0E29B69A-6850-493C-965B-AF794A495E5B}"/>
                </a:ext>
              </a:extLst>
            </p:cNvPr>
            <p:cNvSpPr/>
            <p:nvPr/>
          </p:nvSpPr>
          <p:spPr bwMode="auto">
            <a:xfrm>
              <a:off x="8951913" y="3900488"/>
              <a:ext cx="223838" cy="223838"/>
            </a:xfrm>
            <a:custGeom>
              <a:avLst/>
              <a:gdLst>
                <a:gd name="T0" fmla="*/ 178 w 289"/>
                <a:gd name="T1" fmla="*/ 0 h 288"/>
                <a:gd name="T2" fmla="*/ 0 w 289"/>
                <a:gd name="T3" fmla="*/ 0 h 288"/>
                <a:gd name="T4" fmla="*/ 0 w 289"/>
                <a:gd name="T5" fmla="*/ 288 h 288"/>
                <a:gd name="T6" fmla="*/ 74 w 289"/>
                <a:gd name="T7" fmla="*/ 288 h 288"/>
                <a:gd name="T8" fmla="*/ 74 w 289"/>
                <a:gd name="T9" fmla="*/ 221 h 288"/>
                <a:gd name="T10" fmla="*/ 170 w 289"/>
                <a:gd name="T11" fmla="*/ 288 h 288"/>
                <a:gd name="T12" fmla="*/ 267 w 289"/>
                <a:gd name="T13" fmla="*/ 288 h 288"/>
                <a:gd name="T14" fmla="*/ 178 w 289"/>
                <a:gd name="T15" fmla="*/ 214 h 288"/>
                <a:gd name="T16" fmla="*/ 289 w 289"/>
                <a:gd name="T17" fmla="*/ 133 h 288"/>
                <a:gd name="T18" fmla="*/ 289 w 289"/>
                <a:gd name="T19" fmla="*/ 74 h 288"/>
                <a:gd name="T20" fmla="*/ 178 w 289"/>
                <a:gd name="T21" fmla="*/ 0 h 288"/>
                <a:gd name="T22" fmla="*/ 222 w 289"/>
                <a:gd name="T23" fmla="*/ 111 h 288"/>
                <a:gd name="T24" fmla="*/ 193 w 289"/>
                <a:gd name="T25" fmla="*/ 140 h 288"/>
                <a:gd name="T26" fmla="*/ 74 w 289"/>
                <a:gd name="T27" fmla="*/ 140 h 288"/>
                <a:gd name="T28" fmla="*/ 74 w 289"/>
                <a:gd name="T29" fmla="*/ 66 h 288"/>
                <a:gd name="T30" fmla="*/ 163 w 289"/>
                <a:gd name="T31" fmla="*/ 66 h 288"/>
                <a:gd name="T32" fmla="*/ 222 w 289"/>
                <a:gd name="T33" fmla="*/ 96 h 288"/>
                <a:gd name="T34" fmla="*/ 222 w 289"/>
                <a:gd name="T35" fmla="*/ 111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9" h="288">
                  <a:moveTo>
                    <a:pt x="178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88"/>
                    <a:pt x="0" y="288"/>
                    <a:pt x="0" y="288"/>
                  </a:cubicBezTo>
                  <a:cubicBezTo>
                    <a:pt x="74" y="288"/>
                    <a:pt x="74" y="288"/>
                    <a:pt x="74" y="288"/>
                  </a:cubicBezTo>
                  <a:cubicBezTo>
                    <a:pt x="74" y="221"/>
                    <a:pt x="74" y="221"/>
                    <a:pt x="74" y="221"/>
                  </a:cubicBezTo>
                  <a:cubicBezTo>
                    <a:pt x="170" y="288"/>
                    <a:pt x="170" y="288"/>
                    <a:pt x="170" y="288"/>
                  </a:cubicBezTo>
                  <a:cubicBezTo>
                    <a:pt x="267" y="288"/>
                    <a:pt x="267" y="288"/>
                    <a:pt x="267" y="288"/>
                  </a:cubicBezTo>
                  <a:cubicBezTo>
                    <a:pt x="178" y="214"/>
                    <a:pt x="178" y="214"/>
                    <a:pt x="178" y="214"/>
                  </a:cubicBezTo>
                  <a:cubicBezTo>
                    <a:pt x="239" y="214"/>
                    <a:pt x="289" y="190"/>
                    <a:pt x="289" y="133"/>
                  </a:cubicBezTo>
                  <a:cubicBezTo>
                    <a:pt x="289" y="74"/>
                    <a:pt x="289" y="74"/>
                    <a:pt x="289" y="74"/>
                  </a:cubicBezTo>
                  <a:cubicBezTo>
                    <a:pt x="289" y="17"/>
                    <a:pt x="236" y="0"/>
                    <a:pt x="178" y="0"/>
                  </a:cubicBezTo>
                  <a:close/>
                  <a:moveTo>
                    <a:pt x="222" y="111"/>
                  </a:moveTo>
                  <a:cubicBezTo>
                    <a:pt x="222" y="128"/>
                    <a:pt x="210" y="140"/>
                    <a:pt x="193" y="140"/>
                  </a:cubicBezTo>
                  <a:cubicBezTo>
                    <a:pt x="74" y="140"/>
                    <a:pt x="74" y="140"/>
                    <a:pt x="74" y="140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163" y="66"/>
                    <a:pt x="163" y="66"/>
                    <a:pt x="163" y="66"/>
                  </a:cubicBezTo>
                  <a:cubicBezTo>
                    <a:pt x="189" y="66"/>
                    <a:pt x="222" y="70"/>
                    <a:pt x="222" y="96"/>
                  </a:cubicBezTo>
                  <a:lnTo>
                    <a:pt x="222" y="1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3" name="任意多边形: 形状 62">
              <a:extLst>
                <a:ext uri="{FF2B5EF4-FFF2-40B4-BE49-F238E27FC236}">
                  <a16:creationId xmlns:a16="http://schemas.microsoft.com/office/drawing/2014/main" id="{C5791732-1A27-41C5-8372-B32525FC284A}"/>
                </a:ext>
              </a:extLst>
            </p:cNvPr>
            <p:cNvSpPr/>
            <p:nvPr/>
          </p:nvSpPr>
          <p:spPr bwMode="auto">
            <a:xfrm>
              <a:off x="4646613" y="3900488"/>
              <a:ext cx="217488" cy="223838"/>
            </a:xfrm>
            <a:custGeom>
              <a:avLst/>
              <a:gdLst>
                <a:gd name="T0" fmla="*/ 133 w 281"/>
                <a:gd name="T1" fmla="*/ 170 h 288"/>
                <a:gd name="T2" fmla="*/ 207 w 281"/>
                <a:gd name="T3" fmla="*/ 170 h 288"/>
                <a:gd name="T4" fmla="*/ 207 w 281"/>
                <a:gd name="T5" fmla="*/ 214 h 288"/>
                <a:gd name="T6" fmla="*/ 96 w 281"/>
                <a:gd name="T7" fmla="*/ 214 h 288"/>
                <a:gd name="T8" fmla="*/ 66 w 281"/>
                <a:gd name="T9" fmla="*/ 185 h 288"/>
                <a:gd name="T10" fmla="*/ 66 w 281"/>
                <a:gd name="T11" fmla="*/ 96 h 288"/>
                <a:gd name="T12" fmla="*/ 96 w 281"/>
                <a:gd name="T13" fmla="*/ 67 h 288"/>
                <a:gd name="T14" fmla="*/ 259 w 281"/>
                <a:gd name="T15" fmla="*/ 67 h 288"/>
                <a:gd name="T16" fmla="*/ 259 w 281"/>
                <a:gd name="T17" fmla="*/ 0 h 288"/>
                <a:gd name="T18" fmla="*/ 74 w 281"/>
                <a:gd name="T19" fmla="*/ 0 h 288"/>
                <a:gd name="T20" fmla="*/ 0 w 281"/>
                <a:gd name="T21" fmla="*/ 74 h 288"/>
                <a:gd name="T22" fmla="*/ 0 w 281"/>
                <a:gd name="T23" fmla="*/ 192 h 288"/>
                <a:gd name="T24" fmla="*/ 74 w 281"/>
                <a:gd name="T25" fmla="*/ 288 h 288"/>
                <a:gd name="T26" fmla="*/ 281 w 281"/>
                <a:gd name="T27" fmla="*/ 288 h 288"/>
                <a:gd name="T28" fmla="*/ 281 w 281"/>
                <a:gd name="T29" fmla="*/ 111 h 288"/>
                <a:gd name="T30" fmla="*/ 133 w 281"/>
                <a:gd name="T31" fmla="*/ 111 h 288"/>
                <a:gd name="T32" fmla="*/ 133 w 281"/>
                <a:gd name="T33" fmla="*/ 17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81" h="288">
                  <a:moveTo>
                    <a:pt x="133" y="170"/>
                  </a:moveTo>
                  <a:cubicBezTo>
                    <a:pt x="207" y="170"/>
                    <a:pt x="207" y="170"/>
                    <a:pt x="207" y="170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66" y="202"/>
                    <a:pt x="66" y="185"/>
                  </a:cubicBezTo>
                  <a:cubicBezTo>
                    <a:pt x="66" y="96"/>
                    <a:pt x="66" y="96"/>
                    <a:pt x="66" y="96"/>
                  </a:cubicBezTo>
                  <a:cubicBezTo>
                    <a:pt x="66" y="79"/>
                    <a:pt x="79" y="67"/>
                    <a:pt x="96" y="67"/>
                  </a:cubicBezTo>
                  <a:cubicBezTo>
                    <a:pt x="259" y="67"/>
                    <a:pt x="259" y="67"/>
                    <a:pt x="259" y="67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37" y="0"/>
                    <a:pt x="0" y="37"/>
                    <a:pt x="0" y="74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0" y="240"/>
                    <a:pt x="37" y="288"/>
                    <a:pt x="74" y="288"/>
                  </a:cubicBezTo>
                  <a:cubicBezTo>
                    <a:pt x="281" y="288"/>
                    <a:pt x="281" y="288"/>
                    <a:pt x="281" y="288"/>
                  </a:cubicBezTo>
                  <a:cubicBezTo>
                    <a:pt x="281" y="111"/>
                    <a:pt x="281" y="111"/>
                    <a:pt x="281" y="111"/>
                  </a:cubicBezTo>
                  <a:cubicBezTo>
                    <a:pt x="133" y="111"/>
                    <a:pt x="133" y="111"/>
                    <a:pt x="133" y="111"/>
                  </a:cubicBezTo>
                  <a:lnTo>
                    <a:pt x="133" y="1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4" name="任意多边形: 形状 63">
              <a:extLst>
                <a:ext uri="{FF2B5EF4-FFF2-40B4-BE49-F238E27FC236}">
                  <a16:creationId xmlns:a16="http://schemas.microsoft.com/office/drawing/2014/main" id="{4B1DB20A-4275-4109-AC32-2866B03E4FDE}"/>
                </a:ext>
              </a:extLst>
            </p:cNvPr>
            <p:cNvSpPr/>
            <p:nvPr/>
          </p:nvSpPr>
          <p:spPr bwMode="auto">
            <a:xfrm>
              <a:off x="8497888" y="3900488"/>
              <a:ext cx="220663" cy="223838"/>
            </a:xfrm>
            <a:custGeom>
              <a:avLst/>
              <a:gdLst>
                <a:gd name="T0" fmla="*/ 70 w 139"/>
                <a:gd name="T1" fmla="*/ 103 h 141"/>
                <a:gd name="T2" fmla="*/ 38 w 139"/>
                <a:gd name="T3" fmla="*/ 0 h 141"/>
                <a:gd name="T4" fmla="*/ 0 w 139"/>
                <a:gd name="T5" fmla="*/ 0 h 141"/>
                <a:gd name="T6" fmla="*/ 49 w 139"/>
                <a:gd name="T7" fmla="*/ 141 h 141"/>
                <a:gd name="T8" fmla="*/ 91 w 139"/>
                <a:gd name="T9" fmla="*/ 141 h 141"/>
                <a:gd name="T10" fmla="*/ 139 w 139"/>
                <a:gd name="T11" fmla="*/ 0 h 141"/>
                <a:gd name="T12" fmla="*/ 101 w 139"/>
                <a:gd name="T13" fmla="*/ 0 h 141"/>
                <a:gd name="T14" fmla="*/ 70 w 139"/>
                <a:gd name="T15" fmla="*/ 10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39" h="141">
                  <a:moveTo>
                    <a:pt x="70" y="103"/>
                  </a:moveTo>
                  <a:lnTo>
                    <a:pt x="38" y="0"/>
                  </a:lnTo>
                  <a:lnTo>
                    <a:pt x="0" y="0"/>
                  </a:lnTo>
                  <a:lnTo>
                    <a:pt x="49" y="141"/>
                  </a:lnTo>
                  <a:lnTo>
                    <a:pt x="91" y="141"/>
                  </a:lnTo>
                  <a:lnTo>
                    <a:pt x="139" y="0"/>
                  </a:lnTo>
                  <a:lnTo>
                    <a:pt x="101" y="0"/>
                  </a:lnTo>
                  <a:lnTo>
                    <a:pt x="70" y="1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5" name="任意多边形: 形状 64">
              <a:extLst>
                <a:ext uri="{FF2B5EF4-FFF2-40B4-BE49-F238E27FC236}">
                  <a16:creationId xmlns:a16="http://schemas.microsoft.com/office/drawing/2014/main" id="{6F6A8A06-F38C-41BF-A8BF-05F351F63529}"/>
                </a:ext>
              </a:extLst>
            </p:cNvPr>
            <p:cNvSpPr/>
            <p:nvPr/>
          </p:nvSpPr>
          <p:spPr bwMode="auto">
            <a:xfrm>
              <a:off x="5389563" y="3900488"/>
              <a:ext cx="233363" cy="223838"/>
            </a:xfrm>
            <a:custGeom>
              <a:avLst/>
              <a:gdLst>
                <a:gd name="T0" fmla="*/ 114 w 147"/>
                <a:gd name="T1" fmla="*/ 110 h 141"/>
                <a:gd name="T2" fmla="*/ 51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3 w 147"/>
                <a:gd name="T9" fmla="*/ 141 h 141"/>
                <a:gd name="T10" fmla="*/ 33 w 147"/>
                <a:gd name="T11" fmla="*/ 26 h 141"/>
                <a:gd name="T12" fmla="*/ 97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4 w 147"/>
                <a:gd name="T19" fmla="*/ 0 h 141"/>
                <a:gd name="T20" fmla="*/ 114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6" name="任意多边形: 形状 65">
              <a:extLst>
                <a:ext uri="{FF2B5EF4-FFF2-40B4-BE49-F238E27FC236}">
                  <a16:creationId xmlns:a16="http://schemas.microsoft.com/office/drawing/2014/main" id="{D22CE75F-0EDF-4FA0-8FCC-93671D2DC1FE}"/>
                </a:ext>
              </a:extLst>
            </p:cNvPr>
            <p:cNvSpPr/>
            <p:nvPr/>
          </p:nvSpPr>
          <p:spPr bwMode="auto">
            <a:xfrm>
              <a:off x="6569076" y="3900488"/>
              <a:ext cx="223838" cy="223838"/>
            </a:xfrm>
            <a:custGeom>
              <a:avLst/>
              <a:gdLst>
                <a:gd name="T0" fmla="*/ 214 w 287"/>
                <a:gd name="T1" fmla="*/ 0 h 288"/>
                <a:gd name="T2" fmla="*/ 66 w 287"/>
                <a:gd name="T3" fmla="*/ 0 h 288"/>
                <a:gd name="T4" fmla="*/ 0 w 287"/>
                <a:gd name="T5" fmla="*/ 67 h 288"/>
                <a:gd name="T6" fmla="*/ 0 w 287"/>
                <a:gd name="T7" fmla="*/ 207 h 288"/>
                <a:gd name="T8" fmla="*/ 66 w 287"/>
                <a:gd name="T9" fmla="*/ 288 h 288"/>
                <a:gd name="T10" fmla="*/ 207 w 287"/>
                <a:gd name="T11" fmla="*/ 288 h 288"/>
                <a:gd name="T12" fmla="*/ 287 w 287"/>
                <a:gd name="T13" fmla="*/ 185 h 288"/>
                <a:gd name="T14" fmla="*/ 287 w 287"/>
                <a:gd name="T15" fmla="*/ 81 h 288"/>
                <a:gd name="T16" fmla="*/ 214 w 287"/>
                <a:gd name="T17" fmla="*/ 0 h 288"/>
                <a:gd name="T18" fmla="*/ 214 w 287"/>
                <a:gd name="T19" fmla="*/ 177 h 288"/>
                <a:gd name="T20" fmla="*/ 207 w 287"/>
                <a:gd name="T21" fmla="*/ 214 h 288"/>
                <a:gd name="T22" fmla="*/ 88 w 287"/>
                <a:gd name="T23" fmla="*/ 214 h 288"/>
                <a:gd name="T24" fmla="*/ 66 w 287"/>
                <a:gd name="T25" fmla="*/ 192 h 288"/>
                <a:gd name="T26" fmla="*/ 66 w 287"/>
                <a:gd name="T27" fmla="*/ 81 h 288"/>
                <a:gd name="T28" fmla="*/ 103 w 287"/>
                <a:gd name="T29" fmla="*/ 74 h 288"/>
                <a:gd name="T30" fmla="*/ 192 w 287"/>
                <a:gd name="T31" fmla="*/ 74 h 288"/>
                <a:gd name="T32" fmla="*/ 214 w 287"/>
                <a:gd name="T33" fmla="*/ 96 h 288"/>
                <a:gd name="T34" fmla="*/ 214 w 287"/>
                <a:gd name="T3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87" h="288">
                  <a:moveTo>
                    <a:pt x="214" y="0"/>
                  </a:moveTo>
                  <a:cubicBezTo>
                    <a:pt x="66" y="0"/>
                    <a:pt x="66" y="0"/>
                    <a:pt x="66" y="0"/>
                  </a:cubicBezTo>
                  <a:cubicBezTo>
                    <a:pt x="47" y="0"/>
                    <a:pt x="0" y="44"/>
                    <a:pt x="0" y="67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40"/>
                    <a:pt x="38" y="288"/>
                    <a:pt x="66" y="288"/>
                  </a:cubicBezTo>
                  <a:cubicBezTo>
                    <a:pt x="207" y="288"/>
                    <a:pt x="207" y="288"/>
                    <a:pt x="207" y="288"/>
                  </a:cubicBezTo>
                  <a:cubicBezTo>
                    <a:pt x="254" y="288"/>
                    <a:pt x="287" y="233"/>
                    <a:pt x="287" y="185"/>
                  </a:cubicBezTo>
                  <a:cubicBezTo>
                    <a:pt x="287" y="81"/>
                    <a:pt x="287" y="81"/>
                    <a:pt x="287" y="81"/>
                  </a:cubicBezTo>
                  <a:cubicBezTo>
                    <a:pt x="287" y="55"/>
                    <a:pt x="243" y="0"/>
                    <a:pt x="214" y="0"/>
                  </a:cubicBezTo>
                  <a:close/>
                  <a:moveTo>
                    <a:pt x="214" y="177"/>
                  </a:moveTo>
                  <a:cubicBezTo>
                    <a:pt x="214" y="197"/>
                    <a:pt x="211" y="198"/>
                    <a:pt x="207" y="214"/>
                  </a:cubicBezTo>
                  <a:cubicBezTo>
                    <a:pt x="88" y="214"/>
                    <a:pt x="88" y="214"/>
                    <a:pt x="88" y="214"/>
                  </a:cubicBezTo>
                  <a:cubicBezTo>
                    <a:pt x="71" y="214"/>
                    <a:pt x="66" y="209"/>
                    <a:pt x="66" y="192"/>
                  </a:cubicBezTo>
                  <a:cubicBezTo>
                    <a:pt x="66" y="81"/>
                    <a:pt x="66" y="81"/>
                    <a:pt x="66" y="81"/>
                  </a:cubicBezTo>
                  <a:cubicBezTo>
                    <a:pt x="75" y="78"/>
                    <a:pt x="92" y="74"/>
                    <a:pt x="103" y="74"/>
                  </a:cubicBezTo>
                  <a:cubicBezTo>
                    <a:pt x="192" y="74"/>
                    <a:pt x="192" y="74"/>
                    <a:pt x="192" y="74"/>
                  </a:cubicBezTo>
                  <a:cubicBezTo>
                    <a:pt x="209" y="74"/>
                    <a:pt x="214" y="79"/>
                    <a:pt x="214" y="96"/>
                  </a:cubicBezTo>
                  <a:lnTo>
                    <a:pt x="214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7" name="任意多边形: 形状 66">
              <a:extLst>
                <a:ext uri="{FF2B5EF4-FFF2-40B4-BE49-F238E27FC236}">
                  <a16:creationId xmlns:a16="http://schemas.microsoft.com/office/drawing/2014/main" id="{319975F0-600F-400D-82BC-10353A133FFB}"/>
                </a:ext>
              </a:extLst>
            </p:cNvPr>
            <p:cNvSpPr/>
            <p:nvPr/>
          </p:nvSpPr>
          <p:spPr bwMode="auto">
            <a:xfrm>
              <a:off x="7051676" y="3900488"/>
              <a:ext cx="276225" cy="223838"/>
            </a:xfrm>
            <a:custGeom>
              <a:avLst/>
              <a:gdLst>
                <a:gd name="T0" fmla="*/ 87 w 174"/>
                <a:gd name="T1" fmla="*/ 105 h 141"/>
                <a:gd name="T2" fmla="*/ 57 w 174"/>
                <a:gd name="T3" fmla="*/ 0 h 141"/>
                <a:gd name="T4" fmla="*/ 0 w 174"/>
                <a:gd name="T5" fmla="*/ 0 h 141"/>
                <a:gd name="T6" fmla="*/ 0 w 174"/>
                <a:gd name="T7" fmla="*/ 141 h 141"/>
                <a:gd name="T8" fmla="*/ 33 w 174"/>
                <a:gd name="T9" fmla="*/ 141 h 141"/>
                <a:gd name="T10" fmla="*/ 33 w 174"/>
                <a:gd name="T11" fmla="*/ 29 h 141"/>
                <a:gd name="T12" fmla="*/ 71 w 174"/>
                <a:gd name="T13" fmla="*/ 141 h 141"/>
                <a:gd name="T14" fmla="*/ 104 w 174"/>
                <a:gd name="T15" fmla="*/ 141 h 141"/>
                <a:gd name="T16" fmla="*/ 143 w 174"/>
                <a:gd name="T17" fmla="*/ 25 h 141"/>
                <a:gd name="T18" fmla="*/ 145 w 174"/>
                <a:gd name="T19" fmla="*/ 141 h 141"/>
                <a:gd name="T20" fmla="*/ 174 w 174"/>
                <a:gd name="T21" fmla="*/ 141 h 141"/>
                <a:gd name="T22" fmla="*/ 174 w 174"/>
                <a:gd name="T23" fmla="*/ 0 h 141"/>
                <a:gd name="T24" fmla="*/ 118 w 174"/>
                <a:gd name="T25" fmla="*/ 0 h 141"/>
                <a:gd name="T26" fmla="*/ 87 w 174"/>
                <a:gd name="T27" fmla="*/ 105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4" h="141">
                  <a:moveTo>
                    <a:pt x="87" y="105"/>
                  </a:moveTo>
                  <a:lnTo>
                    <a:pt x="57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9"/>
                  </a:lnTo>
                  <a:lnTo>
                    <a:pt x="71" y="141"/>
                  </a:lnTo>
                  <a:lnTo>
                    <a:pt x="104" y="141"/>
                  </a:lnTo>
                  <a:lnTo>
                    <a:pt x="143" y="25"/>
                  </a:lnTo>
                  <a:lnTo>
                    <a:pt x="145" y="141"/>
                  </a:lnTo>
                  <a:lnTo>
                    <a:pt x="174" y="141"/>
                  </a:lnTo>
                  <a:lnTo>
                    <a:pt x="174" y="0"/>
                  </a:lnTo>
                  <a:lnTo>
                    <a:pt x="118" y="0"/>
                  </a:lnTo>
                  <a:lnTo>
                    <a:pt x="87" y="1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8" name="任意多边形: 形状 67">
              <a:extLst>
                <a:ext uri="{FF2B5EF4-FFF2-40B4-BE49-F238E27FC236}">
                  <a16:creationId xmlns:a16="http://schemas.microsoft.com/office/drawing/2014/main" id="{898B38AC-7AC6-4CE4-8CF8-5B05874A6F84}"/>
                </a:ext>
              </a:extLst>
            </p:cNvPr>
            <p:cNvSpPr/>
            <p:nvPr/>
          </p:nvSpPr>
          <p:spPr bwMode="auto">
            <a:xfrm>
              <a:off x="9193213" y="3900488"/>
              <a:ext cx="223838" cy="223838"/>
            </a:xfrm>
            <a:custGeom>
              <a:avLst/>
              <a:gdLst>
                <a:gd name="T0" fmla="*/ 74 w 288"/>
                <a:gd name="T1" fmla="*/ 89 h 288"/>
                <a:gd name="T2" fmla="*/ 96 w 288"/>
                <a:gd name="T3" fmla="*/ 67 h 288"/>
                <a:gd name="T4" fmla="*/ 274 w 288"/>
                <a:gd name="T5" fmla="*/ 67 h 288"/>
                <a:gd name="T6" fmla="*/ 274 w 288"/>
                <a:gd name="T7" fmla="*/ 0 h 288"/>
                <a:gd name="T8" fmla="*/ 89 w 288"/>
                <a:gd name="T9" fmla="*/ 0 h 288"/>
                <a:gd name="T10" fmla="*/ 0 w 288"/>
                <a:gd name="T11" fmla="*/ 81 h 288"/>
                <a:gd name="T12" fmla="*/ 214 w 288"/>
                <a:gd name="T13" fmla="*/ 177 h 288"/>
                <a:gd name="T14" fmla="*/ 207 w 288"/>
                <a:gd name="T15" fmla="*/ 214 h 288"/>
                <a:gd name="T16" fmla="*/ 15 w 288"/>
                <a:gd name="T17" fmla="*/ 214 h 288"/>
                <a:gd name="T18" fmla="*/ 15 w 288"/>
                <a:gd name="T19" fmla="*/ 288 h 288"/>
                <a:gd name="T20" fmla="*/ 192 w 288"/>
                <a:gd name="T21" fmla="*/ 288 h 288"/>
                <a:gd name="T22" fmla="*/ 288 w 288"/>
                <a:gd name="T23" fmla="*/ 200 h 288"/>
                <a:gd name="T24" fmla="*/ 74 w 288"/>
                <a:gd name="T25" fmla="*/ 89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8" h="288">
                  <a:moveTo>
                    <a:pt x="74" y="89"/>
                  </a:moveTo>
                  <a:cubicBezTo>
                    <a:pt x="74" y="72"/>
                    <a:pt x="79" y="67"/>
                    <a:pt x="96" y="67"/>
                  </a:cubicBezTo>
                  <a:cubicBezTo>
                    <a:pt x="274" y="67"/>
                    <a:pt x="274" y="67"/>
                    <a:pt x="274" y="67"/>
                  </a:cubicBezTo>
                  <a:cubicBezTo>
                    <a:pt x="274" y="0"/>
                    <a:pt x="274" y="0"/>
                    <a:pt x="274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44" y="0"/>
                    <a:pt x="0" y="37"/>
                    <a:pt x="0" y="81"/>
                  </a:cubicBezTo>
                  <a:cubicBezTo>
                    <a:pt x="0" y="199"/>
                    <a:pt x="120" y="155"/>
                    <a:pt x="214" y="177"/>
                  </a:cubicBezTo>
                  <a:cubicBezTo>
                    <a:pt x="207" y="214"/>
                    <a:pt x="207" y="214"/>
                    <a:pt x="207" y="214"/>
                  </a:cubicBezTo>
                  <a:cubicBezTo>
                    <a:pt x="15" y="214"/>
                    <a:pt x="15" y="214"/>
                    <a:pt x="15" y="214"/>
                  </a:cubicBezTo>
                  <a:cubicBezTo>
                    <a:pt x="15" y="288"/>
                    <a:pt x="15" y="288"/>
                    <a:pt x="15" y="288"/>
                  </a:cubicBezTo>
                  <a:cubicBezTo>
                    <a:pt x="192" y="288"/>
                    <a:pt x="192" y="288"/>
                    <a:pt x="192" y="288"/>
                  </a:cubicBezTo>
                  <a:cubicBezTo>
                    <a:pt x="246" y="288"/>
                    <a:pt x="288" y="252"/>
                    <a:pt x="288" y="200"/>
                  </a:cubicBezTo>
                  <a:cubicBezTo>
                    <a:pt x="288" y="57"/>
                    <a:pt x="74" y="145"/>
                    <a:pt x="74" y="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69" name="任意多边形: 形状 68">
              <a:extLst>
                <a:ext uri="{FF2B5EF4-FFF2-40B4-BE49-F238E27FC236}">
                  <a16:creationId xmlns:a16="http://schemas.microsoft.com/office/drawing/2014/main" id="{5A4FD943-F24F-4760-B5F0-BD618E1B2F3C}"/>
                </a:ext>
              </a:extLst>
            </p:cNvPr>
            <p:cNvSpPr/>
            <p:nvPr/>
          </p:nvSpPr>
          <p:spPr bwMode="auto">
            <a:xfrm>
              <a:off x="9720263" y="3900488"/>
              <a:ext cx="219075" cy="223838"/>
            </a:xfrm>
            <a:custGeom>
              <a:avLst/>
              <a:gdLst>
                <a:gd name="T0" fmla="*/ 193 w 281"/>
                <a:gd name="T1" fmla="*/ 0 h 288"/>
                <a:gd name="T2" fmla="*/ 144 w 281"/>
                <a:gd name="T3" fmla="*/ 109 h 288"/>
                <a:gd name="T4" fmla="*/ 92 w 281"/>
                <a:gd name="T5" fmla="*/ 0 h 288"/>
                <a:gd name="T6" fmla="*/ 0 w 281"/>
                <a:gd name="T7" fmla="*/ 0 h 288"/>
                <a:gd name="T8" fmla="*/ 104 w 281"/>
                <a:gd name="T9" fmla="*/ 192 h 288"/>
                <a:gd name="T10" fmla="*/ 104 w 281"/>
                <a:gd name="T11" fmla="*/ 288 h 288"/>
                <a:gd name="T12" fmla="*/ 178 w 281"/>
                <a:gd name="T13" fmla="*/ 288 h 288"/>
                <a:gd name="T14" fmla="*/ 178 w 281"/>
                <a:gd name="T15" fmla="*/ 200 h 288"/>
                <a:gd name="T16" fmla="*/ 281 w 281"/>
                <a:gd name="T17" fmla="*/ 0 h 288"/>
                <a:gd name="T18" fmla="*/ 193 w 281"/>
                <a:gd name="T19" fmla="*/ 0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1" h="288">
                  <a:moveTo>
                    <a:pt x="193" y="0"/>
                  </a:moveTo>
                  <a:cubicBezTo>
                    <a:pt x="144" y="109"/>
                    <a:pt x="144" y="109"/>
                    <a:pt x="144" y="109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6" y="29"/>
                    <a:pt x="104" y="171"/>
                    <a:pt x="104" y="192"/>
                  </a:cubicBezTo>
                  <a:cubicBezTo>
                    <a:pt x="104" y="288"/>
                    <a:pt x="104" y="288"/>
                    <a:pt x="104" y="288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8" y="200"/>
                    <a:pt x="178" y="200"/>
                    <a:pt x="178" y="200"/>
                  </a:cubicBezTo>
                  <a:cubicBezTo>
                    <a:pt x="178" y="151"/>
                    <a:pt x="269" y="52"/>
                    <a:pt x="281" y="0"/>
                  </a:cubicBezTo>
                  <a:lnTo>
                    <a:pt x="19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0" name="任意多边形: 形状 69">
              <a:extLst>
                <a:ext uri="{FF2B5EF4-FFF2-40B4-BE49-F238E27FC236}">
                  <a16:creationId xmlns:a16="http://schemas.microsoft.com/office/drawing/2014/main" id="{70E0249F-DC73-4A0E-A29E-F2036F756D6C}"/>
                </a:ext>
              </a:extLst>
            </p:cNvPr>
            <p:cNvSpPr/>
            <p:nvPr/>
          </p:nvSpPr>
          <p:spPr bwMode="auto">
            <a:xfrm>
              <a:off x="7608888" y="3900488"/>
              <a:ext cx="182563" cy="223838"/>
            </a:xfrm>
            <a:custGeom>
              <a:avLst/>
              <a:gdLst>
                <a:gd name="T0" fmla="*/ 36 w 115"/>
                <a:gd name="T1" fmla="*/ 0 h 141"/>
                <a:gd name="T2" fmla="*/ 0 w 115"/>
                <a:gd name="T3" fmla="*/ 0 h 141"/>
                <a:gd name="T4" fmla="*/ 0 w 115"/>
                <a:gd name="T5" fmla="*/ 141 h 141"/>
                <a:gd name="T6" fmla="*/ 115 w 115"/>
                <a:gd name="T7" fmla="*/ 141 h 141"/>
                <a:gd name="T8" fmla="*/ 115 w 115"/>
                <a:gd name="T9" fmla="*/ 105 h 141"/>
                <a:gd name="T10" fmla="*/ 36 w 115"/>
                <a:gd name="T11" fmla="*/ 105 h 141"/>
                <a:gd name="T12" fmla="*/ 36 w 115"/>
                <a:gd name="T13" fmla="*/ 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5" h="141">
                  <a:moveTo>
                    <a:pt x="36" y="0"/>
                  </a:moveTo>
                  <a:lnTo>
                    <a:pt x="0" y="0"/>
                  </a:lnTo>
                  <a:lnTo>
                    <a:pt x="0" y="141"/>
                  </a:lnTo>
                  <a:lnTo>
                    <a:pt x="115" y="141"/>
                  </a:lnTo>
                  <a:lnTo>
                    <a:pt x="115" y="105"/>
                  </a:lnTo>
                  <a:lnTo>
                    <a:pt x="36" y="105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1" name="任意多边形: 形状 70">
              <a:extLst>
                <a:ext uri="{FF2B5EF4-FFF2-40B4-BE49-F238E27FC236}">
                  <a16:creationId xmlns:a16="http://schemas.microsoft.com/office/drawing/2014/main" id="{CF6310AB-3100-4DF2-91ED-0F9B66418CBF}"/>
                </a:ext>
              </a:extLst>
            </p:cNvPr>
            <p:cNvSpPr/>
            <p:nvPr/>
          </p:nvSpPr>
          <p:spPr bwMode="auto">
            <a:xfrm>
              <a:off x="7907338" y="3900488"/>
              <a:ext cx="223838" cy="223838"/>
            </a:xfrm>
            <a:custGeom>
              <a:avLst/>
              <a:gdLst>
                <a:gd name="T0" fmla="*/ 215 w 289"/>
                <a:gd name="T1" fmla="*/ 177 h 288"/>
                <a:gd name="T2" fmla="*/ 207 w 289"/>
                <a:gd name="T3" fmla="*/ 214 h 288"/>
                <a:gd name="T4" fmla="*/ 96 w 289"/>
                <a:gd name="T5" fmla="*/ 214 h 288"/>
                <a:gd name="T6" fmla="*/ 74 w 289"/>
                <a:gd name="T7" fmla="*/ 192 h 288"/>
                <a:gd name="T8" fmla="*/ 74 w 289"/>
                <a:gd name="T9" fmla="*/ 0 h 288"/>
                <a:gd name="T10" fmla="*/ 0 w 289"/>
                <a:gd name="T11" fmla="*/ 0 h 288"/>
                <a:gd name="T12" fmla="*/ 0 w 289"/>
                <a:gd name="T13" fmla="*/ 207 h 288"/>
                <a:gd name="T14" fmla="*/ 96 w 289"/>
                <a:gd name="T15" fmla="*/ 288 h 288"/>
                <a:gd name="T16" fmla="*/ 200 w 289"/>
                <a:gd name="T17" fmla="*/ 288 h 288"/>
                <a:gd name="T18" fmla="*/ 289 w 289"/>
                <a:gd name="T19" fmla="*/ 200 h 288"/>
                <a:gd name="T20" fmla="*/ 289 w 289"/>
                <a:gd name="T21" fmla="*/ 0 h 288"/>
                <a:gd name="T22" fmla="*/ 215 w 289"/>
                <a:gd name="T23" fmla="*/ 0 h 288"/>
                <a:gd name="T24" fmla="*/ 215 w 289"/>
                <a:gd name="T25" fmla="*/ 177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288">
                  <a:moveTo>
                    <a:pt x="215" y="177"/>
                  </a:moveTo>
                  <a:cubicBezTo>
                    <a:pt x="215" y="197"/>
                    <a:pt x="211" y="198"/>
                    <a:pt x="207" y="214"/>
                  </a:cubicBezTo>
                  <a:cubicBezTo>
                    <a:pt x="96" y="214"/>
                    <a:pt x="96" y="214"/>
                    <a:pt x="96" y="214"/>
                  </a:cubicBezTo>
                  <a:cubicBezTo>
                    <a:pt x="79" y="214"/>
                    <a:pt x="74" y="209"/>
                    <a:pt x="74" y="192"/>
                  </a:cubicBezTo>
                  <a:cubicBezTo>
                    <a:pt x="74" y="0"/>
                    <a:pt x="74" y="0"/>
                    <a:pt x="7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07"/>
                    <a:pt x="0" y="207"/>
                    <a:pt x="0" y="207"/>
                  </a:cubicBezTo>
                  <a:cubicBezTo>
                    <a:pt x="0" y="254"/>
                    <a:pt x="47" y="288"/>
                    <a:pt x="96" y="288"/>
                  </a:cubicBezTo>
                  <a:cubicBezTo>
                    <a:pt x="200" y="288"/>
                    <a:pt x="200" y="288"/>
                    <a:pt x="200" y="288"/>
                  </a:cubicBezTo>
                  <a:cubicBezTo>
                    <a:pt x="244" y="288"/>
                    <a:pt x="289" y="241"/>
                    <a:pt x="289" y="200"/>
                  </a:cubicBezTo>
                  <a:cubicBezTo>
                    <a:pt x="289" y="0"/>
                    <a:pt x="289" y="0"/>
                    <a:pt x="289" y="0"/>
                  </a:cubicBezTo>
                  <a:cubicBezTo>
                    <a:pt x="215" y="0"/>
                    <a:pt x="215" y="0"/>
                    <a:pt x="215" y="0"/>
                  </a:cubicBezTo>
                  <a:lnTo>
                    <a:pt x="215" y="17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2" name="任意多边形: 形状 71">
              <a:extLst>
                <a:ext uri="{FF2B5EF4-FFF2-40B4-BE49-F238E27FC236}">
                  <a16:creationId xmlns:a16="http://schemas.microsoft.com/office/drawing/2014/main" id="{514E7317-5A1C-4E32-8AEA-E2E224324C43}"/>
                </a:ext>
              </a:extLst>
            </p:cNvPr>
            <p:cNvSpPr/>
            <p:nvPr/>
          </p:nvSpPr>
          <p:spPr bwMode="auto">
            <a:xfrm>
              <a:off x="8732838" y="3900488"/>
              <a:ext cx="196850" cy="223838"/>
            </a:xfrm>
            <a:custGeom>
              <a:avLst/>
              <a:gdLst>
                <a:gd name="T0" fmla="*/ 37 w 124"/>
                <a:gd name="T1" fmla="*/ 84 h 141"/>
                <a:gd name="T2" fmla="*/ 106 w 124"/>
                <a:gd name="T3" fmla="*/ 84 h 141"/>
                <a:gd name="T4" fmla="*/ 106 w 124"/>
                <a:gd name="T5" fmla="*/ 55 h 141"/>
                <a:gd name="T6" fmla="*/ 37 w 124"/>
                <a:gd name="T7" fmla="*/ 55 h 141"/>
                <a:gd name="T8" fmla="*/ 37 w 124"/>
                <a:gd name="T9" fmla="*/ 33 h 141"/>
                <a:gd name="T10" fmla="*/ 116 w 124"/>
                <a:gd name="T11" fmla="*/ 33 h 141"/>
                <a:gd name="T12" fmla="*/ 116 w 124"/>
                <a:gd name="T13" fmla="*/ 0 h 141"/>
                <a:gd name="T14" fmla="*/ 0 w 124"/>
                <a:gd name="T15" fmla="*/ 0 h 141"/>
                <a:gd name="T16" fmla="*/ 0 w 124"/>
                <a:gd name="T17" fmla="*/ 141 h 141"/>
                <a:gd name="T18" fmla="*/ 124 w 124"/>
                <a:gd name="T19" fmla="*/ 141 h 141"/>
                <a:gd name="T20" fmla="*/ 124 w 124"/>
                <a:gd name="T21" fmla="*/ 105 h 141"/>
                <a:gd name="T22" fmla="*/ 37 w 124"/>
                <a:gd name="T23" fmla="*/ 105 h 141"/>
                <a:gd name="T24" fmla="*/ 37 w 124"/>
                <a:gd name="T25" fmla="*/ 8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" h="141">
                  <a:moveTo>
                    <a:pt x="37" y="84"/>
                  </a:moveTo>
                  <a:lnTo>
                    <a:pt x="106" y="84"/>
                  </a:lnTo>
                  <a:lnTo>
                    <a:pt x="106" y="55"/>
                  </a:lnTo>
                  <a:lnTo>
                    <a:pt x="37" y="55"/>
                  </a:lnTo>
                  <a:lnTo>
                    <a:pt x="37" y="33"/>
                  </a:lnTo>
                  <a:lnTo>
                    <a:pt x="116" y="33"/>
                  </a:lnTo>
                  <a:lnTo>
                    <a:pt x="116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124" y="141"/>
                  </a:lnTo>
                  <a:lnTo>
                    <a:pt x="124" y="105"/>
                  </a:lnTo>
                  <a:lnTo>
                    <a:pt x="37" y="105"/>
                  </a:lnTo>
                  <a:lnTo>
                    <a:pt x="37" y="8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3" name="矩形 72">
              <a:extLst>
                <a:ext uri="{FF2B5EF4-FFF2-40B4-BE49-F238E27FC236}">
                  <a16:creationId xmlns:a16="http://schemas.microsoft.com/office/drawing/2014/main" id="{6AE21912-74F1-40B8-BE36-56453618307C}"/>
                </a:ext>
              </a:extLst>
            </p:cNvPr>
            <p:cNvSpPr/>
            <p:nvPr/>
          </p:nvSpPr>
          <p:spPr bwMode="auto">
            <a:xfrm>
              <a:off x="9439276" y="3900488"/>
              <a:ext cx="52388" cy="22383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4" name="任意多边形: 形状 73">
              <a:extLst>
                <a:ext uri="{FF2B5EF4-FFF2-40B4-BE49-F238E27FC236}">
                  <a16:creationId xmlns:a16="http://schemas.microsoft.com/office/drawing/2014/main" id="{C78A7893-5030-4388-B196-28A1CCDB64DE}"/>
                </a:ext>
              </a:extLst>
            </p:cNvPr>
            <p:cNvSpPr/>
            <p:nvPr/>
          </p:nvSpPr>
          <p:spPr bwMode="auto">
            <a:xfrm>
              <a:off x="6315076" y="3900488"/>
              <a:ext cx="231775" cy="223838"/>
            </a:xfrm>
            <a:custGeom>
              <a:avLst/>
              <a:gdLst>
                <a:gd name="T0" fmla="*/ 114 w 146"/>
                <a:gd name="T1" fmla="*/ 110 h 141"/>
                <a:gd name="T2" fmla="*/ 51 w 146"/>
                <a:gd name="T3" fmla="*/ 0 h 141"/>
                <a:gd name="T4" fmla="*/ 0 w 146"/>
                <a:gd name="T5" fmla="*/ 0 h 141"/>
                <a:gd name="T6" fmla="*/ 0 w 146"/>
                <a:gd name="T7" fmla="*/ 141 h 141"/>
                <a:gd name="T8" fmla="*/ 33 w 146"/>
                <a:gd name="T9" fmla="*/ 141 h 141"/>
                <a:gd name="T10" fmla="*/ 33 w 146"/>
                <a:gd name="T11" fmla="*/ 26 h 141"/>
                <a:gd name="T12" fmla="*/ 97 w 146"/>
                <a:gd name="T13" fmla="*/ 141 h 141"/>
                <a:gd name="T14" fmla="*/ 146 w 146"/>
                <a:gd name="T15" fmla="*/ 141 h 141"/>
                <a:gd name="T16" fmla="*/ 146 w 146"/>
                <a:gd name="T17" fmla="*/ 0 h 141"/>
                <a:gd name="T18" fmla="*/ 114 w 146"/>
                <a:gd name="T19" fmla="*/ 0 h 141"/>
                <a:gd name="T20" fmla="*/ 114 w 146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6" h="141">
                  <a:moveTo>
                    <a:pt x="114" y="110"/>
                  </a:moveTo>
                  <a:lnTo>
                    <a:pt x="51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3" y="141"/>
                  </a:lnTo>
                  <a:lnTo>
                    <a:pt x="33" y="26"/>
                  </a:lnTo>
                  <a:lnTo>
                    <a:pt x="97" y="141"/>
                  </a:lnTo>
                  <a:lnTo>
                    <a:pt x="146" y="141"/>
                  </a:lnTo>
                  <a:lnTo>
                    <a:pt x="146" y="0"/>
                  </a:lnTo>
                  <a:lnTo>
                    <a:pt x="114" y="0"/>
                  </a:lnTo>
                  <a:lnTo>
                    <a:pt x="114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5" name="任意多边形: 形状 74">
              <a:extLst>
                <a:ext uri="{FF2B5EF4-FFF2-40B4-BE49-F238E27FC236}">
                  <a16:creationId xmlns:a16="http://schemas.microsoft.com/office/drawing/2014/main" id="{8A413634-8BBF-4694-82A7-2F77E80DC37A}"/>
                </a:ext>
              </a:extLst>
            </p:cNvPr>
            <p:cNvSpPr/>
            <p:nvPr/>
          </p:nvSpPr>
          <p:spPr bwMode="auto">
            <a:xfrm>
              <a:off x="5113338" y="3900488"/>
              <a:ext cx="263525" cy="223838"/>
            </a:xfrm>
            <a:custGeom>
              <a:avLst/>
              <a:gdLst>
                <a:gd name="T0" fmla="*/ 62 w 166"/>
                <a:gd name="T1" fmla="*/ 0 h 141"/>
                <a:gd name="T2" fmla="*/ 0 w 166"/>
                <a:gd name="T3" fmla="*/ 141 h 141"/>
                <a:gd name="T4" fmla="*/ 34 w 166"/>
                <a:gd name="T5" fmla="*/ 141 h 141"/>
                <a:gd name="T6" fmla="*/ 47 w 166"/>
                <a:gd name="T7" fmla="*/ 110 h 141"/>
                <a:gd name="T8" fmla="*/ 115 w 166"/>
                <a:gd name="T9" fmla="*/ 110 h 141"/>
                <a:gd name="T10" fmla="*/ 129 w 166"/>
                <a:gd name="T11" fmla="*/ 141 h 141"/>
                <a:gd name="T12" fmla="*/ 166 w 166"/>
                <a:gd name="T13" fmla="*/ 141 h 141"/>
                <a:gd name="T14" fmla="*/ 104 w 166"/>
                <a:gd name="T15" fmla="*/ 0 h 141"/>
                <a:gd name="T16" fmla="*/ 62 w 166"/>
                <a:gd name="T17" fmla="*/ 0 h 141"/>
                <a:gd name="T18" fmla="*/ 56 w 166"/>
                <a:gd name="T19" fmla="*/ 89 h 141"/>
                <a:gd name="T20" fmla="*/ 82 w 166"/>
                <a:gd name="T21" fmla="*/ 26 h 141"/>
                <a:gd name="T22" fmla="*/ 106 w 166"/>
                <a:gd name="T23" fmla="*/ 89 h 141"/>
                <a:gd name="T24" fmla="*/ 56 w 166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6" h="141">
                  <a:moveTo>
                    <a:pt x="62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5" y="110"/>
                  </a:lnTo>
                  <a:lnTo>
                    <a:pt x="129" y="141"/>
                  </a:lnTo>
                  <a:lnTo>
                    <a:pt x="166" y="141"/>
                  </a:lnTo>
                  <a:lnTo>
                    <a:pt x="104" y="0"/>
                  </a:lnTo>
                  <a:lnTo>
                    <a:pt x="62" y="0"/>
                  </a:lnTo>
                  <a:close/>
                  <a:moveTo>
                    <a:pt x="56" y="89"/>
                  </a:moveTo>
                  <a:lnTo>
                    <a:pt x="82" y="26"/>
                  </a:lnTo>
                  <a:lnTo>
                    <a:pt x="106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6" name="任意多边形: 形状 75">
              <a:extLst>
                <a:ext uri="{FF2B5EF4-FFF2-40B4-BE49-F238E27FC236}">
                  <a16:creationId xmlns:a16="http://schemas.microsoft.com/office/drawing/2014/main" id="{BBD0AD65-099A-4821-85C7-E9903C6D3E98}"/>
                </a:ext>
              </a:extLst>
            </p:cNvPr>
            <p:cNvSpPr/>
            <p:nvPr/>
          </p:nvSpPr>
          <p:spPr bwMode="auto">
            <a:xfrm>
              <a:off x="7337426" y="3900488"/>
              <a:ext cx="265113" cy="223838"/>
            </a:xfrm>
            <a:custGeom>
              <a:avLst/>
              <a:gdLst>
                <a:gd name="T0" fmla="*/ 63 w 167"/>
                <a:gd name="T1" fmla="*/ 0 h 141"/>
                <a:gd name="T2" fmla="*/ 0 w 167"/>
                <a:gd name="T3" fmla="*/ 141 h 141"/>
                <a:gd name="T4" fmla="*/ 34 w 167"/>
                <a:gd name="T5" fmla="*/ 141 h 141"/>
                <a:gd name="T6" fmla="*/ 47 w 167"/>
                <a:gd name="T7" fmla="*/ 110 h 141"/>
                <a:gd name="T8" fmla="*/ 116 w 167"/>
                <a:gd name="T9" fmla="*/ 110 h 141"/>
                <a:gd name="T10" fmla="*/ 130 w 167"/>
                <a:gd name="T11" fmla="*/ 141 h 141"/>
                <a:gd name="T12" fmla="*/ 167 w 167"/>
                <a:gd name="T13" fmla="*/ 141 h 141"/>
                <a:gd name="T14" fmla="*/ 105 w 167"/>
                <a:gd name="T15" fmla="*/ 0 h 141"/>
                <a:gd name="T16" fmla="*/ 63 w 167"/>
                <a:gd name="T17" fmla="*/ 0 h 141"/>
                <a:gd name="T18" fmla="*/ 56 w 167"/>
                <a:gd name="T19" fmla="*/ 89 h 141"/>
                <a:gd name="T20" fmla="*/ 83 w 167"/>
                <a:gd name="T21" fmla="*/ 26 h 141"/>
                <a:gd name="T22" fmla="*/ 107 w 167"/>
                <a:gd name="T23" fmla="*/ 89 h 141"/>
                <a:gd name="T24" fmla="*/ 56 w 167"/>
                <a:gd name="T25" fmla="*/ 89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7" h="141">
                  <a:moveTo>
                    <a:pt x="63" y="0"/>
                  </a:moveTo>
                  <a:lnTo>
                    <a:pt x="0" y="141"/>
                  </a:lnTo>
                  <a:lnTo>
                    <a:pt x="34" y="141"/>
                  </a:lnTo>
                  <a:lnTo>
                    <a:pt x="47" y="110"/>
                  </a:lnTo>
                  <a:lnTo>
                    <a:pt x="116" y="110"/>
                  </a:lnTo>
                  <a:lnTo>
                    <a:pt x="130" y="141"/>
                  </a:lnTo>
                  <a:lnTo>
                    <a:pt x="167" y="141"/>
                  </a:lnTo>
                  <a:lnTo>
                    <a:pt x="105" y="0"/>
                  </a:lnTo>
                  <a:lnTo>
                    <a:pt x="63" y="0"/>
                  </a:lnTo>
                  <a:close/>
                  <a:moveTo>
                    <a:pt x="56" y="89"/>
                  </a:moveTo>
                  <a:lnTo>
                    <a:pt x="83" y="26"/>
                  </a:lnTo>
                  <a:lnTo>
                    <a:pt x="107" y="89"/>
                  </a:lnTo>
                  <a:lnTo>
                    <a:pt x="56" y="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7" name="任意多边形: 形状 76">
              <a:extLst>
                <a:ext uri="{FF2B5EF4-FFF2-40B4-BE49-F238E27FC236}">
                  <a16:creationId xmlns:a16="http://schemas.microsoft.com/office/drawing/2014/main" id="{0CAE631A-7289-4702-BD7D-17CB10331BF0}"/>
                </a:ext>
              </a:extLst>
            </p:cNvPr>
            <p:cNvSpPr/>
            <p:nvPr/>
          </p:nvSpPr>
          <p:spPr bwMode="auto">
            <a:xfrm>
              <a:off x="8153401" y="3900488"/>
              <a:ext cx="233363" cy="223838"/>
            </a:xfrm>
            <a:custGeom>
              <a:avLst/>
              <a:gdLst>
                <a:gd name="T0" fmla="*/ 115 w 147"/>
                <a:gd name="T1" fmla="*/ 110 h 141"/>
                <a:gd name="T2" fmla="*/ 52 w 147"/>
                <a:gd name="T3" fmla="*/ 0 h 141"/>
                <a:gd name="T4" fmla="*/ 0 w 147"/>
                <a:gd name="T5" fmla="*/ 0 h 141"/>
                <a:gd name="T6" fmla="*/ 0 w 147"/>
                <a:gd name="T7" fmla="*/ 141 h 141"/>
                <a:gd name="T8" fmla="*/ 34 w 147"/>
                <a:gd name="T9" fmla="*/ 141 h 141"/>
                <a:gd name="T10" fmla="*/ 34 w 147"/>
                <a:gd name="T11" fmla="*/ 26 h 141"/>
                <a:gd name="T12" fmla="*/ 98 w 147"/>
                <a:gd name="T13" fmla="*/ 141 h 141"/>
                <a:gd name="T14" fmla="*/ 147 w 147"/>
                <a:gd name="T15" fmla="*/ 141 h 141"/>
                <a:gd name="T16" fmla="*/ 147 w 147"/>
                <a:gd name="T17" fmla="*/ 0 h 141"/>
                <a:gd name="T18" fmla="*/ 115 w 147"/>
                <a:gd name="T19" fmla="*/ 0 h 141"/>
                <a:gd name="T20" fmla="*/ 115 w 147"/>
                <a:gd name="T21" fmla="*/ 110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" h="141">
                  <a:moveTo>
                    <a:pt x="115" y="110"/>
                  </a:moveTo>
                  <a:lnTo>
                    <a:pt x="52" y="0"/>
                  </a:lnTo>
                  <a:lnTo>
                    <a:pt x="0" y="0"/>
                  </a:lnTo>
                  <a:lnTo>
                    <a:pt x="0" y="141"/>
                  </a:lnTo>
                  <a:lnTo>
                    <a:pt x="34" y="141"/>
                  </a:lnTo>
                  <a:lnTo>
                    <a:pt x="34" y="26"/>
                  </a:lnTo>
                  <a:lnTo>
                    <a:pt x="98" y="141"/>
                  </a:lnTo>
                  <a:lnTo>
                    <a:pt x="147" y="141"/>
                  </a:lnTo>
                  <a:lnTo>
                    <a:pt x="147" y="0"/>
                  </a:lnTo>
                  <a:lnTo>
                    <a:pt x="115" y="0"/>
                  </a:lnTo>
                  <a:lnTo>
                    <a:pt x="115" y="1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8" name="任意多边形: 形状 77">
              <a:extLst>
                <a:ext uri="{FF2B5EF4-FFF2-40B4-BE49-F238E27FC236}">
                  <a16:creationId xmlns:a16="http://schemas.microsoft.com/office/drawing/2014/main" id="{54E1CA29-9891-4447-99B0-5580B45A5ADF}"/>
                </a:ext>
              </a:extLst>
            </p:cNvPr>
            <p:cNvSpPr/>
            <p:nvPr/>
          </p:nvSpPr>
          <p:spPr bwMode="auto">
            <a:xfrm>
              <a:off x="6000751" y="3154363"/>
              <a:ext cx="139700" cy="80963"/>
            </a:xfrm>
            <a:custGeom>
              <a:avLst/>
              <a:gdLst>
                <a:gd name="T0" fmla="*/ 0 w 180"/>
                <a:gd name="T1" fmla="*/ 15 h 103"/>
                <a:gd name="T2" fmla="*/ 0 w 180"/>
                <a:gd name="T3" fmla="*/ 29 h 103"/>
                <a:gd name="T4" fmla="*/ 104 w 180"/>
                <a:gd name="T5" fmla="*/ 103 h 103"/>
                <a:gd name="T6" fmla="*/ 126 w 180"/>
                <a:gd name="T7" fmla="*/ 103 h 103"/>
                <a:gd name="T8" fmla="*/ 176 w 180"/>
                <a:gd name="T9" fmla="*/ 88 h 103"/>
                <a:gd name="T10" fmla="*/ 180 w 180"/>
                <a:gd name="T11" fmla="*/ 52 h 103"/>
                <a:gd name="T12" fmla="*/ 97 w 180"/>
                <a:gd name="T13" fmla="*/ 0 h 103"/>
                <a:gd name="T14" fmla="*/ 0 w 180"/>
                <a:gd name="T15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0" h="103">
                  <a:moveTo>
                    <a:pt x="0" y="15"/>
                  </a:moveTo>
                  <a:cubicBezTo>
                    <a:pt x="0" y="29"/>
                    <a:pt x="0" y="29"/>
                    <a:pt x="0" y="29"/>
                  </a:cubicBezTo>
                  <a:cubicBezTo>
                    <a:pt x="32" y="41"/>
                    <a:pt x="74" y="103"/>
                    <a:pt x="104" y="103"/>
                  </a:cubicBezTo>
                  <a:cubicBezTo>
                    <a:pt x="126" y="103"/>
                    <a:pt x="126" y="103"/>
                    <a:pt x="126" y="103"/>
                  </a:cubicBezTo>
                  <a:cubicBezTo>
                    <a:pt x="153" y="103"/>
                    <a:pt x="152" y="95"/>
                    <a:pt x="176" y="88"/>
                  </a:cubicBezTo>
                  <a:cubicBezTo>
                    <a:pt x="180" y="52"/>
                    <a:pt x="180" y="52"/>
                    <a:pt x="180" y="52"/>
                  </a:cubicBezTo>
                  <a:cubicBezTo>
                    <a:pt x="163" y="33"/>
                    <a:pt x="115" y="0"/>
                    <a:pt x="97" y="0"/>
                  </a:cubicBezTo>
                  <a:cubicBezTo>
                    <a:pt x="46" y="0"/>
                    <a:pt x="34" y="6"/>
                    <a:pt x="0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9" name="任意多边形: 形状 78">
              <a:extLst>
                <a:ext uri="{FF2B5EF4-FFF2-40B4-BE49-F238E27FC236}">
                  <a16:creationId xmlns:a16="http://schemas.microsoft.com/office/drawing/2014/main" id="{2B557A67-851A-4CF5-873F-E6AAB8CA97C7}"/>
                </a:ext>
              </a:extLst>
            </p:cNvPr>
            <p:cNvSpPr/>
            <p:nvPr/>
          </p:nvSpPr>
          <p:spPr bwMode="auto">
            <a:xfrm>
              <a:off x="8475663" y="3167063"/>
              <a:ext cx="298450" cy="377825"/>
            </a:xfrm>
            <a:custGeom>
              <a:avLst/>
              <a:gdLst>
                <a:gd name="T0" fmla="*/ 0 w 386"/>
                <a:gd name="T1" fmla="*/ 458 h 488"/>
                <a:gd name="T2" fmla="*/ 52 w 386"/>
                <a:gd name="T3" fmla="*/ 488 h 488"/>
                <a:gd name="T4" fmla="*/ 170 w 386"/>
                <a:gd name="T5" fmla="*/ 428 h 488"/>
                <a:gd name="T6" fmla="*/ 189 w 386"/>
                <a:gd name="T7" fmla="*/ 359 h 488"/>
                <a:gd name="T8" fmla="*/ 225 w 386"/>
                <a:gd name="T9" fmla="*/ 284 h 488"/>
                <a:gd name="T10" fmla="*/ 326 w 386"/>
                <a:gd name="T11" fmla="*/ 184 h 488"/>
                <a:gd name="T12" fmla="*/ 375 w 386"/>
                <a:gd name="T13" fmla="*/ 71 h 488"/>
                <a:gd name="T14" fmla="*/ 326 w 386"/>
                <a:gd name="T15" fmla="*/ 36 h 488"/>
                <a:gd name="T16" fmla="*/ 231 w 386"/>
                <a:gd name="T17" fmla="*/ 68 h 488"/>
                <a:gd name="T18" fmla="*/ 170 w 386"/>
                <a:gd name="T19" fmla="*/ 0 h 488"/>
                <a:gd name="T20" fmla="*/ 139 w 386"/>
                <a:gd name="T21" fmla="*/ 112 h 488"/>
                <a:gd name="T22" fmla="*/ 15 w 386"/>
                <a:gd name="T23" fmla="*/ 155 h 488"/>
                <a:gd name="T24" fmla="*/ 97 w 386"/>
                <a:gd name="T25" fmla="*/ 236 h 488"/>
                <a:gd name="T26" fmla="*/ 0 w 386"/>
                <a:gd name="T27" fmla="*/ 377 h 488"/>
                <a:gd name="T28" fmla="*/ 0 w 386"/>
                <a:gd name="T29" fmla="*/ 458 h 4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86" h="488">
                  <a:moveTo>
                    <a:pt x="0" y="458"/>
                  </a:moveTo>
                  <a:cubicBezTo>
                    <a:pt x="0" y="449"/>
                    <a:pt x="25" y="488"/>
                    <a:pt x="52" y="488"/>
                  </a:cubicBezTo>
                  <a:cubicBezTo>
                    <a:pt x="75" y="488"/>
                    <a:pt x="151" y="434"/>
                    <a:pt x="170" y="428"/>
                  </a:cubicBezTo>
                  <a:cubicBezTo>
                    <a:pt x="181" y="406"/>
                    <a:pt x="184" y="378"/>
                    <a:pt x="189" y="359"/>
                  </a:cubicBezTo>
                  <a:cubicBezTo>
                    <a:pt x="196" y="334"/>
                    <a:pt x="205" y="317"/>
                    <a:pt x="225" y="284"/>
                  </a:cubicBezTo>
                  <a:cubicBezTo>
                    <a:pt x="252" y="237"/>
                    <a:pt x="253" y="184"/>
                    <a:pt x="326" y="184"/>
                  </a:cubicBezTo>
                  <a:cubicBezTo>
                    <a:pt x="386" y="144"/>
                    <a:pt x="377" y="149"/>
                    <a:pt x="375" y="71"/>
                  </a:cubicBezTo>
                  <a:cubicBezTo>
                    <a:pt x="375" y="49"/>
                    <a:pt x="346" y="46"/>
                    <a:pt x="326" y="36"/>
                  </a:cubicBezTo>
                  <a:cubicBezTo>
                    <a:pt x="231" y="68"/>
                    <a:pt x="231" y="68"/>
                    <a:pt x="231" y="68"/>
                  </a:cubicBezTo>
                  <a:cubicBezTo>
                    <a:pt x="227" y="27"/>
                    <a:pt x="209" y="0"/>
                    <a:pt x="170" y="0"/>
                  </a:cubicBezTo>
                  <a:cubicBezTo>
                    <a:pt x="136" y="0"/>
                    <a:pt x="162" y="77"/>
                    <a:pt x="139" y="112"/>
                  </a:cubicBezTo>
                  <a:cubicBezTo>
                    <a:pt x="130" y="126"/>
                    <a:pt x="84" y="149"/>
                    <a:pt x="15" y="155"/>
                  </a:cubicBezTo>
                  <a:cubicBezTo>
                    <a:pt x="21" y="223"/>
                    <a:pt x="97" y="211"/>
                    <a:pt x="97" y="236"/>
                  </a:cubicBezTo>
                  <a:cubicBezTo>
                    <a:pt x="97" y="286"/>
                    <a:pt x="21" y="345"/>
                    <a:pt x="0" y="377"/>
                  </a:cubicBezTo>
                  <a:lnTo>
                    <a:pt x="0" y="4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0" name="任意多边形: 形状 79">
              <a:extLst>
                <a:ext uri="{FF2B5EF4-FFF2-40B4-BE49-F238E27FC236}">
                  <a16:creationId xmlns:a16="http://schemas.microsoft.com/office/drawing/2014/main" id="{4FD596A6-0159-479F-8ADE-2C75EFC29645}"/>
                </a:ext>
              </a:extLst>
            </p:cNvPr>
            <p:cNvSpPr/>
            <p:nvPr/>
          </p:nvSpPr>
          <p:spPr bwMode="auto">
            <a:xfrm>
              <a:off x="8670926" y="3390900"/>
              <a:ext cx="150813" cy="195263"/>
            </a:xfrm>
            <a:custGeom>
              <a:avLst/>
              <a:gdLst>
                <a:gd name="T0" fmla="*/ 47 w 194"/>
                <a:gd name="T1" fmla="*/ 229 h 253"/>
                <a:gd name="T2" fmla="*/ 60 w 194"/>
                <a:gd name="T3" fmla="*/ 253 h 253"/>
                <a:gd name="T4" fmla="*/ 177 w 194"/>
                <a:gd name="T5" fmla="*/ 207 h 253"/>
                <a:gd name="T6" fmla="*/ 192 w 194"/>
                <a:gd name="T7" fmla="*/ 126 h 253"/>
                <a:gd name="T8" fmla="*/ 0 w 194"/>
                <a:gd name="T9" fmla="*/ 22 h 253"/>
                <a:gd name="T10" fmla="*/ 47 w 194"/>
                <a:gd name="T11" fmla="*/ 229 h 2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4" h="253">
                  <a:moveTo>
                    <a:pt x="47" y="229"/>
                  </a:moveTo>
                  <a:cubicBezTo>
                    <a:pt x="60" y="253"/>
                    <a:pt x="60" y="253"/>
                    <a:pt x="60" y="253"/>
                  </a:cubicBezTo>
                  <a:cubicBezTo>
                    <a:pt x="100" y="241"/>
                    <a:pt x="141" y="228"/>
                    <a:pt x="177" y="207"/>
                  </a:cubicBezTo>
                  <a:cubicBezTo>
                    <a:pt x="184" y="179"/>
                    <a:pt x="192" y="161"/>
                    <a:pt x="192" y="126"/>
                  </a:cubicBezTo>
                  <a:cubicBezTo>
                    <a:pt x="194" y="72"/>
                    <a:pt x="45" y="0"/>
                    <a:pt x="0" y="22"/>
                  </a:cubicBezTo>
                  <a:cubicBezTo>
                    <a:pt x="29" y="93"/>
                    <a:pt x="51" y="104"/>
                    <a:pt x="47" y="2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1" name="任意多边形: 形状 80">
              <a:extLst>
                <a:ext uri="{FF2B5EF4-FFF2-40B4-BE49-F238E27FC236}">
                  <a16:creationId xmlns:a16="http://schemas.microsoft.com/office/drawing/2014/main" id="{0CF4AEFD-9540-483D-85FB-1F5D5CFC4531}"/>
                </a:ext>
              </a:extLst>
            </p:cNvPr>
            <p:cNvSpPr/>
            <p:nvPr/>
          </p:nvSpPr>
          <p:spPr bwMode="auto">
            <a:xfrm>
              <a:off x="4613276" y="2873375"/>
              <a:ext cx="952500" cy="877888"/>
            </a:xfrm>
            <a:custGeom>
              <a:avLst/>
              <a:gdLst>
                <a:gd name="T0" fmla="*/ 812 w 1227"/>
                <a:gd name="T1" fmla="*/ 823 h 1132"/>
                <a:gd name="T2" fmla="*/ 776 w 1227"/>
                <a:gd name="T3" fmla="*/ 809 h 1132"/>
                <a:gd name="T4" fmla="*/ 821 w 1227"/>
                <a:gd name="T5" fmla="*/ 763 h 1132"/>
                <a:gd name="T6" fmla="*/ 945 w 1227"/>
                <a:gd name="T7" fmla="*/ 710 h 1132"/>
                <a:gd name="T8" fmla="*/ 990 w 1227"/>
                <a:gd name="T9" fmla="*/ 710 h 1132"/>
                <a:gd name="T10" fmla="*/ 886 w 1227"/>
                <a:gd name="T11" fmla="*/ 840 h 1132"/>
                <a:gd name="T12" fmla="*/ 819 w 1227"/>
                <a:gd name="T13" fmla="*/ 821 h 1132"/>
                <a:gd name="T14" fmla="*/ 812 w 1227"/>
                <a:gd name="T15" fmla="*/ 823 h 1132"/>
                <a:gd name="T16" fmla="*/ 257 w 1227"/>
                <a:gd name="T17" fmla="*/ 799 h 1132"/>
                <a:gd name="T18" fmla="*/ 144 w 1227"/>
                <a:gd name="T19" fmla="*/ 918 h 1132"/>
                <a:gd name="T20" fmla="*/ 117 w 1227"/>
                <a:gd name="T21" fmla="*/ 958 h 1132"/>
                <a:gd name="T22" fmla="*/ 63 w 1227"/>
                <a:gd name="T23" fmla="*/ 1015 h 1132"/>
                <a:gd name="T24" fmla="*/ 93 w 1227"/>
                <a:gd name="T25" fmla="*/ 1101 h 1132"/>
                <a:gd name="T26" fmla="*/ 161 w 1227"/>
                <a:gd name="T27" fmla="*/ 1021 h 1132"/>
                <a:gd name="T28" fmla="*/ 307 w 1227"/>
                <a:gd name="T29" fmla="*/ 864 h 1132"/>
                <a:gd name="T30" fmla="*/ 668 w 1227"/>
                <a:gd name="T31" fmla="*/ 624 h 1132"/>
                <a:gd name="T32" fmla="*/ 741 w 1227"/>
                <a:gd name="T33" fmla="*/ 578 h 1132"/>
                <a:gd name="T34" fmla="*/ 746 w 1227"/>
                <a:gd name="T35" fmla="*/ 585 h 1132"/>
                <a:gd name="T36" fmla="*/ 598 w 1227"/>
                <a:gd name="T37" fmla="*/ 769 h 1132"/>
                <a:gd name="T38" fmla="*/ 701 w 1227"/>
                <a:gd name="T39" fmla="*/ 866 h 1132"/>
                <a:gd name="T40" fmla="*/ 701 w 1227"/>
                <a:gd name="T41" fmla="*/ 888 h 1132"/>
                <a:gd name="T42" fmla="*/ 599 w 1227"/>
                <a:gd name="T43" fmla="*/ 971 h 1132"/>
                <a:gd name="T44" fmla="*/ 524 w 1227"/>
                <a:gd name="T45" fmla="*/ 1080 h 1132"/>
                <a:gd name="T46" fmla="*/ 531 w 1227"/>
                <a:gd name="T47" fmla="*/ 1117 h 1132"/>
                <a:gd name="T48" fmla="*/ 583 w 1227"/>
                <a:gd name="T49" fmla="*/ 1124 h 1132"/>
                <a:gd name="T50" fmla="*/ 620 w 1227"/>
                <a:gd name="T51" fmla="*/ 1124 h 1132"/>
                <a:gd name="T52" fmla="*/ 794 w 1227"/>
                <a:gd name="T53" fmla="*/ 951 h 1132"/>
                <a:gd name="T54" fmla="*/ 917 w 1227"/>
                <a:gd name="T55" fmla="*/ 904 h 1132"/>
                <a:gd name="T56" fmla="*/ 1034 w 1227"/>
                <a:gd name="T57" fmla="*/ 843 h 1132"/>
                <a:gd name="T58" fmla="*/ 1139 w 1227"/>
                <a:gd name="T59" fmla="*/ 682 h 1132"/>
                <a:gd name="T60" fmla="*/ 899 w 1227"/>
                <a:gd name="T61" fmla="*/ 649 h 1132"/>
                <a:gd name="T62" fmla="*/ 1017 w 1227"/>
                <a:gd name="T63" fmla="*/ 509 h 1132"/>
                <a:gd name="T64" fmla="*/ 1204 w 1227"/>
                <a:gd name="T65" fmla="*/ 459 h 1132"/>
                <a:gd name="T66" fmla="*/ 1227 w 1227"/>
                <a:gd name="T67" fmla="*/ 440 h 1132"/>
                <a:gd name="T68" fmla="*/ 1189 w 1227"/>
                <a:gd name="T69" fmla="*/ 407 h 1132"/>
                <a:gd name="T70" fmla="*/ 1167 w 1227"/>
                <a:gd name="T71" fmla="*/ 407 h 1132"/>
                <a:gd name="T72" fmla="*/ 1101 w 1227"/>
                <a:gd name="T73" fmla="*/ 422 h 1132"/>
                <a:gd name="T74" fmla="*/ 1101 w 1227"/>
                <a:gd name="T75" fmla="*/ 385 h 1132"/>
                <a:gd name="T76" fmla="*/ 1009 w 1227"/>
                <a:gd name="T77" fmla="*/ 312 h 1132"/>
                <a:gd name="T78" fmla="*/ 823 w 1227"/>
                <a:gd name="T79" fmla="*/ 366 h 1132"/>
                <a:gd name="T80" fmla="*/ 671 w 1227"/>
                <a:gd name="T81" fmla="*/ 449 h 1132"/>
                <a:gd name="T82" fmla="*/ 887 w 1227"/>
                <a:gd name="T83" fmla="*/ 410 h 1132"/>
                <a:gd name="T84" fmla="*/ 758 w 1227"/>
                <a:gd name="T85" fmla="*/ 538 h 1132"/>
                <a:gd name="T86" fmla="*/ 654 w 1227"/>
                <a:gd name="T87" fmla="*/ 559 h 1132"/>
                <a:gd name="T88" fmla="*/ 562 w 1227"/>
                <a:gd name="T89" fmla="*/ 596 h 1132"/>
                <a:gd name="T90" fmla="*/ 536 w 1227"/>
                <a:gd name="T91" fmla="*/ 598 h 1132"/>
                <a:gd name="T92" fmla="*/ 725 w 1227"/>
                <a:gd name="T93" fmla="*/ 372 h 1132"/>
                <a:gd name="T94" fmla="*/ 837 w 1227"/>
                <a:gd name="T95" fmla="*/ 277 h 1132"/>
                <a:gd name="T96" fmla="*/ 960 w 1227"/>
                <a:gd name="T97" fmla="*/ 200 h 1132"/>
                <a:gd name="T98" fmla="*/ 916 w 1227"/>
                <a:gd name="T99" fmla="*/ 171 h 1132"/>
                <a:gd name="T100" fmla="*/ 900 w 1227"/>
                <a:gd name="T101" fmla="*/ 53 h 1132"/>
                <a:gd name="T102" fmla="*/ 805 w 1227"/>
                <a:gd name="T103" fmla="*/ 23 h 1132"/>
                <a:gd name="T104" fmla="*/ 738 w 1227"/>
                <a:gd name="T105" fmla="*/ 8 h 1132"/>
                <a:gd name="T106" fmla="*/ 694 w 1227"/>
                <a:gd name="T107" fmla="*/ 45 h 1132"/>
                <a:gd name="T108" fmla="*/ 775 w 1227"/>
                <a:gd name="T109" fmla="*/ 215 h 1132"/>
                <a:gd name="T110" fmla="*/ 609 w 1227"/>
                <a:gd name="T111" fmla="*/ 257 h 1132"/>
                <a:gd name="T112" fmla="*/ 501 w 1227"/>
                <a:gd name="T113" fmla="*/ 309 h 1132"/>
                <a:gd name="T114" fmla="*/ 598 w 1227"/>
                <a:gd name="T115" fmla="*/ 341 h 1132"/>
                <a:gd name="T116" fmla="*/ 664 w 1227"/>
                <a:gd name="T117" fmla="*/ 326 h 1132"/>
                <a:gd name="T118" fmla="*/ 686 w 1227"/>
                <a:gd name="T119" fmla="*/ 326 h 1132"/>
                <a:gd name="T120" fmla="*/ 577 w 1227"/>
                <a:gd name="T121" fmla="*/ 446 h 1132"/>
                <a:gd name="T122" fmla="*/ 482 w 1227"/>
                <a:gd name="T123" fmla="*/ 573 h 1132"/>
                <a:gd name="T124" fmla="*/ 257 w 1227"/>
                <a:gd name="T125" fmla="*/ 799 h 1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27" h="1132">
                  <a:moveTo>
                    <a:pt x="812" y="823"/>
                  </a:moveTo>
                  <a:cubicBezTo>
                    <a:pt x="799" y="826"/>
                    <a:pt x="755" y="862"/>
                    <a:pt x="776" y="809"/>
                  </a:cubicBezTo>
                  <a:cubicBezTo>
                    <a:pt x="787" y="788"/>
                    <a:pt x="804" y="777"/>
                    <a:pt x="821" y="763"/>
                  </a:cubicBezTo>
                  <a:cubicBezTo>
                    <a:pt x="839" y="748"/>
                    <a:pt x="916" y="710"/>
                    <a:pt x="945" y="710"/>
                  </a:cubicBezTo>
                  <a:cubicBezTo>
                    <a:pt x="990" y="710"/>
                    <a:pt x="990" y="710"/>
                    <a:pt x="990" y="710"/>
                  </a:cubicBezTo>
                  <a:cubicBezTo>
                    <a:pt x="984" y="774"/>
                    <a:pt x="910" y="806"/>
                    <a:pt x="886" y="840"/>
                  </a:cubicBezTo>
                  <a:cubicBezTo>
                    <a:pt x="836" y="840"/>
                    <a:pt x="854" y="821"/>
                    <a:pt x="819" y="821"/>
                  </a:cubicBezTo>
                  <a:cubicBezTo>
                    <a:pt x="812" y="823"/>
                    <a:pt x="812" y="823"/>
                    <a:pt x="812" y="823"/>
                  </a:cubicBezTo>
                  <a:close/>
                  <a:moveTo>
                    <a:pt x="257" y="799"/>
                  </a:moveTo>
                  <a:cubicBezTo>
                    <a:pt x="144" y="918"/>
                    <a:pt x="144" y="918"/>
                    <a:pt x="144" y="918"/>
                  </a:cubicBezTo>
                  <a:cubicBezTo>
                    <a:pt x="141" y="922"/>
                    <a:pt x="148" y="933"/>
                    <a:pt x="117" y="958"/>
                  </a:cubicBezTo>
                  <a:cubicBezTo>
                    <a:pt x="92" y="978"/>
                    <a:pt x="68" y="986"/>
                    <a:pt x="63" y="1015"/>
                  </a:cubicBezTo>
                  <a:cubicBezTo>
                    <a:pt x="53" y="1069"/>
                    <a:pt x="0" y="1132"/>
                    <a:pt x="93" y="1101"/>
                  </a:cubicBezTo>
                  <a:cubicBezTo>
                    <a:pt x="152" y="1082"/>
                    <a:pt x="134" y="1056"/>
                    <a:pt x="161" y="1021"/>
                  </a:cubicBezTo>
                  <a:cubicBezTo>
                    <a:pt x="217" y="947"/>
                    <a:pt x="243" y="927"/>
                    <a:pt x="307" y="864"/>
                  </a:cubicBezTo>
                  <a:cubicBezTo>
                    <a:pt x="406" y="766"/>
                    <a:pt x="483" y="629"/>
                    <a:pt x="668" y="624"/>
                  </a:cubicBezTo>
                  <a:cubicBezTo>
                    <a:pt x="741" y="578"/>
                    <a:pt x="741" y="578"/>
                    <a:pt x="741" y="578"/>
                  </a:cubicBezTo>
                  <a:cubicBezTo>
                    <a:pt x="746" y="585"/>
                    <a:pt x="746" y="585"/>
                    <a:pt x="746" y="585"/>
                  </a:cubicBezTo>
                  <a:cubicBezTo>
                    <a:pt x="728" y="659"/>
                    <a:pt x="598" y="705"/>
                    <a:pt x="598" y="769"/>
                  </a:cubicBezTo>
                  <a:cubicBezTo>
                    <a:pt x="598" y="836"/>
                    <a:pt x="650" y="854"/>
                    <a:pt x="701" y="866"/>
                  </a:cubicBezTo>
                  <a:cubicBezTo>
                    <a:pt x="701" y="888"/>
                    <a:pt x="701" y="888"/>
                    <a:pt x="701" y="888"/>
                  </a:cubicBezTo>
                  <a:cubicBezTo>
                    <a:pt x="662" y="898"/>
                    <a:pt x="636" y="948"/>
                    <a:pt x="599" y="971"/>
                  </a:cubicBezTo>
                  <a:cubicBezTo>
                    <a:pt x="561" y="994"/>
                    <a:pt x="524" y="1019"/>
                    <a:pt x="524" y="1080"/>
                  </a:cubicBezTo>
                  <a:cubicBezTo>
                    <a:pt x="524" y="1100"/>
                    <a:pt x="527" y="1100"/>
                    <a:pt x="531" y="1117"/>
                  </a:cubicBezTo>
                  <a:cubicBezTo>
                    <a:pt x="554" y="1119"/>
                    <a:pt x="557" y="1124"/>
                    <a:pt x="583" y="1124"/>
                  </a:cubicBezTo>
                  <a:cubicBezTo>
                    <a:pt x="620" y="1124"/>
                    <a:pt x="620" y="1124"/>
                    <a:pt x="620" y="1124"/>
                  </a:cubicBezTo>
                  <a:cubicBezTo>
                    <a:pt x="683" y="1124"/>
                    <a:pt x="727" y="996"/>
                    <a:pt x="794" y="951"/>
                  </a:cubicBezTo>
                  <a:cubicBezTo>
                    <a:pt x="844" y="918"/>
                    <a:pt x="857" y="919"/>
                    <a:pt x="917" y="904"/>
                  </a:cubicBezTo>
                  <a:cubicBezTo>
                    <a:pt x="975" y="890"/>
                    <a:pt x="993" y="871"/>
                    <a:pt x="1034" y="843"/>
                  </a:cubicBezTo>
                  <a:cubicBezTo>
                    <a:pt x="1103" y="773"/>
                    <a:pt x="1158" y="776"/>
                    <a:pt x="1139" y="682"/>
                  </a:cubicBezTo>
                  <a:cubicBezTo>
                    <a:pt x="1128" y="626"/>
                    <a:pt x="993" y="644"/>
                    <a:pt x="899" y="649"/>
                  </a:cubicBezTo>
                  <a:cubicBezTo>
                    <a:pt x="903" y="608"/>
                    <a:pt x="988" y="536"/>
                    <a:pt x="1017" y="509"/>
                  </a:cubicBezTo>
                  <a:cubicBezTo>
                    <a:pt x="1061" y="471"/>
                    <a:pt x="1120" y="467"/>
                    <a:pt x="1204" y="459"/>
                  </a:cubicBezTo>
                  <a:cubicBezTo>
                    <a:pt x="1227" y="440"/>
                    <a:pt x="1227" y="440"/>
                    <a:pt x="1227" y="440"/>
                  </a:cubicBezTo>
                  <a:cubicBezTo>
                    <a:pt x="1218" y="427"/>
                    <a:pt x="1210" y="407"/>
                    <a:pt x="1189" y="407"/>
                  </a:cubicBezTo>
                  <a:cubicBezTo>
                    <a:pt x="1167" y="407"/>
                    <a:pt x="1167" y="407"/>
                    <a:pt x="1167" y="407"/>
                  </a:cubicBezTo>
                  <a:cubicBezTo>
                    <a:pt x="1135" y="407"/>
                    <a:pt x="1127" y="416"/>
                    <a:pt x="1101" y="422"/>
                  </a:cubicBezTo>
                  <a:cubicBezTo>
                    <a:pt x="1101" y="385"/>
                    <a:pt x="1101" y="385"/>
                    <a:pt x="1101" y="385"/>
                  </a:cubicBezTo>
                  <a:cubicBezTo>
                    <a:pt x="1105" y="344"/>
                    <a:pt x="1055" y="312"/>
                    <a:pt x="1009" y="312"/>
                  </a:cubicBezTo>
                  <a:cubicBezTo>
                    <a:pt x="1007" y="312"/>
                    <a:pt x="841" y="360"/>
                    <a:pt x="823" y="366"/>
                  </a:cubicBezTo>
                  <a:cubicBezTo>
                    <a:pt x="771" y="383"/>
                    <a:pt x="717" y="446"/>
                    <a:pt x="671" y="449"/>
                  </a:cubicBezTo>
                  <a:cubicBezTo>
                    <a:pt x="677" y="517"/>
                    <a:pt x="826" y="410"/>
                    <a:pt x="887" y="410"/>
                  </a:cubicBezTo>
                  <a:cubicBezTo>
                    <a:pt x="882" y="471"/>
                    <a:pt x="814" y="525"/>
                    <a:pt x="758" y="538"/>
                  </a:cubicBezTo>
                  <a:cubicBezTo>
                    <a:pt x="725" y="549"/>
                    <a:pt x="690" y="550"/>
                    <a:pt x="654" y="559"/>
                  </a:cubicBezTo>
                  <a:cubicBezTo>
                    <a:pt x="633" y="565"/>
                    <a:pt x="563" y="592"/>
                    <a:pt x="562" y="596"/>
                  </a:cubicBezTo>
                  <a:cubicBezTo>
                    <a:pt x="536" y="598"/>
                    <a:pt x="536" y="598"/>
                    <a:pt x="536" y="598"/>
                  </a:cubicBezTo>
                  <a:cubicBezTo>
                    <a:pt x="546" y="555"/>
                    <a:pt x="688" y="409"/>
                    <a:pt x="725" y="372"/>
                  </a:cubicBezTo>
                  <a:cubicBezTo>
                    <a:pt x="769" y="329"/>
                    <a:pt x="781" y="311"/>
                    <a:pt x="837" y="277"/>
                  </a:cubicBezTo>
                  <a:cubicBezTo>
                    <a:pt x="866" y="260"/>
                    <a:pt x="960" y="228"/>
                    <a:pt x="960" y="200"/>
                  </a:cubicBezTo>
                  <a:cubicBezTo>
                    <a:pt x="960" y="174"/>
                    <a:pt x="942" y="171"/>
                    <a:pt x="916" y="171"/>
                  </a:cubicBezTo>
                  <a:cubicBezTo>
                    <a:pt x="924" y="137"/>
                    <a:pt x="916" y="87"/>
                    <a:pt x="900" y="53"/>
                  </a:cubicBezTo>
                  <a:cubicBezTo>
                    <a:pt x="874" y="0"/>
                    <a:pt x="853" y="23"/>
                    <a:pt x="805" y="23"/>
                  </a:cubicBezTo>
                  <a:cubicBezTo>
                    <a:pt x="785" y="23"/>
                    <a:pt x="773" y="8"/>
                    <a:pt x="738" y="8"/>
                  </a:cubicBezTo>
                  <a:cubicBezTo>
                    <a:pt x="719" y="8"/>
                    <a:pt x="694" y="24"/>
                    <a:pt x="694" y="45"/>
                  </a:cubicBezTo>
                  <a:cubicBezTo>
                    <a:pt x="694" y="92"/>
                    <a:pt x="774" y="155"/>
                    <a:pt x="775" y="215"/>
                  </a:cubicBezTo>
                  <a:cubicBezTo>
                    <a:pt x="749" y="217"/>
                    <a:pt x="674" y="235"/>
                    <a:pt x="609" y="257"/>
                  </a:cubicBezTo>
                  <a:cubicBezTo>
                    <a:pt x="571" y="292"/>
                    <a:pt x="475" y="291"/>
                    <a:pt x="501" y="309"/>
                  </a:cubicBezTo>
                  <a:cubicBezTo>
                    <a:pt x="526" y="325"/>
                    <a:pt x="541" y="336"/>
                    <a:pt x="598" y="341"/>
                  </a:cubicBezTo>
                  <a:cubicBezTo>
                    <a:pt x="617" y="341"/>
                    <a:pt x="629" y="326"/>
                    <a:pt x="664" y="326"/>
                  </a:cubicBezTo>
                  <a:cubicBezTo>
                    <a:pt x="686" y="326"/>
                    <a:pt x="686" y="326"/>
                    <a:pt x="686" y="326"/>
                  </a:cubicBezTo>
                  <a:cubicBezTo>
                    <a:pt x="677" y="361"/>
                    <a:pt x="604" y="417"/>
                    <a:pt x="577" y="446"/>
                  </a:cubicBezTo>
                  <a:cubicBezTo>
                    <a:pt x="544" y="481"/>
                    <a:pt x="513" y="532"/>
                    <a:pt x="482" y="573"/>
                  </a:cubicBezTo>
                  <a:cubicBezTo>
                    <a:pt x="457" y="608"/>
                    <a:pt x="288" y="779"/>
                    <a:pt x="257" y="79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2" name="任意多边形: 形状 81">
              <a:extLst>
                <a:ext uri="{FF2B5EF4-FFF2-40B4-BE49-F238E27FC236}">
                  <a16:creationId xmlns:a16="http://schemas.microsoft.com/office/drawing/2014/main" id="{89804393-DF39-451E-8EC9-C40F2E7B7D6A}"/>
                </a:ext>
              </a:extLst>
            </p:cNvPr>
            <p:cNvSpPr/>
            <p:nvPr/>
          </p:nvSpPr>
          <p:spPr bwMode="auto">
            <a:xfrm>
              <a:off x="5341938" y="3613150"/>
              <a:ext cx="165100" cy="138113"/>
            </a:xfrm>
            <a:custGeom>
              <a:avLst/>
              <a:gdLst>
                <a:gd name="T0" fmla="*/ 0 w 214"/>
                <a:gd name="T1" fmla="*/ 8 h 178"/>
                <a:gd name="T2" fmla="*/ 64 w 214"/>
                <a:gd name="T3" fmla="*/ 99 h 178"/>
                <a:gd name="T4" fmla="*/ 140 w 214"/>
                <a:gd name="T5" fmla="*/ 178 h 178"/>
                <a:gd name="T6" fmla="*/ 185 w 214"/>
                <a:gd name="T7" fmla="*/ 178 h 178"/>
                <a:gd name="T8" fmla="*/ 214 w 214"/>
                <a:gd name="T9" fmla="*/ 156 h 178"/>
                <a:gd name="T10" fmla="*/ 59 w 214"/>
                <a:gd name="T11" fmla="*/ 0 h 178"/>
                <a:gd name="T12" fmla="*/ 22 w 214"/>
                <a:gd name="T13" fmla="*/ 0 h 178"/>
                <a:gd name="T14" fmla="*/ 0 w 214"/>
                <a:gd name="T15" fmla="*/ 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14" h="178">
                  <a:moveTo>
                    <a:pt x="0" y="8"/>
                  </a:moveTo>
                  <a:cubicBezTo>
                    <a:pt x="5" y="28"/>
                    <a:pt x="48" y="71"/>
                    <a:pt x="64" y="99"/>
                  </a:cubicBezTo>
                  <a:cubicBezTo>
                    <a:pt x="84" y="134"/>
                    <a:pt x="87" y="178"/>
                    <a:pt x="140" y="178"/>
                  </a:cubicBezTo>
                  <a:cubicBezTo>
                    <a:pt x="185" y="178"/>
                    <a:pt x="185" y="178"/>
                    <a:pt x="185" y="178"/>
                  </a:cubicBezTo>
                  <a:cubicBezTo>
                    <a:pt x="199" y="178"/>
                    <a:pt x="214" y="165"/>
                    <a:pt x="214" y="156"/>
                  </a:cubicBezTo>
                  <a:cubicBezTo>
                    <a:pt x="214" y="88"/>
                    <a:pt x="128" y="0"/>
                    <a:pt x="59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3" y="0"/>
                    <a:pt x="2" y="6"/>
                    <a:pt x="0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3" name="任意多边形: 形状 82">
              <a:extLst>
                <a:ext uri="{FF2B5EF4-FFF2-40B4-BE49-F238E27FC236}">
                  <a16:creationId xmlns:a16="http://schemas.microsoft.com/office/drawing/2014/main" id="{EDAFE4CF-E192-49B0-860E-64B4546FAC8B}"/>
                </a:ext>
              </a:extLst>
            </p:cNvPr>
            <p:cNvSpPr/>
            <p:nvPr/>
          </p:nvSpPr>
          <p:spPr bwMode="auto">
            <a:xfrm>
              <a:off x="5818188" y="3270250"/>
              <a:ext cx="520700" cy="263525"/>
            </a:xfrm>
            <a:custGeom>
              <a:avLst/>
              <a:gdLst>
                <a:gd name="T0" fmla="*/ 355 w 671"/>
                <a:gd name="T1" fmla="*/ 222 h 340"/>
                <a:gd name="T2" fmla="*/ 421 w 671"/>
                <a:gd name="T3" fmla="*/ 81 h 340"/>
                <a:gd name="T4" fmla="*/ 547 w 671"/>
                <a:gd name="T5" fmla="*/ 90 h 340"/>
                <a:gd name="T6" fmla="*/ 577 w 671"/>
                <a:gd name="T7" fmla="*/ 88 h 340"/>
                <a:gd name="T8" fmla="*/ 497 w 671"/>
                <a:gd name="T9" fmla="*/ 192 h 340"/>
                <a:gd name="T10" fmla="*/ 370 w 671"/>
                <a:gd name="T11" fmla="*/ 257 h 340"/>
                <a:gd name="T12" fmla="*/ 355 w 671"/>
                <a:gd name="T13" fmla="*/ 222 h 340"/>
                <a:gd name="T14" fmla="*/ 268 w 671"/>
                <a:gd name="T15" fmla="*/ 155 h 340"/>
                <a:gd name="T16" fmla="*/ 299 w 671"/>
                <a:gd name="T17" fmla="*/ 211 h 340"/>
                <a:gd name="T18" fmla="*/ 268 w 671"/>
                <a:gd name="T19" fmla="*/ 155 h 340"/>
                <a:gd name="T20" fmla="*/ 44 w 671"/>
                <a:gd name="T21" fmla="*/ 273 h 340"/>
                <a:gd name="T22" fmla="*/ 177 w 671"/>
                <a:gd name="T23" fmla="*/ 177 h 340"/>
                <a:gd name="T24" fmla="*/ 198 w 671"/>
                <a:gd name="T25" fmla="*/ 253 h 340"/>
                <a:gd name="T26" fmla="*/ 236 w 671"/>
                <a:gd name="T27" fmla="*/ 288 h 340"/>
                <a:gd name="T28" fmla="*/ 236 w 671"/>
                <a:gd name="T29" fmla="*/ 325 h 340"/>
                <a:gd name="T30" fmla="*/ 266 w 671"/>
                <a:gd name="T31" fmla="*/ 340 h 340"/>
                <a:gd name="T32" fmla="*/ 398 w 671"/>
                <a:gd name="T33" fmla="*/ 325 h 340"/>
                <a:gd name="T34" fmla="*/ 430 w 671"/>
                <a:gd name="T35" fmla="*/ 312 h 340"/>
                <a:gd name="T36" fmla="*/ 540 w 671"/>
                <a:gd name="T37" fmla="*/ 222 h 340"/>
                <a:gd name="T38" fmla="*/ 671 w 671"/>
                <a:gd name="T39" fmla="*/ 90 h 340"/>
                <a:gd name="T40" fmla="*/ 584 w 671"/>
                <a:gd name="T41" fmla="*/ 51 h 340"/>
                <a:gd name="T42" fmla="*/ 482 w 671"/>
                <a:gd name="T43" fmla="*/ 53 h 340"/>
                <a:gd name="T44" fmla="*/ 429 w 671"/>
                <a:gd name="T45" fmla="*/ 59 h 340"/>
                <a:gd name="T46" fmla="*/ 412 w 671"/>
                <a:gd name="T47" fmla="*/ 0 h 340"/>
                <a:gd name="T48" fmla="*/ 330 w 671"/>
                <a:gd name="T49" fmla="*/ 86 h 340"/>
                <a:gd name="T50" fmla="*/ 259 w 671"/>
                <a:gd name="T51" fmla="*/ 29 h 340"/>
                <a:gd name="T52" fmla="*/ 250 w 671"/>
                <a:gd name="T53" fmla="*/ 27 h 340"/>
                <a:gd name="T54" fmla="*/ 217 w 671"/>
                <a:gd name="T55" fmla="*/ 131 h 340"/>
                <a:gd name="T56" fmla="*/ 84 w 671"/>
                <a:gd name="T57" fmla="*/ 181 h 340"/>
                <a:gd name="T58" fmla="*/ 25 w 671"/>
                <a:gd name="T59" fmla="*/ 51 h 340"/>
                <a:gd name="T60" fmla="*/ 0 w 671"/>
                <a:gd name="T61" fmla="*/ 162 h 340"/>
                <a:gd name="T62" fmla="*/ 0 w 671"/>
                <a:gd name="T63" fmla="*/ 214 h 340"/>
                <a:gd name="T64" fmla="*/ 22 w 671"/>
                <a:gd name="T65" fmla="*/ 273 h 340"/>
                <a:gd name="T66" fmla="*/ 44 w 671"/>
                <a:gd name="T67" fmla="*/ 273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71" h="340">
                  <a:moveTo>
                    <a:pt x="355" y="222"/>
                  </a:moveTo>
                  <a:cubicBezTo>
                    <a:pt x="355" y="209"/>
                    <a:pt x="415" y="106"/>
                    <a:pt x="421" y="81"/>
                  </a:cubicBezTo>
                  <a:cubicBezTo>
                    <a:pt x="547" y="90"/>
                    <a:pt x="547" y="90"/>
                    <a:pt x="547" y="9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74" y="123"/>
                    <a:pt x="521" y="173"/>
                    <a:pt x="497" y="192"/>
                  </a:cubicBezTo>
                  <a:cubicBezTo>
                    <a:pt x="423" y="250"/>
                    <a:pt x="441" y="234"/>
                    <a:pt x="370" y="257"/>
                  </a:cubicBezTo>
                  <a:cubicBezTo>
                    <a:pt x="361" y="243"/>
                    <a:pt x="355" y="238"/>
                    <a:pt x="355" y="222"/>
                  </a:cubicBezTo>
                  <a:close/>
                  <a:moveTo>
                    <a:pt x="268" y="155"/>
                  </a:moveTo>
                  <a:cubicBezTo>
                    <a:pt x="333" y="102"/>
                    <a:pt x="342" y="120"/>
                    <a:pt x="299" y="211"/>
                  </a:cubicBezTo>
                  <a:cubicBezTo>
                    <a:pt x="276" y="256"/>
                    <a:pt x="271" y="212"/>
                    <a:pt x="268" y="155"/>
                  </a:cubicBezTo>
                  <a:close/>
                  <a:moveTo>
                    <a:pt x="44" y="273"/>
                  </a:moveTo>
                  <a:cubicBezTo>
                    <a:pt x="62" y="261"/>
                    <a:pt x="161" y="177"/>
                    <a:pt x="177" y="177"/>
                  </a:cubicBezTo>
                  <a:cubicBezTo>
                    <a:pt x="210" y="177"/>
                    <a:pt x="199" y="217"/>
                    <a:pt x="198" y="253"/>
                  </a:cubicBezTo>
                  <a:cubicBezTo>
                    <a:pt x="236" y="288"/>
                    <a:pt x="236" y="288"/>
                    <a:pt x="236" y="288"/>
                  </a:cubicBezTo>
                  <a:cubicBezTo>
                    <a:pt x="236" y="325"/>
                    <a:pt x="236" y="325"/>
                    <a:pt x="236" y="325"/>
                  </a:cubicBezTo>
                  <a:cubicBezTo>
                    <a:pt x="239" y="327"/>
                    <a:pt x="265" y="340"/>
                    <a:pt x="266" y="340"/>
                  </a:cubicBezTo>
                  <a:cubicBezTo>
                    <a:pt x="265" y="331"/>
                    <a:pt x="335" y="321"/>
                    <a:pt x="398" y="325"/>
                  </a:cubicBezTo>
                  <a:cubicBezTo>
                    <a:pt x="420" y="327"/>
                    <a:pt x="428" y="311"/>
                    <a:pt x="430" y="312"/>
                  </a:cubicBezTo>
                  <a:cubicBezTo>
                    <a:pt x="460" y="295"/>
                    <a:pt x="517" y="245"/>
                    <a:pt x="540" y="222"/>
                  </a:cubicBezTo>
                  <a:cubicBezTo>
                    <a:pt x="671" y="90"/>
                    <a:pt x="671" y="90"/>
                    <a:pt x="671" y="90"/>
                  </a:cubicBezTo>
                  <a:cubicBezTo>
                    <a:pt x="651" y="60"/>
                    <a:pt x="633" y="51"/>
                    <a:pt x="584" y="51"/>
                  </a:cubicBezTo>
                  <a:cubicBezTo>
                    <a:pt x="482" y="53"/>
                    <a:pt x="482" y="53"/>
                    <a:pt x="482" y="53"/>
                  </a:cubicBezTo>
                  <a:cubicBezTo>
                    <a:pt x="456" y="54"/>
                    <a:pt x="452" y="57"/>
                    <a:pt x="429" y="59"/>
                  </a:cubicBezTo>
                  <a:cubicBezTo>
                    <a:pt x="412" y="0"/>
                    <a:pt x="412" y="0"/>
                    <a:pt x="412" y="0"/>
                  </a:cubicBezTo>
                  <a:cubicBezTo>
                    <a:pt x="359" y="14"/>
                    <a:pt x="394" y="54"/>
                    <a:pt x="330" y="86"/>
                  </a:cubicBezTo>
                  <a:cubicBezTo>
                    <a:pt x="253" y="125"/>
                    <a:pt x="285" y="85"/>
                    <a:pt x="259" y="29"/>
                  </a:cubicBezTo>
                  <a:cubicBezTo>
                    <a:pt x="250" y="27"/>
                    <a:pt x="250" y="27"/>
                    <a:pt x="250" y="27"/>
                  </a:cubicBezTo>
                  <a:cubicBezTo>
                    <a:pt x="217" y="131"/>
                    <a:pt x="217" y="131"/>
                    <a:pt x="217" y="131"/>
                  </a:cubicBezTo>
                  <a:cubicBezTo>
                    <a:pt x="84" y="181"/>
                    <a:pt x="84" y="181"/>
                    <a:pt x="84" y="181"/>
                  </a:cubicBezTo>
                  <a:cubicBezTo>
                    <a:pt x="72" y="146"/>
                    <a:pt x="74" y="56"/>
                    <a:pt x="25" y="51"/>
                  </a:cubicBezTo>
                  <a:cubicBezTo>
                    <a:pt x="17" y="86"/>
                    <a:pt x="0" y="121"/>
                    <a:pt x="0" y="162"/>
                  </a:cubicBezTo>
                  <a:cubicBezTo>
                    <a:pt x="0" y="214"/>
                    <a:pt x="0" y="214"/>
                    <a:pt x="0" y="214"/>
                  </a:cubicBezTo>
                  <a:cubicBezTo>
                    <a:pt x="0" y="237"/>
                    <a:pt x="13" y="257"/>
                    <a:pt x="22" y="273"/>
                  </a:cubicBezTo>
                  <a:lnTo>
                    <a:pt x="44" y="27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4" name="任意多边形: 形状 83">
              <a:extLst>
                <a:ext uri="{FF2B5EF4-FFF2-40B4-BE49-F238E27FC236}">
                  <a16:creationId xmlns:a16="http://schemas.microsoft.com/office/drawing/2014/main" id="{F79A403E-08F3-41A0-895B-DDD39F5FFA53}"/>
                </a:ext>
              </a:extLst>
            </p:cNvPr>
            <p:cNvSpPr/>
            <p:nvPr/>
          </p:nvSpPr>
          <p:spPr bwMode="auto">
            <a:xfrm>
              <a:off x="6592888" y="2959100"/>
              <a:ext cx="647700" cy="890588"/>
            </a:xfrm>
            <a:custGeom>
              <a:avLst/>
              <a:gdLst>
                <a:gd name="T0" fmla="*/ 45 w 836"/>
                <a:gd name="T1" fmla="*/ 695 h 1146"/>
                <a:gd name="T2" fmla="*/ 59 w 836"/>
                <a:gd name="T3" fmla="*/ 503 h 1146"/>
                <a:gd name="T4" fmla="*/ 126 w 836"/>
                <a:gd name="T5" fmla="*/ 525 h 1146"/>
                <a:gd name="T6" fmla="*/ 119 w 836"/>
                <a:gd name="T7" fmla="*/ 607 h 1146"/>
                <a:gd name="T8" fmla="*/ 223 w 836"/>
                <a:gd name="T9" fmla="*/ 552 h 1146"/>
                <a:gd name="T10" fmla="*/ 407 w 836"/>
                <a:gd name="T11" fmla="*/ 488 h 1146"/>
                <a:gd name="T12" fmla="*/ 429 w 836"/>
                <a:gd name="T13" fmla="*/ 814 h 1146"/>
                <a:gd name="T14" fmla="*/ 451 w 836"/>
                <a:gd name="T15" fmla="*/ 1146 h 1146"/>
                <a:gd name="T16" fmla="*/ 488 w 836"/>
                <a:gd name="T17" fmla="*/ 1087 h 1146"/>
                <a:gd name="T18" fmla="*/ 693 w 836"/>
                <a:gd name="T19" fmla="*/ 508 h 1146"/>
                <a:gd name="T20" fmla="*/ 836 w 836"/>
                <a:gd name="T21" fmla="*/ 311 h 1146"/>
                <a:gd name="T22" fmla="*/ 703 w 836"/>
                <a:gd name="T23" fmla="*/ 259 h 1146"/>
                <a:gd name="T24" fmla="*/ 614 w 836"/>
                <a:gd name="T25" fmla="*/ 274 h 1146"/>
                <a:gd name="T26" fmla="*/ 740 w 836"/>
                <a:gd name="T27" fmla="*/ 60 h 1146"/>
                <a:gd name="T28" fmla="*/ 372 w 836"/>
                <a:gd name="T29" fmla="*/ 165 h 1146"/>
                <a:gd name="T30" fmla="*/ 159 w 836"/>
                <a:gd name="T31" fmla="*/ 389 h 1146"/>
                <a:gd name="T32" fmla="*/ 59 w 836"/>
                <a:gd name="T33" fmla="*/ 437 h 1146"/>
                <a:gd name="T34" fmla="*/ 74 w 836"/>
                <a:gd name="T35" fmla="*/ 311 h 1146"/>
                <a:gd name="T36" fmla="*/ 104 w 836"/>
                <a:gd name="T37" fmla="*/ 348 h 1146"/>
                <a:gd name="T38" fmla="*/ 222 w 836"/>
                <a:gd name="T39" fmla="*/ 222 h 1146"/>
                <a:gd name="T40" fmla="*/ 294 w 836"/>
                <a:gd name="T41" fmla="*/ 60 h 1146"/>
                <a:gd name="T42" fmla="*/ 244 w 836"/>
                <a:gd name="T43" fmla="*/ 0 h 1146"/>
                <a:gd name="T44" fmla="*/ 133 w 836"/>
                <a:gd name="T45" fmla="*/ 45 h 1146"/>
                <a:gd name="T46" fmla="*/ 170 w 836"/>
                <a:gd name="T47" fmla="*/ 67 h 1146"/>
                <a:gd name="T48" fmla="*/ 119 w 836"/>
                <a:gd name="T49" fmla="*/ 126 h 1146"/>
                <a:gd name="T50" fmla="*/ 0 w 836"/>
                <a:gd name="T51" fmla="*/ 348 h 1146"/>
                <a:gd name="T52" fmla="*/ 22 w 836"/>
                <a:gd name="T53" fmla="*/ 681 h 1146"/>
                <a:gd name="T54" fmla="*/ 644 w 836"/>
                <a:gd name="T55" fmla="*/ 341 h 1146"/>
                <a:gd name="T56" fmla="*/ 578 w 836"/>
                <a:gd name="T57" fmla="*/ 474 h 1146"/>
                <a:gd name="T58" fmla="*/ 457 w 836"/>
                <a:gd name="T59" fmla="*/ 459 h 1146"/>
                <a:gd name="T60" fmla="*/ 427 w 836"/>
                <a:gd name="T61" fmla="*/ 459 h 1146"/>
                <a:gd name="T62" fmla="*/ 454 w 836"/>
                <a:gd name="T63" fmla="*/ 217 h 1146"/>
                <a:gd name="T64" fmla="*/ 227 w 836"/>
                <a:gd name="T65" fmla="*/ 474 h 1146"/>
                <a:gd name="T66" fmla="*/ 454 w 836"/>
                <a:gd name="T67" fmla="*/ 217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36" h="1146">
                  <a:moveTo>
                    <a:pt x="22" y="681"/>
                  </a:moveTo>
                  <a:cubicBezTo>
                    <a:pt x="45" y="695"/>
                    <a:pt x="45" y="695"/>
                    <a:pt x="45" y="695"/>
                  </a:cubicBezTo>
                  <a:cubicBezTo>
                    <a:pt x="56" y="700"/>
                    <a:pt x="67" y="669"/>
                    <a:pt x="67" y="649"/>
                  </a:cubicBezTo>
                  <a:cubicBezTo>
                    <a:pt x="59" y="503"/>
                    <a:pt x="59" y="503"/>
                    <a:pt x="59" y="503"/>
                  </a:cubicBezTo>
                  <a:cubicBezTo>
                    <a:pt x="117" y="504"/>
                    <a:pt x="117" y="504"/>
                    <a:pt x="117" y="504"/>
                  </a:cubicBezTo>
                  <a:cubicBezTo>
                    <a:pt x="126" y="525"/>
                    <a:pt x="126" y="525"/>
                    <a:pt x="126" y="525"/>
                  </a:cubicBezTo>
                  <a:cubicBezTo>
                    <a:pt x="122" y="543"/>
                    <a:pt x="119" y="547"/>
                    <a:pt x="119" y="570"/>
                  </a:cubicBezTo>
                  <a:cubicBezTo>
                    <a:pt x="119" y="607"/>
                    <a:pt x="119" y="607"/>
                    <a:pt x="119" y="607"/>
                  </a:cubicBezTo>
                  <a:cubicBezTo>
                    <a:pt x="124" y="615"/>
                    <a:pt x="124" y="615"/>
                    <a:pt x="124" y="615"/>
                  </a:cubicBezTo>
                  <a:cubicBezTo>
                    <a:pt x="223" y="552"/>
                    <a:pt x="223" y="552"/>
                    <a:pt x="223" y="552"/>
                  </a:cubicBezTo>
                  <a:cubicBezTo>
                    <a:pt x="296" y="585"/>
                    <a:pt x="296" y="585"/>
                    <a:pt x="296" y="585"/>
                  </a:cubicBezTo>
                  <a:cubicBezTo>
                    <a:pt x="336" y="558"/>
                    <a:pt x="357" y="493"/>
                    <a:pt x="407" y="488"/>
                  </a:cubicBezTo>
                  <a:cubicBezTo>
                    <a:pt x="408" y="540"/>
                    <a:pt x="430" y="570"/>
                    <a:pt x="429" y="636"/>
                  </a:cubicBezTo>
                  <a:cubicBezTo>
                    <a:pt x="429" y="695"/>
                    <a:pt x="429" y="755"/>
                    <a:pt x="429" y="814"/>
                  </a:cubicBezTo>
                  <a:cubicBezTo>
                    <a:pt x="429" y="873"/>
                    <a:pt x="429" y="932"/>
                    <a:pt x="429" y="991"/>
                  </a:cubicBezTo>
                  <a:cubicBezTo>
                    <a:pt x="429" y="1030"/>
                    <a:pt x="414" y="1146"/>
                    <a:pt x="451" y="1146"/>
                  </a:cubicBezTo>
                  <a:cubicBezTo>
                    <a:pt x="469" y="1146"/>
                    <a:pt x="473" y="1134"/>
                    <a:pt x="488" y="1124"/>
                  </a:cubicBezTo>
                  <a:cubicBezTo>
                    <a:pt x="488" y="1087"/>
                    <a:pt x="488" y="1087"/>
                    <a:pt x="488" y="1087"/>
                  </a:cubicBezTo>
                  <a:cubicBezTo>
                    <a:pt x="580" y="1026"/>
                    <a:pt x="534" y="826"/>
                    <a:pt x="562" y="703"/>
                  </a:cubicBezTo>
                  <a:cubicBezTo>
                    <a:pt x="562" y="572"/>
                    <a:pt x="623" y="559"/>
                    <a:pt x="693" y="508"/>
                  </a:cubicBezTo>
                  <a:cubicBezTo>
                    <a:pt x="720" y="487"/>
                    <a:pt x="836" y="352"/>
                    <a:pt x="836" y="318"/>
                  </a:cubicBezTo>
                  <a:cubicBezTo>
                    <a:pt x="836" y="311"/>
                    <a:pt x="836" y="311"/>
                    <a:pt x="836" y="311"/>
                  </a:cubicBezTo>
                  <a:cubicBezTo>
                    <a:pt x="836" y="293"/>
                    <a:pt x="802" y="259"/>
                    <a:pt x="784" y="259"/>
                  </a:cubicBezTo>
                  <a:cubicBezTo>
                    <a:pt x="703" y="259"/>
                    <a:pt x="703" y="259"/>
                    <a:pt x="703" y="259"/>
                  </a:cubicBezTo>
                  <a:cubicBezTo>
                    <a:pt x="663" y="259"/>
                    <a:pt x="662" y="274"/>
                    <a:pt x="622" y="274"/>
                  </a:cubicBezTo>
                  <a:cubicBezTo>
                    <a:pt x="614" y="274"/>
                    <a:pt x="614" y="274"/>
                    <a:pt x="614" y="274"/>
                  </a:cubicBezTo>
                  <a:cubicBezTo>
                    <a:pt x="602" y="274"/>
                    <a:pt x="592" y="270"/>
                    <a:pt x="592" y="259"/>
                  </a:cubicBezTo>
                  <a:cubicBezTo>
                    <a:pt x="592" y="181"/>
                    <a:pt x="718" y="152"/>
                    <a:pt x="740" y="60"/>
                  </a:cubicBezTo>
                  <a:cubicBezTo>
                    <a:pt x="721" y="47"/>
                    <a:pt x="695" y="23"/>
                    <a:pt x="666" y="23"/>
                  </a:cubicBezTo>
                  <a:cubicBezTo>
                    <a:pt x="558" y="23"/>
                    <a:pt x="428" y="109"/>
                    <a:pt x="372" y="165"/>
                  </a:cubicBezTo>
                  <a:cubicBezTo>
                    <a:pt x="349" y="187"/>
                    <a:pt x="285" y="258"/>
                    <a:pt x="275" y="282"/>
                  </a:cubicBezTo>
                  <a:cubicBezTo>
                    <a:pt x="250" y="343"/>
                    <a:pt x="242" y="385"/>
                    <a:pt x="159" y="389"/>
                  </a:cubicBezTo>
                  <a:cubicBezTo>
                    <a:pt x="82" y="444"/>
                    <a:pt x="82" y="444"/>
                    <a:pt x="82" y="444"/>
                  </a:cubicBezTo>
                  <a:cubicBezTo>
                    <a:pt x="59" y="437"/>
                    <a:pt x="59" y="437"/>
                    <a:pt x="59" y="437"/>
                  </a:cubicBezTo>
                  <a:cubicBezTo>
                    <a:pt x="59" y="333"/>
                    <a:pt x="59" y="333"/>
                    <a:pt x="59" y="333"/>
                  </a:cubicBezTo>
                  <a:cubicBezTo>
                    <a:pt x="59" y="312"/>
                    <a:pt x="63" y="319"/>
                    <a:pt x="74" y="311"/>
                  </a:cubicBezTo>
                  <a:cubicBezTo>
                    <a:pt x="75" y="335"/>
                    <a:pt x="72" y="348"/>
                    <a:pt x="96" y="348"/>
                  </a:cubicBezTo>
                  <a:cubicBezTo>
                    <a:pt x="104" y="348"/>
                    <a:pt x="104" y="348"/>
                    <a:pt x="104" y="348"/>
                  </a:cubicBezTo>
                  <a:cubicBezTo>
                    <a:pt x="127" y="348"/>
                    <a:pt x="247" y="270"/>
                    <a:pt x="259" y="252"/>
                  </a:cubicBezTo>
                  <a:cubicBezTo>
                    <a:pt x="251" y="239"/>
                    <a:pt x="243" y="222"/>
                    <a:pt x="222" y="222"/>
                  </a:cubicBezTo>
                  <a:cubicBezTo>
                    <a:pt x="188" y="219"/>
                    <a:pt x="188" y="219"/>
                    <a:pt x="188" y="219"/>
                  </a:cubicBezTo>
                  <a:cubicBezTo>
                    <a:pt x="294" y="60"/>
                    <a:pt x="294" y="60"/>
                    <a:pt x="294" y="60"/>
                  </a:cubicBezTo>
                  <a:cubicBezTo>
                    <a:pt x="289" y="23"/>
                    <a:pt x="289" y="23"/>
                    <a:pt x="289" y="23"/>
                  </a:cubicBezTo>
                  <a:cubicBezTo>
                    <a:pt x="277" y="16"/>
                    <a:pt x="255" y="0"/>
                    <a:pt x="244" y="0"/>
                  </a:cubicBezTo>
                  <a:cubicBezTo>
                    <a:pt x="222" y="0"/>
                    <a:pt x="222" y="0"/>
                    <a:pt x="222" y="0"/>
                  </a:cubicBezTo>
                  <a:cubicBezTo>
                    <a:pt x="184" y="0"/>
                    <a:pt x="133" y="9"/>
                    <a:pt x="133" y="45"/>
                  </a:cubicBezTo>
                  <a:cubicBezTo>
                    <a:pt x="133" y="67"/>
                    <a:pt x="133" y="67"/>
                    <a:pt x="133" y="67"/>
                  </a:cubicBezTo>
                  <a:cubicBezTo>
                    <a:pt x="170" y="67"/>
                    <a:pt x="170" y="67"/>
                    <a:pt x="170" y="67"/>
                  </a:cubicBezTo>
                  <a:cubicBezTo>
                    <a:pt x="228" y="67"/>
                    <a:pt x="135" y="247"/>
                    <a:pt x="74" y="252"/>
                  </a:cubicBezTo>
                  <a:cubicBezTo>
                    <a:pt x="78" y="204"/>
                    <a:pt x="119" y="164"/>
                    <a:pt x="119" y="126"/>
                  </a:cubicBezTo>
                  <a:cubicBezTo>
                    <a:pt x="119" y="113"/>
                    <a:pt x="92" y="74"/>
                    <a:pt x="82" y="74"/>
                  </a:cubicBezTo>
                  <a:cubicBezTo>
                    <a:pt x="43" y="74"/>
                    <a:pt x="0" y="289"/>
                    <a:pt x="0" y="348"/>
                  </a:cubicBezTo>
                  <a:cubicBezTo>
                    <a:pt x="0" y="570"/>
                    <a:pt x="0" y="570"/>
                    <a:pt x="0" y="570"/>
                  </a:cubicBezTo>
                  <a:cubicBezTo>
                    <a:pt x="0" y="627"/>
                    <a:pt x="13" y="640"/>
                    <a:pt x="22" y="681"/>
                  </a:cubicBezTo>
                  <a:close/>
                  <a:moveTo>
                    <a:pt x="578" y="474"/>
                  </a:moveTo>
                  <a:cubicBezTo>
                    <a:pt x="558" y="432"/>
                    <a:pt x="578" y="359"/>
                    <a:pt x="644" y="341"/>
                  </a:cubicBezTo>
                  <a:cubicBezTo>
                    <a:pt x="671" y="334"/>
                    <a:pt x="702" y="343"/>
                    <a:pt x="682" y="370"/>
                  </a:cubicBezTo>
                  <a:cubicBezTo>
                    <a:pt x="653" y="409"/>
                    <a:pt x="601" y="469"/>
                    <a:pt x="578" y="474"/>
                  </a:cubicBezTo>
                  <a:close/>
                  <a:moveTo>
                    <a:pt x="442" y="428"/>
                  </a:moveTo>
                  <a:cubicBezTo>
                    <a:pt x="450" y="428"/>
                    <a:pt x="457" y="442"/>
                    <a:pt x="457" y="459"/>
                  </a:cubicBezTo>
                  <a:cubicBezTo>
                    <a:pt x="457" y="477"/>
                    <a:pt x="450" y="491"/>
                    <a:pt x="442" y="491"/>
                  </a:cubicBezTo>
                  <a:cubicBezTo>
                    <a:pt x="434" y="491"/>
                    <a:pt x="427" y="477"/>
                    <a:pt x="427" y="459"/>
                  </a:cubicBezTo>
                  <a:cubicBezTo>
                    <a:pt x="427" y="442"/>
                    <a:pt x="434" y="428"/>
                    <a:pt x="442" y="428"/>
                  </a:cubicBezTo>
                  <a:close/>
                  <a:moveTo>
                    <a:pt x="454" y="217"/>
                  </a:moveTo>
                  <a:cubicBezTo>
                    <a:pt x="383" y="324"/>
                    <a:pt x="291" y="381"/>
                    <a:pt x="245" y="488"/>
                  </a:cubicBezTo>
                  <a:cubicBezTo>
                    <a:pt x="228" y="512"/>
                    <a:pt x="222" y="507"/>
                    <a:pt x="227" y="474"/>
                  </a:cubicBezTo>
                  <a:cubicBezTo>
                    <a:pt x="264" y="398"/>
                    <a:pt x="293" y="319"/>
                    <a:pt x="356" y="245"/>
                  </a:cubicBezTo>
                  <a:cubicBezTo>
                    <a:pt x="408" y="185"/>
                    <a:pt x="481" y="167"/>
                    <a:pt x="454" y="2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5" name="任意多边形: 形状 84">
              <a:extLst>
                <a:ext uri="{FF2B5EF4-FFF2-40B4-BE49-F238E27FC236}">
                  <a16:creationId xmlns:a16="http://schemas.microsoft.com/office/drawing/2014/main" id="{F1AC0300-0190-4F7D-B66C-4146D5F297D0}"/>
                </a:ext>
              </a:extLst>
            </p:cNvPr>
            <p:cNvSpPr/>
            <p:nvPr/>
          </p:nvSpPr>
          <p:spPr bwMode="auto">
            <a:xfrm>
              <a:off x="7488238" y="2965450"/>
              <a:ext cx="739775" cy="766763"/>
            </a:xfrm>
            <a:custGeom>
              <a:avLst/>
              <a:gdLst>
                <a:gd name="T0" fmla="*/ 125 w 953"/>
                <a:gd name="T1" fmla="*/ 770 h 988"/>
                <a:gd name="T2" fmla="*/ 162 w 953"/>
                <a:gd name="T3" fmla="*/ 894 h 988"/>
                <a:gd name="T4" fmla="*/ 199 w 953"/>
                <a:gd name="T5" fmla="*/ 939 h 988"/>
                <a:gd name="T6" fmla="*/ 221 w 953"/>
                <a:gd name="T7" fmla="*/ 924 h 988"/>
                <a:gd name="T8" fmla="*/ 354 w 953"/>
                <a:gd name="T9" fmla="*/ 776 h 988"/>
                <a:gd name="T10" fmla="*/ 739 w 953"/>
                <a:gd name="T11" fmla="*/ 429 h 988"/>
                <a:gd name="T12" fmla="*/ 571 w 953"/>
                <a:gd name="T13" fmla="*/ 687 h 988"/>
                <a:gd name="T14" fmla="*/ 798 w 953"/>
                <a:gd name="T15" fmla="*/ 887 h 988"/>
                <a:gd name="T16" fmla="*/ 953 w 953"/>
                <a:gd name="T17" fmla="*/ 828 h 988"/>
                <a:gd name="T18" fmla="*/ 887 w 953"/>
                <a:gd name="T19" fmla="*/ 772 h 988"/>
                <a:gd name="T20" fmla="*/ 704 w 953"/>
                <a:gd name="T21" fmla="*/ 774 h 988"/>
                <a:gd name="T22" fmla="*/ 680 w 953"/>
                <a:gd name="T23" fmla="*/ 628 h 988"/>
                <a:gd name="T24" fmla="*/ 842 w 953"/>
                <a:gd name="T25" fmla="*/ 414 h 988"/>
                <a:gd name="T26" fmla="*/ 721 w 953"/>
                <a:gd name="T27" fmla="*/ 389 h 988"/>
                <a:gd name="T28" fmla="*/ 428 w 953"/>
                <a:gd name="T29" fmla="*/ 562 h 988"/>
                <a:gd name="T30" fmla="*/ 302 w 953"/>
                <a:gd name="T31" fmla="*/ 628 h 988"/>
                <a:gd name="T32" fmla="*/ 177 w 953"/>
                <a:gd name="T33" fmla="*/ 695 h 988"/>
                <a:gd name="T34" fmla="*/ 510 w 953"/>
                <a:gd name="T35" fmla="*/ 392 h 988"/>
                <a:gd name="T36" fmla="*/ 412 w 953"/>
                <a:gd name="T37" fmla="*/ 348 h 988"/>
                <a:gd name="T38" fmla="*/ 909 w 953"/>
                <a:gd name="T39" fmla="*/ 7 h 988"/>
                <a:gd name="T40" fmla="*/ 791 w 953"/>
                <a:gd name="T41" fmla="*/ 22 h 988"/>
                <a:gd name="T42" fmla="*/ 675 w 953"/>
                <a:gd name="T43" fmla="*/ 7 h 988"/>
                <a:gd name="T44" fmla="*/ 283 w 953"/>
                <a:gd name="T45" fmla="*/ 143 h 988"/>
                <a:gd name="T46" fmla="*/ 347 w 953"/>
                <a:gd name="T47" fmla="*/ 229 h 988"/>
                <a:gd name="T48" fmla="*/ 665 w 953"/>
                <a:gd name="T49" fmla="*/ 29 h 988"/>
                <a:gd name="T50" fmla="*/ 445 w 953"/>
                <a:gd name="T51" fmla="*/ 298 h 988"/>
                <a:gd name="T52" fmla="*/ 205 w 953"/>
                <a:gd name="T53" fmla="*/ 454 h 988"/>
                <a:gd name="T54" fmla="*/ 10 w 953"/>
                <a:gd name="T55" fmla="*/ 621 h 988"/>
                <a:gd name="T56" fmla="*/ 147 w 953"/>
                <a:gd name="T57" fmla="*/ 599 h 988"/>
                <a:gd name="T58" fmla="*/ 353 w 953"/>
                <a:gd name="T59" fmla="*/ 605 h 988"/>
                <a:gd name="T60" fmla="*/ 353 w 953"/>
                <a:gd name="T61" fmla="*/ 619 h 988"/>
                <a:gd name="T62" fmla="*/ 353 w 953"/>
                <a:gd name="T63" fmla="*/ 605 h 988"/>
                <a:gd name="T64" fmla="*/ 255 w 953"/>
                <a:gd name="T65" fmla="*/ 882 h 988"/>
                <a:gd name="T66" fmla="*/ 235 w 953"/>
                <a:gd name="T67" fmla="*/ 882 h 988"/>
                <a:gd name="T68" fmla="*/ 155 w 953"/>
                <a:gd name="T69" fmla="*/ 527 h 988"/>
                <a:gd name="T70" fmla="*/ 275 w 953"/>
                <a:gd name="T71" fmla="*/ 452 h 988"/>
                <a:gd name="T72" fmla="*/ 155 w 953"/>
                <a:gd name="T73" fmla="*/ 527 h 988"/>
                <a:gd name="T74" fmla="*/ 413 w 953"/>
                <a:gd name="T75" fmla="*/ 416 h 988"/>
                <a:gd name="T76" fmla="*/ 335 w 953"/>
                <a:gd name="T77" fmla="*/ 460 h 988"/>
                <a:gd name="T78" fmla="*/ 223 w 953"/>
                <a:gd name="T79" fmla="*/ 51 h 988"/>
                <a:gd name="T80" fmla="*/ 180 w 953"/>
                <a:gd name="T81" fmla="*/ 204 h 988"/>
                <a:gd name="T82" fmla="*/ 55 w 953"/>
                <a:gd name="T83" fmla="*/ 271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953" h="988">
                  <a:moveTo>
                    <a:pt x="103" y="754"/>
                  </a:moveTo>
                  <a:cubicBezTo>
                    <a:pt x="111" y="766"/>
                    <a:pt x="104" y="770"/>
                    <a:pt x="125" y="770"/>
                  </a:cubicBezTo>
                  <a:cubicBezTo>
                    <a:pt x="161" y="770"/>
                    <a:pt x="229" y="706"/>
                    <a:pt x="273" y="702"/>
                  </a:cubicBezTo>
                  <a:cubicBezTo>
                    <a:pt x="268" y="757"/>
                    <a:pt x="162" y="841"/>
                    <a:pt x="162" y="894"/>
                  </a:cubicBezTo>
                  <a:cubicBezTo>
                    <a:pt x="162" y="909"/>
                    <a:pt x="172" y="919"/>
                    <a:pt x="177" y="939"/>
                  </a:cubicBezTo>
                  <a:cubicBezTo>
                    <a:pt x="180" y="943"/>
                    <a:pt x="184" y="937"/>
                    <a:pt x="199" y="939"/>
                  </a:cubicBezTo>
                  <a:cubicBezTo>
                    <a:pt x="199" y="924"/>
                    <a:pt x="199" y="924"/>
                    <a:pt x="199" y="924"/>
                  </a:cubicBezTo>
                  <a:cubicBezTo>
                    <a:pt x="221" y="924"/>
                    <a:pt x="221" y="924"/>
                    <a:pt x="221" y="924"/>
                  </a:cubicBezTo>
                  <a:cubicBezTo>
                    <a:pt x="259" y="926"/>
                    <a:pt x="261" y="988"/>
                    <a:pt x="307" y="976"/>
                  </a:cubicBezTo>
                  <a:cubicBezTo>
                    <a:pt x="336" y="933"/>
                    <a:pt x="340" y="866"/>
                    <a:pt x="354" y="776"/>
                  </a:cubicBezTo>
                  <a:cubicBezTo>
                    <a:pt x="358" y="694"/>
                    <a:pt x="389" y="656"/>
                    <a:pt x="437" y="615"/>
                  </a:cubicBezTo>
                  <a:cubicBezTo>
                    <a:pt x="465" y="592"/>
                    <a:pt x="715" y="431"/>
                    <a:pt x="739" y="429"/>
                  </a:cubicBezTo>
                  <a:cubicBezTo>
                    <a:pt x="726" y="475"/>
                    <a:pt x="692" y="518"/>
                    <a:pt x="658" y="542"/>
                  </a:cubicBezTo>
                  <a:cubicBezTo>
                    <a:pt x="612" y="574"/>
                    <a:pt x="571" y="603"/>
                    <a:pt x="571" y="687"/>
                  </a:cubicBezTo>
                  <a:cubicBezTo>
                    <a:pt x="571" y="822"/>
                    <a:pt x="585" y="826"/>
                    <a:pt x="665" y="879"/>
                  </a:cubicBezTo>
                  <a:cubicBezTo>
                    <a:pt x="798" y="887"/>
                    <a:pt x="798" y="887"/>
                    <a:pt x="798" y="887"/>
                  </a:cubicBezTo>
                  <a:cubicBezTo>
                    <a:pt x="842" y="887"/>
                    <a:pt x="842" y="887"/>
                    <a:pt x="842" y="887"/>
                  </a:cubicBezTo>
                  <a:cubicBezTo>
                    <a:pt x="886" y="887"/>
                    <a:pt x="953" y="866"/>
                    <a:pt x="953" y="828"/>
                  </a:cubicBezTo>
                  <a:cubicBezTo>
                    <a:pt x="953" y="806"/>
                    <a:pt x="953" y="806"/>
                    <a:pt x="953" y="806"/>
                  </a:cubicBezTo>
                  <a:cubicBezTo>
                    <a:pt x="953" y="777"/>
                    <a:pt x="917" y="772"/>
                    <a:pt x="887" y="772"/>
                  </a:cubicBezTo>
                  <a:cubicBezTo>
                    <a:pt x="872" y="772"/>
                    <a:pt x="872" y="772"/>
                    <a:pt x="872" y="772"/>
                  </a:cubicBezTo>
                  <a:cubicBezTo>
                    <a:pt x="830" y="772"/>
                    <a:pt x="730" y="781"/>
                    <a:pt x="704" y="774"/>
                  </a:cubicBezTo>
                  <a:cubicBezTo>
                    <a:pt x="655" y="759"/>
                    <a:pt x="658" y="685"/>
                    <a:pt x="680" y="650"/>
                  </a:cubicBezTo>
                  <a:cubicBezTo>
                    <a:pt x="680" y="628"/>
                    <a:pt x="680" y="628"/>
                    <a:pt x="680" y="628"/>
                  </a:cubicBezTo>
                  <a:cubicBezTo>
                    <a:pt x="738" y="589"/>
                    <a:pt x="724" y="563"/>
                    <a:pt x="759" y="516"/>
                  </a:cubicBezTo>
                  <a:cubicBezTo>
                    <a:pt x="775" y="495"/>
                    <a:pt x="842" y="440"/>
                    <a:pt x="842" y="414"/>
                  </a:cubicBezTo>
                  <a:cubicBezTo>
                    <a:pt x="842" y="392"/>
                    <a:pt x="842" y="392"/>
                    <a:pt x="842" y="392"/>
                  </a:cubicBezTo>
                  <a:cubicBezTo>
                    <a:pt x="784" y="378"/>
                    <a:pt x="791" y="355"/>
                    <a:pt x="721" y="389"/>
                  </a:cubicBezTo>
                  <a:cubicBezTo>
                    <a:pt x="687" y="406"/>
                    <a:pt x="652" y="425"/>
                    <a:pt x="621" y="444"/>
                  </a:cubicBezTo>
                  <a:cubicBezTo>
                    <a:pt x="577" y="469"/>
                    <a:pt x="474" y="562"/>
                    <a:pt x="428" y="562"/>
                  </a:cubicBezTo>
                  <a:cubicBezTo>
                    <a:pt x="415" y="562"/>
                    <a:pt x="402" y="524"/>
                    <a:pt x="399" y="510"/>
                  </a:cubicBezTo>
                  <a:cubicBezTo>
                    <a:pt x="332" y="516"/>
                    <a:pt x="302" y="557"/>
                    <a:pt x="302" y="628"/>
                  </a:cubicBezTo>
                  <a:cubicBezTo>
                    <a:pt x="264" y="663"/>
                    <a:pt x="224" y="688"/>
                    <a:pt x="181" y="702"/>
                  </a:cubicBezTo>
                  <a:cubicBezTo>
                    <a:pt x="177" y="695"/>
                    <a:pt x="177" y="695"/>
                    <a:pt x="177" y="695"/>
                  </a:cubicBezTo>
                  <a:cubicBezTo>
                    <a:pt x="182" y="628"/>
                    <a:pt x="297" y="529"/>
                    <a:pt x="347" y="495"/>
                  </a:cubicBezTo>
                  <a:cubicBezTo>
                    <a:pt x="414" y="495"/>
                    <a:pt x="505" y="449"/>
                    <a:pt x="510" y="392"/>
                  </a:cubicBezTo>
                  <a:cubicBezTo>
                    <a:pt x="436" y="382"/>
                    <a:pt x="436" y="382"/>
                    <a:pt x="436" y="382"/>
                  </a:cubicBezTo>
                  <a:cubicBezTo>
                    <a:pt x="412" y="348"/>
                    <a:pt x="412" y="348"/>
                    <a:pt x="412" y="348"/>
                  </a:cubicBezTo>
                  <a:cubicBezTo>
                    <a:pt x="471" y="262"/>
                    <a:pt x="916" y="66"/>
                    <a:pt x="916" y="37"/>
                  </a:cubicBezTo>
                  <a:cubicBezTo>
                    <a:pt x="916" y="21"/>
                    <a:pt x="914" y="27"/>
                    <a:pt x="909" y="7"/>
                  </a:cubicBezTo>
                  <a:cubicBezTo>
                    <a:pt x="892" y="3"/>
                    <a:pt x="892" y="0"/>
                    <a:pt x="872" y="0"/>
                  </a:cubicBezTo>
                  <a:cubicBezTo>
                    <a:pt x="840" y="0"/>
                    <a:pt x="827" y="22"/>
                    <a:pt x="791" y="22"/>
                  </a:cubicBezTo>
                  <a:cubicBezTo>
                    <a:pt x="760" y="22"/>
                    <a:pt x="744" y="7"/>
                    <a:pt x="702" y="7"/>
                  </a:cubicBezTo>
                  <a:cubicBezTo>
                    <a:pt x="675" y="7"/>
                    <a:pt x="675" y="7"/>
                    <a:pt x="675" y="7"/>
                  </a:cubicBezTo>
                  <a:cubicBezTo>
                    <a:pt x="527" y="10"/>
                    <a:pt x="404" y="155"/>
                    <a:pt x="361" y="155"/>
                  </a:cubicBezTo>
                  <a:cubicBezTo>
                    <a:pt x="330" y="155"/>
                    <a:pt x="322" y="143"/>
                    <a:pt x="283" y="143"/>
                  </a:cubicBezTo>
                  <a:cubicBezTo>
                    <a:pt x="269" y="143"/>
                    <a:pt x="270" y="145"/>
                    <a:pt x="261" y="151"/>
                  </a:cubicBezTo>
                  <a:cubicBezTo>
                    <a:pt x="272" y="167"/>
                    <a:pt x="325" y="229"/>
                    <a:pt x="347" y="229"/>
                  </a:cubicBezTo>
                  <a:cubicBezTo>
                    <a:pt x="396" y="239"/>
                    <a:pt x="448" y="55"/>
                    <a:pt x="650" y="32"/>
                  </a:cubicBezTo>
                  <a:cubicBezTo>
                    <a:pt x="665" y="29"/>
                    <a:pt x="665" y="29"/>
                    <a:pt x="665" y="29"/>
                  </a:cubicBezTo>
                  <a:cubicBezTo>
                    <a:pt x="712" y="29"/>
                    <a:pt x="702" y="63"/>
                    <a:pt x="764" y="68"/>
                  </a:cubicBezTo>
                  <a:cubicBezTo>
                    <a:pt x="754" y="105"/>
                    <a:pt x="496" y="269"/>
                    <a:pt x="445" y="298"/>
                  </a:cubicBezTo>
                  <a:cubicBezTo>
                    <a:pt x="383" y="334"/>
                    <a:pt x="336" y="367"/>
                    <a:pt x="279" y="405"/>
                  </a:cubicBezTo>
                  <a:cubicBezTo>
                    <a:pt x="259" y="418"/>
                    <a:pt x="233" y="437"/>
                    <a:pt x="205" y="454"/>
                  </a:cubicBezTo>
                  <a:cubicBezTo>
                    <a:pt x="170" y="475"/>
                    <a:pt x="133" y="495"/>
                    <a:pt x="117" y="517"/>
                  </a:cubicBezTo>
                  <a:cubicBezTo>
                    <a:pt x="59" y="517"/>
                    <a:pt x="10" y="567"/>
                    <a:pt x="10" y="621"/>
                  </a:cubicBezTo>
                  <a:cubicBezTo>
                    <a:pt x="10" y="639"/>
                    <a:pt x="12" y="663"/>
                    <a:pt x="39" y="650"/>
                  </a:cubicBezTo>
                  <a:cubicBezTo>
                    <a:pt x="147" y="599"/>
                    <a:pt x="147" y="599"/>
                    <a:pt x="147" y="599"/>
                  </a:cubicBezTo>
                  <a:cubicBezTo>
                    <a:pt x="144" y="646"/>
                    <a:pt x="103" y="645"/>
                    <a:pt x="103" y="754"/>
                  </a:cubicBezTo>
                  <a:close/>
                  <a:moveTo>
                    <a:pt x="353" y="605"/>
                  </a:moveTo>
                  <a:cubicBezTo>
                    <a:pt x="355" y="605"/>
                    <a:pt x="357" y="608"/>
                    <a:pt x="357" y="612"/>
                  </a:cubicBezTo>
                  <a:cubicBezTo>
                    <a:pt x="357" y="616"/>
                    <a:pt x="355" y="619"/>
                    <a:pt x="353" y="619"/>
                  </a:cubicBezTo>
                  <a:cubicBezTo>
                    <a:pt x="351" y="619"/>
                    <a:pt x="349" y="616"/>
                    <a:pt x="349" y="612"/>
                  </a:cubicBezTo>
                  <a:cubicBezTo>
                    <a:pt x="349" y="608"/>
                    <a:pt x="351" y="605"/>
                    <a:pt x="353" y="605"/>
                  </a:cubicBezTo>
                  <a:close/>
                  <a:moveTo>
                    <a:pt x="245" y="866"/>
                  </a:moveTo>
                  <a:cubicBezTo>
                    <a:pt x="250" y="866"/>
                    <a:pt x="255" y="873"/>
                    <a:pt x="255" y="882"/>
                  </a:cubicBezTo>
                  <a:cubicBezTo>
                    <a:pt x="255" y="890"/>
                    <a:pt x="250" y="897"/>
                    <a:pt x="245" y="897"/>
                  </a:cubicBezTo>
                  <a:cubicBezTo>
                    <a:pt x="239" y="897"/>
                    <a:pt x="235" y="890"/>
                    <a:pt x="235" y="882"/>
                  </a:cubicBezTo>
                  <a:cubicBezTo>
                    <a:pt x="235" y="873"/>
                    <a:pt x="239" y="866"/>
                    <a:pt x="245" y="866"/>
                  </a:cubicBezTo>
                  <a:close/>
                  <a:moveTo>
                    <a:pt x="155" y="527"/>
                  </a:moveTo>
                  <a:cubicBezTo>
                    <a:pt x="187" y="497"/>
                    <a:pt x="225" y="474"/>
                    <a:pt x="260" y="449"/>
                  </a:cubicBezTo>
                  <a:cubicBezTo>
                    <a:pt x="271" y="442"/>
                    <a:pt x="276" y="444"/>
                    <a:pt x="275" y="452"/>
                  </a:cubicBezTo>
                  <a:cubicBezTo>
                    <a:pt x="259" y="478"/>
                    <a:pt x="232" y="508"/>
                    <a:pt x="192" y="529"/>
                  </a:cubicBezTo>
                  <a:cubicBezTo>
                    <a:pt x="168" y="541"/>
                    <a:pt x="149" y="533"/>
                    <a:pt x="155" y="527"/>
                  </a:cubicBezTo>
                  <a:close/>
                  <a:moveTo>
                    <a:pt x="363" y="417"/>
                  </a:moveTo>
                  <a:cubicBezTo>
                    <a:pt x="384" y="405"/>
                    <a:pt x="407" y="404"/>
                    <a:pt x="413" y="416"/>
                  </a:cubicBezTo>
                  <a:cubicBezTo>
                    <a:pt x="419" y="427"/>
                    <a:pt x="407" y="446"/>
                    <a:pt x="385" y="458"/>
                  </a:cubicBezTo>
                  <a:cubicBezTo>
                    <a:pt x="364" y="470"/>
                    <a:pt x="341" y="471"/>
                    <a:pt x="335" y="460"/>
                  </a:cubicBezTo>
                  <a:cubicBezTo>
                    <a:pt x="329" y="449"/>
                    <a:pt x="341" y="430"/>
                    <a:pt x="363" y="417"/>
                  </a:cubicBezTo>
                  <a:close/>
                  <a:moveTo>
                    <a:pt x="223" y="51"/>
                  </a:moveTo>
                  <a:cubicBezTo>
                    <a:pt x="236" y="24"/>
                    <a:pt x="269" y="38"/>
                    <a:pt x="233" y="133"/>
                  </a:cubicBezTo>
                  <a:cubicBezTo>
                    <a:pt x="224" y="156"/>
                    <a:pt x="200" y="178"/>
                    <a:pt x="180" y="204"/>
                  </a:cubicBezTo>
                  <a:cubicBezTo>
                    <a:pt x="151" y="241"/>
                    <a:pt x="118" y="281"/>
                    <a:pt x="79" y="323"/>
                  </a:cubicBezTo>
                  <a:cubicBezTo>
                    <a:pt x="17" y="375"/>
                    <a:pt x="0" y="328"/>
                    <a:pt x="55" y="271"/>
                  </a:cubicBezTo>
                  <a:cubicBezTo>
                    <a:pt x="120" y="209"/>
                    <a:pt x="178" y="148"/>
                    <a:pt x="223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6" name="任意多边形: 形状 85">
              <a:extLst>
                <a:ext uri="{FF2B5EF4-FFF2-40B4-BE49-F238E27FC236}">
                  <a16:creationId xmlns:a16="http://schemas.microsoft.com/office/drawing/2014/main" id="{2F53DD3A-C3AD-4618-88EA-BF385BD6EDB5}"/>
                </a:ext>
              </a:extLst>
            </p:cNvPr>
            <p:cNvSpPr/>
            <p:nvPr/>
          </p:nvSpPr>
          <p:spPr bwMode="auto">
            <a:xfrm>
              <a:off x="9072563" y="2971800"/>
              <a:ext cx="873125" cy="757238"/>
            </a:xfrm>
            <a:custGeom>
              <a:avLst/>
              <a:gdLst>
                <a:gd name="T0" fmla="*/ 599 w 1124"/>
                <a:gd name="T1" fmla="*/ 889 h 976"/>
                <a:gd name="T2" fmla="*/ 554 w 1124"/>
                <a:gd name="T3" fmla="*/ 803 h 976"/>
                <a:gd name="T4" fmla="*/ 614 w 1124"/>
                <a:gd name="T5" fmla="*/ 889 h 976"/>
                <a:gd name="T6" fmla="*/ 489 w 1124"/>
                <a:gd name="T7" fmla="*/ 514 h 976"/>
                <a:gd name="T8" fmla="*/ 461 w 1124"/>
                <a:gd name="T9" fmla="*/ 514 h 976"/>
                <a:gd name="T10" fmla="*/ 493 w 1124"/>
                <a:gd name="T11" fmla="*/ 439 h 976"/>
                <a:gd name="T12" fmla="*/ 493 w 1124"/>
                <a:gd name="T13" fmla="*/ 462 h 976"/>
                <a:gd name="T14" fmla="*/ 493 w 1124"/>
                <a:gd name="T15" fmla="*/ 439 h 976"/>
                <a:gd name="T16" fmla="*/ 733 w 1124"/>
                <a:gd name="T17" fmla="*/ 364 h 976"/>
                <a:gd name="T18" fmla="*/ 706 w 1124"/>
                <a:gd name="T19" fmla="*/ 364 h 976"/>
                <a:gd name="T20" fmla="*/ 723 w 1124"/>
                <a:gd name="T21" fmla="*/ 502 h 976"/>
                <a:gd name="T22" fmla="*/ 594 w 1124"/>
                <a:gd name="T23" fmla="*/ 564 h 976"/>
                <a:gd name="T24" fmla="*/ 723 w 1124"/>
                <a:gd name="T25" fmla="*/ 502 h 976"/>
                <a:gd name="T26" fmla="*/ 717 w 1124"/>
                <a:gd name="T27" fmla="*/ 274 h 976"/>
                <a:gd name="T28" fmla="*/ 806 w 1124"/>
                <a:gd name="T29" fmla="*/ 367 h 976"/>
                <a:gd name="T30" fmla="*/ 858 w 1124"/>
                <a:gd name="T31" fmla="*/ 141 h 976"/>
                <a:gd name="T32" fmla="*/ 717 w 1124"/>
                <a:gd name="T33" fmla="*/ 244 h 976"/>
                <a:gd name="T34" fmla="*/ 0 w 1124"/>
                <a:gd name="T35" fmla="*/ 762 h 976"/>
                <a:gd name="T36" fmla="*/ 102 w 1124"/>
                <a:gd name="T37" fmla="*/ 806 h 976"/>
                <a:gd name="T38" fmla="*/ 285 w 1124"/>
                <a:gd name="T39" fmla="*/ 626 h 976"/>
                <a:gd name="T40" fmla="*/ 540 w 1124"/>
                <a:gd name="T41" fmla="*/ 570 h 976"/>
                <a:gd name="T42" fmla="*/ 503 w 1124"/>
                <a:gd name="T43" fmla="*/ 666 h 976"/>
                <a:gd name="T44" fmla="*/ 673 w 1124"/>
                <a:gd name="T45" fmla="*/ 607 h 976"/>
                <a:gd name="T46" fmla="*/ 514 w 1124"/>
                <a:gd name="T47" fmla="*/ 784 h 976"/>
                <a:gd name="T48" fmla="*/ 651 w 1124"/>
                <a:gd name="T49" fmla="*/ 976 h 976"/>
                <a:gd name="T50" fmla="*/ 807 w 1124"/>
                <a:gd name="T51" fmla="*/ 836 h 976"/>
                <a:gd name="T52" fmla="*/ 799 w 1124"/>
                <a:gd name="T53" fmla="*/ 748 h 976"/>
                <a:gd name="T54" fmla="*/ 850 w 1124"/>
                <a:gd name="T55" fmla="*/ 710 h 976"/>
                <a:gd name="T56" fmla="*/ 791 w 1124"/>
                <a:gd name="T57" fmla="*/ 584 h 976"/>
                <a:gd name="T58" fmla="*/ 769 w 1124"/>
                <a:gd name="T59" fmla="*/ 525 h 976"/>
                <a:gd name="T60" fmla="*/ 1109 w 1124"/>
                <a:gd name="T61" fmla="*/ 466 h 976"/>
                <a:gd name="T62" fmla="*/ 1041 w 1124"/>
                <a:gd name="T63" fmla="*/ 396 h 976"/>
                <a:gd name="T64" fmla="*/ 946 w 1124"/>
                <a:gd name="T65" fmla="*/ 169 h 976"/>
                <a:gd name="T66" fmla="*/ 747 w 1124"/>
                <a:gd name="T67" fmla="*/ 45 h 976"/>
                <a:gd name="T68" fmla="*/ 651 w 1124"/>
                <a:gd name="T69" fmla="*/ 15 h 976"/>
                <a:gd name="T70" fmla="*/ 636 w 1124"/>
                <a:gd name="T71" fmla="*/ 170 h 976"/>
                <a:gd name="T72" fmla="*/ 624 w 1124"/>
                <a:gd name="T73" fmla="*/ 306 h 976"/>
                <a:gd name="T74" fmla="*/ 584 w 1124"/>
                <a:gd name="T75" fmla="*/ 436 h 976"/>
                <a:gd name="T76" fmla="*/ 599 w 1124"/>
                <a:gd name="T77" fmla="*/ 481 h 976"/>
                <a:gd name="T78" fmla="*/ 547 w 1124"/>
                <a:gd name="T79" fmla="*/ 496 h 976"/>
                <a:gd name="T80" fmla="*/ 498 w 1124"/>
                <a:gd name="T81" fmla="*/ 153 h 976"/>
                <a:gd name="T82" fmla="*/ 472 w 1124"/>
                <a:gd name="T83" fmla="*/ 292 h 976"/>
                <a:gd name="T84" fmla="*/ 429 w 1124"/>
                <a:gd name="T85" fmla="*/ 435 h 976"/>
                <a:gd name="T86" fmla="*/ 266 w 1124"/>
                <a:gd name="T87" fmla="*/ 289 h 976"/>
                <a:gd name="T88" fmla="*/ 396 w 1124"/>
                <a:gd name="T89" fmla="*/ 501 h 976"/>
                <a:gd name="T90" fmla="*/ 291 w 1124"/>
                <a:gd name="T91" fmla="*/ 572 h 976"/>
                <a:gd name="T92" fmla="*/ 303 w 1124"/>
                <a:gd name="T93" fmla="*/ 481 h 976"/>
                <a:gd name="T94" fmla="*/ 279 w 1124"/>
                <a:gd name="T95" fmla="*/ 457 h 976"/>
                <a:gd name="T96" fmla="*/ 112 w 1124"/>
                <a:gd name="T97" fmla="*/ 579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24" h="976">
                  <a:moveTo>
                    <a:pt x="614" y="889"/>
                  </a:moveTo>
                  <a:cubicBezTo>
                    <a:pt x="599" y="889"/>
                    <a:pt x="599" y="889"/>
                    <a:pt x="599" y="889"/>
                  </a:cubicBezTo>
                  <a:cubicBezTo>
                    <a:pt x="575" y="889"/>
                    <a:pt x="554" y="855"/>
                    <a:pt x="554" y="828"/>
                  </a:cubicBezTo>
                  <a:cubicBezTo>
                    <a:pt x="554" y="803"/>
                    <a:pt x="554" y="803"/>
                    <a:pt x="554" y="803"/>
                  </a:cubicBezTo>
                  <a:cubicBezTo>
                    <a:pt x="586" y="792"/>
                    <a:pt x="628" y="787"/>
                    <a:pt x="673" y="784"/>
                  </a:cubicBezTo>
                  <a:cubicBezTo>
                    <a:pt x="672" y="823"/>
                    <a:pt x="650" y="889"/>
                    <a:pt x="614" y="889"/>
                  </a:cubicBezTo>
                  <a:close/>
                  <a:moveTo>
                    <a:pt x="475" y="497"/>
                  </a:moveTo>
                  <a:cubicBezTo>
                    <a:pt x="483" y="497"/>
                    <a:pt x="489" y="505"/>
                    <a:pt x="489" y="514"/>
                  </a:cubicBezTo>
                  <a:cubicBezTo>
                    <a:pt x="489" y="523"/>
                    <a:pt x="483" y="531"/>
                    <a:pt x="475" y="531"/>
                  </a:cubicBezTo>
                  <a:cubicBezTo>
                    <a:pt x="467" y="531"/>
                    <a:pt x="461" y="523"/>
                    <a:pt x="461" y="514"/>
                  </a:cubicBezTo>
                  <a:cubicBezTo>
                    <a:pt x="461" y="505"/>
                    <a:pt x="467" y="497"/>
                    <a:pt x="475" y="497"/>
                  </a:cubicBezTo>
                  <a:close/>
                  <a:moveTo>
                    <a:pt x="493" y="439"/>
                  </a:moveTo>
                  <a:cubicBezTo>
                    <a:pt x="496" y="439"/>
                    <a:pt x="499" y="444"/>
                    <a:pt x="499" y="450"/>
                  </a:cubicBezTo>
                  <a:cubicBezTo>
                    <a:pt x="499" y="457"/>
                    <a:pt x="496" y="462"/>
                    <a:pt x="493" y="462"/>
                  </a:cubicBezTo>
                  <a:cubicBezTo>
                    <a:pt x="489" y="462"/>
                    <a:pt x="486" y="457"/>
                    <a:pt x="486" y="450"/>
                  </a:cubicBezTo>
                  <a:cubicBezTo>
                    <a:pt x="486" y="444"/>
                    <a:pt x="489" y="439"/>
                    <a:pt x="493" y="439"/>
                  </a:cubicBezTo>
                  <a:close/>
                  <a:moveTo>
                    <a:pt x="726" y="323"/>
                  </a:moveTo>
                  <a:cubicBezTo>
                    <a:pt x="733" y="323"/>
                    <a:pt x="737" y="342"/>
                    <a:pt x="733" y="364"/>
                  </a:cubicBezTo>
                  <a:cubicBezTo>
                    <a:pt x="729" y="385"/>
                    <a:pt x="728" y="401"/>
                    <a:pt x="718" y="401"/>
                  </a:cubicBezTo>
                  <a:cubicBezTo>
                    <a:pt x="707" y="401"/>
                    <a:pt x="706" y="384"/>
                    <a:pt x="706" y="364"/>
                  </a:cubicBezTo>
                  <a:cubicBezTo>
                    <a:pt x="706" y="343"/>
                    <a:pt x="718" y="323"/>
                    <a:pt x="726" y="323"/>
                  </a:cubicBezTo>
                  <a:close/>
                  <a:moveTo>
                    <a:pt x="723" y="502"/>
                  </a:moveTo>
                  <a:cubicBezTo>
                    <a:pt x="732" y="503"/>
                    <a:pt x="728" y="516"/>
                    <a:pt x="711" y="518"/>
                  </a:cubicBezTo>
                  <a:cubicBezTo>
                    <a:pt x="663" y="527"/>
                    <a:pt x="639" y="541"/>
                    <a:pt x="594" y="564"/>
                  </a:cubicBezTo>
                  <a:cubicBezTo>
                    <a:pt x="571" y="576"/>
                    <a:pt x="550" y="554"/>
                    <a:pt x="598" y="527"/>
                  </a:cubicBezTo>
                  <a:cubicBezTo>
                    <a:pt x="634" y="507"/>
                    <a:pt x="678" y="501"/>
                    <a:pt x="723" y="502"/>
                  </a:cubicBezTo>
                  <a:close/>
                  <a:moveTo>
                    <a:pt x="717" y="244"/>
                  </a:moveTo>
                  <a:cubicBezTo>
                    <a:pt x="717" y="274"/>
                    <a:pt x="717" y="274"/>
                    <a:pt x="717" y="274"/>
                  </a:cubicBezTo>
                  <a:cubicBezTo>
                    <a:pt x="776" y="274"/>
                    <a:pt x="776" y="274"/>
                    <a:pt x="776" y="274"/>
                  </a:cubicBezTo>
                  <a:cubicBezTo>
                    <a:pt x="821" y="274"/>
                    <a:pt x="806" y="337"/>
                    <a:pt x="806" y="367"/>
                  </a:cubicBezTo>
                  <a:cubicBezTo>
                    <a:pt x="845" y="341"/>
                    <a:pt x="874" y="228"/>
                    <a:pt x="887" y="170"/>
                  </a:cubicBezTo>
                  <a:cubicBezTo>
                    <a:pt x="879" y="154"/>
                    <a:pt x="881" y="141"/>
                    <a:pt x="858" y="141"/>
                  </a:cubicBezTo>
                  <a:cubicBezTo>
                    <a:pt x="843" y="141"/>
                    <a:pt x="843" y="141"/>
                    <a:pt x="843" y="141"/>
                  </a:cubicBezTo>
                  <a:cubicBezTo>
                    <a:pt x="799" y="141"/>
                    <a:pt x="717" y="210"/>
                    <a:pt x="717" y="244"/>
                  </a:cubicBezTo>
                  <a:close/>
                  <a:moveTo>
                    <a:pt x="7" y="725"/>
                  </a:moveTo>
                  <a:cubicBezTo>
                    <a:pt x="3" y="741"/>
                    <a:pt x="0" y="742"/>
                    <a:pt x="0" y="762"/>
                  </a:cubicBezTo>
                  <a:cubicBezTo>
                    <a:pt x="0" y="806"/>
                    <a:pt x="0" y="806"/>
                    <a:pt x="0" y="806"/>
                  </a:cubicBezTo>
                  <a:cubicBezTo>
                    <a:pt x="0" y="849"/>
                    <a:pt x="86" y="815"/>
                    <a:pt x="102" y="806"/>
                  </a:cubicBezTo>
                  <a:cubicBezTo>
                    <a:pt x="111" y="717"/>
                    <a:pt x="111" y="717"/>
                    <a:pt x="111" y="717"/>
                  </a:cubicBezTo>
                  <a:cubicBezTo>
                    <a:pt x="155" y="687"/>
                    <a:pt x="221" y="638"/>
                    <a:pt x="285" y="626"/>
                  </a:cubicBezTo>
                  <a:cubicBezTo>
                    <a:pt x="326" y="618"/>
                    <a:pt x="501" y="570"/>
                    <a:pt x="503" y="570"/>
                  </a:cubicBezTo>
                  <a:cubicBezTo>
                    <a:pt x="540" y="570"/>
                    <a:pt x="540" y="570"/>
                    <a:pt x="540" y="570"/>
                  </a:cubicBezTo>
                  <a:cubicBezTo>
                    <a:pt x="531" y="603"/>
                    <a:pt x="503" y="618"/>
                    <a:pt x="503" y="658"/>
                  </a:cubicBezTo>
                  <a:cubicBezTo>
                    <a:pt x="503" y="666"/>
                    <a:pt x="503" y="666"/>
                    <a:pt x="503" y="666"/>
                  </a:cubicBezTo>
                  <a:cubicBezTo>
                    <a:pt x="503" y="701"/>
                    <a:pt x="537" y="680"/>
                    <a:pt x="577" y="680"/>
                  </a:cubicBezTo>
                  <a:cubicBezTo>
                    <a:pt x="603" y="641"/>
                    <a:pt x="618" y="619"/>
                    <a:pt x="673" y="607"/>
                  </a:cubicBezTo>
                  <a:cubicBezTo>
                    <a:pt x="673" y="658"/>
                    <a:pt x="673" y="658"/>
                    <a:pt x="673" y="658"/>
                  </a:cubicBezTo>
                  <a:cubicBezTo>
                    <a:pt x="673" y="726"/>
                    <a:pt x="514" y="702"/>
                    <a:pt x="514" y="784"/>
                  </a:cubicBezTo>
                  <a:cubicBezTo>
                    <a:pt x="514" y="871"/>
                    <a:pt x="563" y="976"/>
                    <a:pt x="643" y="976"/>
                  </a:cubicBezTo>
                  <a:cubicBezTo>
                    <a:pt x="651" y="976"/>
                    <a:pt x="651" y="976"/>
                    <a:pt x="651" y="976"/>
                  </a:cubicBezTo>
                  <a:cubicBezTo>
                    <a:pt x="693" y="976"/>
                    <a:pt x="741" y="962"/>
                    <a:pt x="759" y="937"/>
                  </a:cubicBezTo>
                  <a:cubicBezTo>
                    <a:pt x="767" y="926"/>
                    <a:pt x="807" y="845"/>
                    <a:pt x="807" y="836"/>
                  </a:cubicBezTo>
                  <a:cubicBezTo>
                    <a:pt x="794" y="782"/>
                    <a:pt x="794" y="782"/>
                    <a:pt x="794" y="782"/>
                  </a:cubicBezTo>
                  <a:cubicBezTo>
                    <a:pt x="799" y="748"/>
                    <a:pt x="799" y="748"/>
                    <a:pt x="799" y="748"/>
                  </a:cubicBezTo>
                  <a:cubicBezTo>
                    <a:pt x="846" y="737"/>
                    <a:pt x="846" y="737"/>
                    <a:pt x="846" y="737"/>
                  </a:cubicBezTo>
                  <a:cubicBezTo>
                    <a:pt x="850" y="710"/>
                    <a:pt x="850" y="710"/>
                    <a:pt x="850" y="710"/>
                  </a:cubicBezTo>
                  <a:cubicBezTo>
                    <a:pt x="818" y="663"/>
                    <a:pt x="827" y="677"/>
                    <a:pt x="766" y="663"/>
                  </a:cubicBezTo>
                  <a:cubicBezTo>
                    <a:pt x="767" y="603"/>
                    <a:pt x="791" y="614"/>
                    <a:pt x="791" y="584"/>
                  </a:cubicBezTo>
                  <a:cubicBezTo>
                    <a:pt x="791" y="570"/>
                    <a:pt x="791" y="570"/>
                    <a:pt x="791" y="570"/>
                  </a:cubicBezTo>
                  <a:cubicBezTo>
                    <a:pt x="791" y="544"/>
                    <a:pt x="778" y="559"/>
                    <a:pt x="769" y="525"/>
                  </a:cubicBezTo>
                  <a:cubicBezTo>
                    <a:pt x="840" y="525"/>
                    <a:pt x="948" y="466"/>
                    <a:pt x="1028" y="466"/>
                  </a:cubicBezTo>
                  <a:cubicBezTo>
                    <a:pt x="1109" y="466"/>
                    <a:pt x="1109" y="466"/>
                    <a:pt x="1109" y="466"/>
                  </a:cubicBezTo>
                  <a:cubicBezTo>
                    <a:pt x="1114" y="446"/>
                    <a:pt x="1124" y="441"/>
                    <a:pt x="1124" y="426"/>
                  </a:cubicBezTo>
                  <a:cubicBezTo>
                    <a:pt x="1124" y="407"/>
                    <a:pt x="1087" y="391"/>
                    <a:pt x="1041" y="396"/>
                  </a:cubicBezTo>
                  <a:cubicBezTo>
                    <a:pt x="979" y="403"/>
                    <a:pt x="908" y="398"/>
                    <a:pt x="872" y="407"/>
                  </a:cubicBezTo>
                  <a:cubicBezTo>
                    <a:pt x="874" y="347"/>
                    <a:pt x="946" y="236"/>
                    <a:pt x="946" y="169"/>
                  </a:cubicBezTo>
                  <a:cubicBezTo>
                    <a:pt x="946" y="3"/>
                    <a:pt x="739" y="155"/>
                    <a:pt x="715" y="164"/>
                  </a:cubicBezTo>
                  <a:cubicBezTo>
                    <a:pt x="734" y="124"/>
                    <a:pt x="748" y="85"/>
                    <a:pt x="747" y="45"/>
                  </a:cubicBezTo>
                  <a:cubicBezTo>
                    <a:pt x="730" y="20"/>
                    <a:pt x="720" y="0"/>
                    <a:pt x="680" y="0"/>
                  </a:cubicBezTo>
                  <a:cubicBezTo>
                    <a:pt x="670" y="0"/>
                    <a:pt x="676" y="8"/>
                    <a:pt x="651" y="15"/>
                  </a:cubicBezTo>
                  <a:cubicBezTo>
                    <a:pt x="654" y="61"/>
                    <a:pt x="673" y="36"/>
                    <a:pt x="673" y="67"/>
                  </a:cubicBezTo>
                  <a:cubicBezTo>
                    <a:pt x="673" y="107"/>
                    <a:pt x="636" y="130"/>
                    <a:pt x="636" y="170"/>
                  </a:cubicBezTo>
                  <a:cubicBezTo>
                    <a:pt x="636" y="200"/>
                    <a:pt x="636" y="200"/>
                    <a:pt x="636" y="200"/>
                  </a:cubicBezTo>
                  <a:cubicBezTo>
                    <a:pt x="636" y="269"/>
                    <a:pt x="659" y="250"/>
                    <a:pt x="624" y="306"/>
                  </a:cubicBezTo>
                  <a:cubicBezTo>
                    <a:pt x="605" y="336"/>
                    <a:pt x="592" y="370"/>
                    <a:pt x="577" y="399"/>
                  </a:cubicBezTo>
                  <a:cubicBezTo>
                    <a:pt x="580" y="416"/>
                    <a:pt x="584" y="416"/>
                    <a:pt x="584" y="436"/>
                  </a:cubicBezTo>
                  <a:cubicBezTo>
                    <a:pt x="584" y="456"/>
                    <a:pt x="580" y="457"/>
                    <a:pt x="576" y="474"/>
                  </a:cubicBezTo>
                  <a:cubicBezTo>
                    <a:pt x="599" y="481"/>
                    <a:pt x="599" y="481"/>
                    <a:pt x="599" y="481"/>
                  </a:cubicBezTo>
                  <a:cubicBezTo>
                    <a:pt x="602" y="497"/>
                    <a:pt x="594" y="500"/>
                    <a:pt x="573" y="500"/>
                  </a:cubicBezTo>
                  <a:cubicBezTo>
                    <a:pt x="547" y="496"/>
                    <a:pt x="547" y="496"/>
                    <a:pt x="547" y="496"/>
                  </a:cubicBezTo>
                  <a:cubicBezTo>
                    <a:pt x="545" y="428"/>
                    <a:pt x="529" y="332"/>
                    <a:pt x="516" y="268"/>
                  </a:cubicBezTo>
                  <a:cubicBezTo>
                    <a:pt x="509" y="235"/>
                    <a:pt x="505" y="192"/>
                    <a:pt x="498" y="153"/>
                  </a:cubicBezTo>
                  <a:cubicBezTo>
                    <a:pt x="489" y="102"/>
                    <a:pt x="513" y="57"/>
                    <a:pt x="473" y="48"/>
                  </a:cubicBezTo>
                  <a:cubicBezTo>
                    <a:pt x="460" y="131"/>
                    <a:pt x="464" y="212"/>
                    <a:pt x="472" y="292"/>
                  </a:cubicBezTo>
                  <a:cubicBezTo>
                    <a:pt x="475" y="323"/>
                    <a:pt x="474" y="354"/>
                    <a:pt x="480" y="385"/>
                  </a:cubicBezTo>
                  <a:cubicBezTo>
                    <a:pt x="470" y="400"/>
                    <a:pt x="453" y="435"/>
                    <a:pt x="429" y="435"/>
                  </a:cubicBezTo>
                  <a:cubicBezTo>
                    <a:pt x="412" y="435"/>
                    <a:pt x="357" y="244"/>
                    <a:pt x="318" y="244"/>
                  </a:cubicBezTo>
                  <a:cubicBezTo>
                    <a:pt x="283" y="244"/>
                    <a:pt x="273" y="260"/>
                    <a:pt x="266" y="289"/>
                  </a:cubicBezTo>
                  <a:cubicBezTo>
                    <a:pt x="320" y="303"/>
                    <a:pt x="343" y="347"/>
                    <a:pt x="364" y="397"/>
                  </a:cubicBezTo>
                  <a:cubicBezTo>
                    <a:pt x="371" y="413"/>
                    <a:pt x="390" y="468"/>
                    <a:pt x="396" y="501"/>
                  </a:cubicBezTo>
                  <a:cubicBezTo>
                    <a:pt x="405" y="514"/>
                    <a:pt x="419" y="540"/>
                    <a:pt x="421" y="547"/>
                  </a:cubicBezTo>
                  <a:cubicBezTo>
                    <a:pt x="389" y="563"/>
                    <a:pt x="334" y="563"/>
                    <a:pt x="291" y="572"/>
                  </a:cubicBezTo>
                  <a:cubicBezTo>
                    <a:pt x="231" y="585"/>
                    <a:pt x="218" y="612"/>
                    <a:pt x="177" y="621"/>
                  </a:cubicBezTo>
                  <a:cubicBezTo>
                    <a:pt x="193" y="553"/>
                    <a:pt x="219" y="481"/>
                    <a:pt x="303" y="481"/>
                  </a:cubicBezTo>
                  <a:cubicBezTo>
                    <a:pt x="347" y="481"/>
                    <a:pt x="347" y="481"/>
                    <a:pt x="347" y="481"/>
                  </a:cubicBezTo>
                  <a:cubicBezTo>
                    <a:pt x="339" y="457"/>
                    <a:pt x="310" y="457"/>
                    <a:pt x="279" y="457"/>
                  </a:cubicBezTo>
                  <a:cubicBezTo>
                    <a:pt x="226" y="457"/>
                    <a:pt x="210" y="477"/>
                    <a:pt x="168" y="514"/>
                  </a:cubicBezTo>
                  <a:cubicBezTo>
                    <a:pt x="140" y="538"/>
                    <a:pt x="135" y="552"/>
                    <a:pt x="112" y="579"/>
                  </a:cubicBezTo>
                  <a:cubicBezTo>
                    <a:pt x="67" y="631"/>
                    <a:pt x="40" y="662"/>
                    <a:pt x="7" y="7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7" name="任意多边形: 形状 86">
              <a:extLst>
                <a:ext uri="{FF2B5EF4-FFF2-40B4-BE49-F238E27FC236}">
                  <a16:creationId xmlns:a16="http://schemas.microsoft.com/office/drawing/2014/main" id="{C30AF00A-5E27-4D5B-8D82-C52A3627BC70}"/>
                </a:ext>
              </a:extLst>
            </p:cNvPr>
            <p:cNvSpPr/>
            <p:nvPr/>
          </p:nvSpPr>
          <p:spPr bwMode="auto">
            <a:xfrm>
              <a:off x="3276601" y="2662238"/>
              <a:ext cx="663575" cy="795338"/>
            </a:xfrm>
            <a:custGeom>
              <a:avLst/>
              <a:gdLst>
                <a:gd name="T0" fmla="*/ 2 w 856"/>
                <a:gd name="T1" fmla="*/ 35 h 1024"/>
                <a:gd name="T2" fmla="*/ 23 w 856"/>
                <a:gd name="T3" fmla="*/ 42 h 1024"/>
                <a:gd name="T4" fmla="*/ 86 w 856"/>
                <a:gd name="T5" fmla="*/ 14 h 1024"/>
                <a:gd name="T6" fmla="*/ 156 w 856"/>
                <a:gd name="T7" fmla="*/ 37 h 1024"/>
                <a:gd name="T8" fmla="*/ 93 w 856"/>
                <a:gd name="T9" fmla="*/ 93 h 1024"/>
                <a:gd name="T10" fmla="*/ 165 w 856"/>
                <a:gd name="T11" fmla="*/ 90 h 1024"/>
                <a:gd name="T12" fmla="*/ 192 w 856"/>
                <a:gd name="T13" fmla="*/ 141 h 1024"/>
                <a:gd name="T14" fmla="*/ 149 w 856"/>
                <a:gd name="T15" fmla="*/ 89 h 1024"/>
                <a:gd name="T16" fmla="*/ 239 w 856"/>
                <a:gd name="T17" fmla="*/ 165 h 1024"/>
                <a:gd name="T18" fmla="*/ 249 w 856"/>
                <a:gd name="T19" fmla="*/ 127 h 1024"/>
                <a:gd name="T20" fmla="*/ 176 w 856"/>
                <a:gd name="T21" fmla="*/ 136 h 1024"/>
                <a:gd name="T22" fmla="*/ 312 w 856"/>
                <a:gd name="T23" fmla="*/ 181 h 1024"/>
                <a:gd name="T24" fmla="*/ 316 w 856"/>
                <a:gd name="T25" fmla="*/ 104 h 1024"/>
                <a:gd name="T26" fmla="*/ 296 w 856"/>
                <a:gd name="T27" fmla="*/ 169 h 1024"/>
                <a:gd name="T28" fmla="*/ 330 w 856"/>
                <a:gd name="T29" fmla="*/ 189 h 1024"/>
                <a:gd name="T30" fmla="*/ 364 w 856"/>
                <a:gd name="T31" fmla="*/ 230 h 1024"/>
                <a:gd name="T32" fmla="*/ 381 w 856"/>
                <a:gd name="T33" fmla="*/ 145 h 1024"/>
                <a:gd name="T34" fmla="*/ 367 w 856"/>
                <a:gd name="T35" fmla="*/ 135 h 1024"/>
                <a:gd name="T36" fmla="*/ 304 w 856"/>
                <a:gd name="T37" fmla="*/ 196 h 1024"/>
                <a:gd name="T38" fmla="*/ 401 w 856"/>
                <a:gd name="T39" fmla="*/ 156 h 1024"/>
                <a:gd name="T40" fmla="*/ 382 w 856"/>
                <a:gd name="T41" fmla="*/ 244 h 1024"/>
                <a:gd name="T42" fmla="*/ 538 w 856"/>
                <a:gd name="T43" fmla="*/ 256 h 1024"/>
                <a:gd name="T44" fmla="*/ 481 w 856"/>
                <a:gd name="T45" fmla="*/ 210 h 1024"/>
                <a:gd name="T46" fmla="*/ 448 w 856"/>
                <a:gd name="T47" fmla="*/ 291 h 1024"/>
                <a:gd name="T48" fmla="*/ 510 w 856"/>
                <a:gd name="T49" fmla="*/ 346 h 1024"/>
                <a:gd name="T50" fmla="*/ 524 w 856"/>
                <a:gd name="T51" fmla="*/ 358 h 1024"/>
                <a:gd name="T52" fmla="*/ 598 w 856"/>
                <a:gd name="T53" fmla="*/ 321 h 1024"/>
                <a:gd name="T54" fmla="*/ 594 w 856"/>
                <a:gd name="T55" fmla="*/ 408 h 1024"/>
                <a:gd name="T56" fmla="*/ 560 w 856"/>
                <a:gd name="T57" fmla="*/ 386 h 1024"/>
                <a:gd name="T58" fmla="*/ 619 w 856"/>
                <a:gd name="T59" fmla="*/ 352 h 1024"/>
                <a:gd name="T60" fmla="*/ 618 w 856"/>
                <a:gd name="T61" fmla="*/ 407 h 1024"/>
                <a:gd name="T62" fmla="*/ 625 w 856"/>
                <a:gd name="T63" fmla="*/ 484 h 1024"/>
                <a:gd name="T64" fmla="*/ 683 w 856"/>
                <a:gd name="T65" fmla="*/ 419 h 1024"/>
                <a:gd name="T66" fmla="*/ 577 w 856"/>
                <a:gd name="T67" fmla="*/ 416 h 1024"/>
                <a:gd name="T68" fmla="*/ 671 w 856"/>
                <a:gd name="T69" fmla="*/ 536 h 1024"/>
                <a:gd name="T70" fmla="*/ 662 w 856"/>
                <a:gd name="T71" fmla="*/ 513 h 1024"/>
                <a:gd name="T72" fmla="*/ 657 w 856"/>
                <a:gd name="T73" fmla="*/ 541 h 1024"/>
                <a:gd name="T74" fmla="*/ 746 w 856"/>
                <a:gd name="T75" fmla="*/ 531 h 1024"/>
                <a:gd name="T76" fmla="*/ 657 w 856"/>
                <a:gd name="T77" fmla="*/ 541 h 1024"/>
                <a:gd name="T78" fmla="*/ 717 w 856"/>
                <a:gd name="T79" fmla="*/ 644 h 1024"/>
                <a:gd name="T80" fmla="*/ 800 w 856"/>
                <a:gd name="T81" fmla="*/ 656 h 1024"/>
                <a:gd name="T82" fmla="*/ 773 w 856"/>
                <a:gd name="T83" fmla="*/ 588 h 1024"/>
                <a:gd name="T84" fmla="*/ 812 w 856"/>
                <a:gd name="T85" fmla="*/ 705 h 1024"/>
                <a:gd name="T86" fmla="*/ 759 w 856"/>
                <a:gd name="T87" fmla="*/ 677 h 1024"/>
                <a:gd name="T88" fmla="*/ 737 w 856"/>
                <a:gd name="T89" fmla="*/ 745 h 1024"/>
                <a:gd name="T90" fmla="*/ 828 w 856"/>
                <a:gd name="T91" fmla="*/ 757 h 1024"/>
                <a:gd name="T92" fmla="*/ 842 w 856"/>
                <a:gd name="T93" fmla="*/ 832 h 1024"/>
                <a:gd name="T94" fmla="*/ 820 w 856"/>
                <a:gd name="T95" fmla="*/ 783 h 1024"/>
                <a:gd name="T96" fmla="*/ 745 w 856"/>
                <a:gd name="T97" fmla="*/ 806 h 1024"/>
                <a:gd name="T98" fmla="*/ 838 w 856"/>
                <a:gd name="T99" fmla="*/ 826 h 1024"/>
                <a:gd name="T100" fmla="*/ 806 w 856"/>
                <a:gd name="T101" fmla="*/ 859 h 1024"/>
                <a:gd name="T102" fmla="*/ 768 w 856"/>
                <a:gd name="T103" fmla="*/ 864 h 1024"/>
                <a:gd name="T104" fmla="*/ 765 w 856"/>
                <a:gd name="T105" fmla="*/ 922 h 1024"/>
                <a:gd name="T106" fmla="*/ 767 w 856"/>
                <a:gd name="T107" fmla="*/ 964 h 1024"/>
                <a:gd name="T108" fmla="*/ 849 w 856"/>
                <a:gd name="T109" fmla="*/ 903 h 1024"/>
                <a:gd name="T110" fmla="*/ 845 w 856"/>
                <a:gd name="T111" fmla="*/ 921 h 1024"/>
                <a:gd name="T112" fmla="*/ 772 w 856"/>
                <a:gd name="T113" fmla="*/ 990 h 1024"/>
                <a:gd name="T114" fmla="*/ 849 w 856"/>
                <a:gd name="T115" fmla="*/ 1021 h 1024"/>
                <a:gd name="T116" fmla="*/ 766 w 856"/>
                <a:gd name="T117" fmla="*/ 991 h 10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856" h="1024">
                  <a:moveTo>
                    <a:pt x="77" y="53"/>
                  </a:moveTo>
                  <a:cubicBezTo>
                    <a:pt x="77" y="54"/>
                    <a:pt x="77" y="54"/>
                    <a:pt x="77" y="54"/>
                  </a:cubicBezTo>
                  <a:cubicBezTo>
                    <a:pt x="74" y="55"/>
                    <a:pt x="72" y="56"/>
                    <a:pt x="70" y="59"/>
                  </a:cubicBezTo>
                  <a:cubicBezTo>
                    <a:pt x="68" y="62"/>
                    <a:pt x="66" y="68"/>
                    <a:pt x="64" y="78"/>
                  </a:cubicBezTo>
                  <a:cubicBezTo>
                    <a:pt x="63" y="81"/>
                    <a:pt x="63" y="81"/>
                    <a:pt x="63" y="81"/>
                  </a:cubicBezTo>
                  <a:cubicBezTo>
                    <a:pt x="61" y="85"/>
                    <a:pt x="61" y="85"/>
                    <a:pt x="61" y="85"/>
                  </a:cubicBezTo>
                  <a:cubicBezTo>
                    <a:pt x="56" y="88"/>
                    <a:pt x="50" y="89"/>
                    <a:pt x="44" y="89"/>
                  </a:cubicBezTo>
                  <a:cubicBezTo>
                    <a:pt x="39" y="90"/>
                    <a:pt x="33" y="89"/>
                    <a:pt x="27" y="88"/>
                  </a:cubicBezTo>
                  <a:cubicBezTo>
                    <a:pt x="22" y="86"/>
                    <a:pt x="17" y="84"/>
                    <a:pt x="13" y="81"/>
                  </a:cubicBezTo>
                  <a:cubicBezTo>
                    <a:pt x="9" y="78"/>
                    <a:pt x="6" y="74"/>
                    <a:pt x="4" y="69"/>
                  </a:cubicBezTo>
                  <a:cubicBezTo>
                    <a:pt x="2" y="64"/>
                    <a:pt x="0" y="58"/>
                    <a:pt x="0" y="52"/>
                  </a:cubicBezTo>
                  <a:cubicBezTo>
                    <a:pt x="0" y="47"/>
                    <a:pt x="0" y="41"/>
                    <a:pt x="2" y="35"/>
                  </a:cubicBezTo>
                  <a:cubicBezTo>
                    <a:pt x="3" y="30"/>
                    <a:pt x="5" y="25"/>
                    <a:pt x="8" y="20"/>
                  </a:cubicBezTo>
                  <a:cubicBezTo>
                    <a:pt x="11" y="16"/>
                    <a:pt x="15" y="12"/>
                    <a:pt x="19" y="9"/>
                  </a:cubicBezTo>
                  <a:cubicBezTo>
                    <a:pt x="24" y="5"/>
                    <a:pt x="29" y="2"/>
                    <a:pt x="35" y="1"/>
                  </a:cubicBezTo>
                  <a:cubicBezTo>
                    <a:pt x="41" y="0"/>
                    <a:pt x="47" y="0"/>
                    <a:pt x="52" y="2"/>
                  </a:cubicBezTo>
                  <a:cubicBezTo>
                    <a:pt x="57" y="3"/>
                    <a:pt x="62" y="5"/>
                    <a:pt x="66" y="8"/>
                  </a:cubicBezTo>
                  <a:cubicBezTo>
                    <a:pt x="70" y="11"/>
                    <a:pt x="75" y="15"/>
                    <a:pt x="79" y="20"/>
                  </a:cubicBezTo>
                  <a:cubicBezTo>
                    <a:pt x="67" y="40"/>
                    <a:pt x="67" y="40"/>
                    <a:pt x="67" y="40"/>
                  </a:cubicBezTo>
                  <a:cubicBezTo>
                    <a:pt x="66" y="39"/>
                    <a:pt x="66" y="39"/>
                    <a:pt x="66" y="39"/>
                  </a:cubicBezTo>
                  <a:cubicBezTo>
                    <a:pt x="67" y="30"/>
                    <a:pt x="67" y="23"/>
                    <a:pt x="65" y="17"/>
                  </a:cubicBezTo>
                  <a:cubicBezTo>
                    <a:pt x="63" y="12"/>
                    <a:pt x="59" y="9"/>
                    <a:pt x="54" y="8"/>
                  </a:cubicBezTo>
                  <a:cubicBezTo>
                    <a:pt x="48" y="6"/>
                    <a:pt x="42" y="8"/>
                    <a:pt x="36" y="14"/>
                  </a:cubicBezTo>
                  <a:cubicBezTo>
                    <a:pt x="31" y="20"/>
                    <a:pt x="26" y="29"/>
                    <a:pt x="23" y="42"/>
                  </a:cubicBezTo>
                  <a:cubicBezTo>
                    <a:pt x="20" y="53"/>
                    <a:pt x="19" y="63"/>
                    <a:pt x="20" y="70"/>
                  </a:cubicBezTo>
                  <a:cubicBezTo>
                    <a:pt x="21" y="77"/>
                    <a:pt x="25" y="82"/>
                    <a:pt x="30" y="83"/>
                  </a:cubicBezTo>
                  <a:cubicBezTo>
                    <a:pt x="33" y="84"/>
                    <a:pt x="36" y="83"/>
                    <a:pt x="39" y="81"/>
                  </a:cubicBezTo>
                  <a:cubicBezTo>
                    <a:pt x="42" y="79"/>
                    <a:pt x="44" y="75"/>
                    <a:pt x="45" y="69"/>
                  </a:cubicBezTo>
                  <a:cubicBezTo>
                    <a:pt x="47" y="61"/>
                    <a:pt x="48" y="55"/>
                    <a:pt x="48" y="52"/>
                  </a:cubicBezTo>
                  <a:cubicBezTo>
                    <a:pt x="47" y="49"/>
                    <a:pt x="46" y="47"/>
                    <a:pt x="43" y="45"/>
                  </a:cubicBezTo>
                  <a:cubicBezTo>
                    <a:pt x="43" y="44"/>
                    <a:pt x="43" y="44"/>
                    <a:pt x="43" y="44"/>
                  </a:cubicBezTo>
                  <a:cubicBezTo>
                    <a:pt x="46" y="45"/>
                    <a:pt x="49" y="46"/>
                    <a:pt x="51" y="46"/>
                  </a:cubicBezTo>
                  <a:cubicBezTo>
                    <a:pt x="54" y="47"/>
                    <a:pt x="57" y="48"/>
                    <a:pt x="60" y="49"/>
                  </a:cubicBezTo>
                  <a:cubicBezTo>
                    <a:pt x="62" y="49"/>
                    <a:pt x="65" y="50"/>
                    <a:pt x="68" y="51"/>
                  </a:cubicBezTo>
                  <a:cubicBezTo>
                    <a:pt x="71" y="52"/>
                    <a:pt x="74" y="52"/>
                    <a:pt x="77" y="53"/>
                  </a:cubicBezTo>
                  <a:close/>
                  <a:moveTo>
                    <a:pt x="86" y="14"/>
                  </a:moveTo>
                  <a:cubicBezTo>
                    <a:pt x="88" y="17"/>
                    <a:pt x="89" y="20"/>
                    <a:pt x="89" y="24"/>
                  </a:cubicBezTo>
                  <a:cubicBezTo>
                    <a:pt x="89" y="28"/>
                    <a:pt x="86" y="37"/>
                    <a:pt x="82" y="49"/>
                  </a:cubicBezTo>
                  <a:cubicBezTo>
                    <a:pt x="76" y="67"/>
                    <a:pt x="76" y="67"/>
                    <a:pt x="76" y="67"/>
                  </a:cubicBezTo>
                  <a:cubicBezTo>
                    <a:pt x="72" y="78"/>
                    <a:pt x="72" y="86"/>
                    <a:pt x="75" y="93"/>
                  </a:cubicBezTo>
                  <a:cubicBezTo>
                    <a:pt x="77" y="99"/>
                    <a:pt x="84" y="104"/>
                    <a:pt x="93" y="108"/>
                  </a:cubicBezTo>
                  <a:cubicBezTo>
                    <a:pt x="103" y="111"/>
                    <a:pt x="111" y="111"/>
                    <a:pt x="118" y="107"/>
                  </a:cubicBezTo>
                  <a:cubicBezTo>
                    <a:pt x="124" y="103"/>
                    <a:pt x="130" y="95"/>
                    <a:pt x="134" y="83"/>
                  </a:cubicBezTo>
                  <a:cubicBezTo>
                    <a:pt x="137" y="72"/>
                    <a:pt x="137" y="72"/>
                    <a:pt x="137" y="72"/>
                  </a:cubicBezTo>
                  <a:cubicBezTo>
                    <a:pt x="142" y="59"/>
                    <a:pt x="146" y="50"/>
                    <a:pt x="149" y="46"/>
                  </a:cubicBezTo>
                  <a:cubicBezTo>
                    <a:pt x="152" y="43"/>
                    <a:pt x="156" y="40"/>
                    <a:pt x="160" y="40"/>
                  </a:cubicBezTo>
                  <a:cubicBezTo>
                    <a:pt x="161" y="38"/>
                    <a:pt x="161" y="38"/>
                    <a:pt x="161" y="38"/>
                  </a:cubicBezTo>
                  <a:cubicBezTo>
                    <a:pt x="159" y="38"/>
                    <a:pt x="158" y="37"/>
                    <a:pt x="156" y="37"/>
                  </a:cubicBezTo>
                  <a:cubicBezTo>
                    <a:pt x="154" y="36"/>
                    <a:pt x="151" y="35"/>
                    <a:pt x="148" y="34"/>
                  </a:cubicBezTo>
                  <a:cubicBezTo>
                    <a:pt x="144" y="33"/>
                    <a:pt x="142" y="32"/>
                    <a:pt x="140" y="31"/>
                  </a:cubicBezTo>
                  <a:cubicBezTo>
                    <a:pt x="138" y="31"/>
                    <a:pt x="136" y="30"/>
                    <a:pt x="135" y="29"/>
                  </a:cubicBezTo>
                  <a:cubicBezTo>
                    <a:pt x="134" y="31"/>
                    <a:pt x="134" y="31"/>
                    <a:pt x="134" y="31"/>
                  </a:cubicBezTo>
                  <a:cubicBezTo>
                    <a:pt x="138" y="34"/>
                    <a:pt x="139" y="38"/>
                    <a:pt x="139" y="43"/>
                  </a:cubicBezTo>
                  <a:cubicBezTo>
                    <a:pt x="139" y="48"/>
                    <a:pt x="137" y="57"/>
                    <a:pt x="132" y="71"/>
                  </a:cubicBezTo>
                  <a:cubicBezTo>
                    <a:pt x="129" y="81"/>
                    <a:pt x="129" y="81"/>
                    <a:pt x="129" y="81"/>
                  </a:cubicBezTo>
                  <a:cubicBezTo>
                    <a:pt x="127" y="87"/>
                    <a:pt x="125" y="91"/>
                    <a:pt x="124" y="93"/>
                  </a:cubicBezTo>
                  <a:cubicBezTo>
                    <a:pt x="123" y="96"/>
                    <a:pt x="121" y="98"/>
                    <a:pt x="119" y="99"/>
                  </a:cubicBezTo>
                  <a:cubicBezTo>
                    <a:pt x="117" y="102"/>
                    <a:pt x="114" y="103"/>
                    <a:pt x="111" y="104"/>
                  </a:cubicBezTo>
                  <a:cubicBezTo>
                    <a:pt x="108" y="105"/>
                    <a:pt x="106" y="105"/>
                    <a:pt x="103" y="104"/>
                  </a:cubicBezTo>
                  <a:cubicBezTo>
                    <a:pt x="97" y="102"/>
                    <a:pt x="94" y="98"/>
                    <a:pt x="93" y="93"/>
                  </a:cubicBezTo>
                  <a:cubicBezTo>
                    <a:pt x="92" y="88"/>
                    <a:pt x="93" y="81"/>
                    <a:pt x="96" y="71"/>
                  </a:cubicBezTo>
                  <a:cubicBezTo>
                    <a:pt x="101" y="57"/>
                    <a:pt x="101" y="57"/>
                    <a:pt x="101" y="57"/>
                  </a:cubicBezTo>
                  <a:cubicBezTo>
                    <a:pt x="103" y="52"/>
                    <a:pt x="103" y="52"/>
                    <a:pt x="103" y="52"/>
                  </a:cubicBezTo>
                  <a:cubicBezTo>
                    <a:pt x="106" y="41"/>
                    <a:pt x="109" y="35"/>
                    <a:pt x="111" y="32"/>
                  </a:cubicBezTo>
                  <a:cubicBezTo>
                    <a:pt x="114" y="28"/>
                    <a:pt x="116" y="26"/>
                    <a:pt x="119" y="26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20" y="24"/>
                    <a:pt x="120" y="24"/>
                    <a:pt x="120" y="24"/>
                  </a:cubicBezTo>
                  <a:cubicBezTo>
                    <a:pt x="112" y="22"/>
                    <a:pt x="107" y="20"/>
                    <a:pt x="103" y="19"/>
                  </a:cubicBezTo>
                  <a:cubicBezTo>
                    <a:pt x="101" y="18"/>
                    <a:pt x="99" y="17"/>
                    <a:pt x="97" y="17"/>
                  </a:cubicBezTo>
                  <a:cubicBezTo>
                    <a:pt x="95" y="16"/>
                    <a:pt x="91" y="14"/>
                    <a:pt x="87" y="13"/>
                  </a:cubicBezTo>
                  <a:cubicBezTo>
                    <a:pt x="86" y="14"/>
                    <a:pt x="86" y="14"/>
                    <a:pt x="86" y="14"/>
                  </a:cubicBezTo>
                  <a:close/>
                  <a:moveTo>
                    <a:pt x="165" y="90"/>
                  </a:moveTo>
                  <a:cubicBezTo>
                    <a:pt x="152" y="85"/>
                    <a:pt x="152" y="85"/>
                    <a:pt x="152" y="85"/>
                  </a:cubicBezTo>
                  <a:cubicBezTo>
                    <a:pt x="166" y="70"/>
                    <a:pt x="166" y="70"/>
                    <a:pt x="166" y="70"/>
                  </a:cubicBezTo>
                  <a:cubicBezTo>
                    <a:pt x="165" y="90"/>
                    <a:pt x="165" y="90"/>
                    <a:pt x="165" y="90"/>
                  </a:cubicBezTo>
                  <a:close/>
                  <a:moveTo>
                    <a:pt x="112" y="112"/>
                  </a:moveTo>
                  <a:cubicBezTo>
                    <a:pt x="113" y="110"/>
                    <a:pt x="113" y="110"/>
                    <a:pt x="113" y="110"/>
                  </a:cubicBezTo>
                  <a:cubicBezTo>
                    <a:pt x="118" y="111"/>
                    <a:pt x="126" y="105"/>
                    <a:pt x="137" y="93"/>
                  </a:cubicBezTo>
                  <a:cubicBezTo>
                    <a:pt x="139" y="91"/>
                    <a:pt x="139" y="91"/>
                    <a:pt x="139" y="91"/>
                  </a:cubicBezTo>
                  <a:cubicBezTo>
                    <a:pt x="183" y="45"/>
                    <a:pt x="183" y="45"/>
                    <a:pt x="183" y="45"/>
                  </a:cubicBezTo>
                  <a:cubicBezTo>
                    <a:pt x="184" y="46"/>
                    <a:pt x="184" y="46"/>
                    <a:pt x="184" y="46"/>
                  </a:cubicBezTo>
                  <a:cubicBezTo>
                    <a:pt x="187" y="126"/>
                    <a:pt x="187" y="126"/>
                    <a:pt x="187" y="126"/>
                  </a:cubicBezTo>
                  <a:cubicBezTo>
                    <a:pt x="187" y="131"/>
                    <a:pt x="187" y="134"/>
                    <a:pt x="188" y="136"/>
                  </a:cubicBezTo>
                  <a:cubicBezTo>
                    <a:pt x="189" y="138"/>
                    <a:pt x="190" y="140"/>
                    <a:pt x="192" y="141"/>
                  </a:cubicBezTo>
                  <a:cubicBezTo>
                    <a:pt x="191" y="142"/>
                    <a:pt x="191" y="142"/>
                    <a:pt x="191" y="142"/>
                  </a:cubicBezTo>
                  <a:cubicBezTo>
                    <a:pt x="190" y="142"/>
                    <a:pt x="190" y="142"/>
                    <a:pt x="190" y="142"/>
                  </a:cubicBezTo>
                  <a:cubicBezTo>
                    <a:pt x="183" y="139"/>
                    <a:pt x="178" y="137"/>
                    <a:pt x="175" y="136"/>
                  </a:cubicBezTo>
                  <a:cubicBezTo>
                    <a:pt x="172" y="134"/>
                    <a:pt x="166" y="132"/>
                    <a:pt x="157" y="129"/>
                  </a:cubicBezTo>
                  <a:cubicBezTo>
                    <a:pt x="156" y="129"/>
                    <a:pt x="155" y="129"/>
                    <a:pt x="155" y="129"/>
                  </a:cubicBezTo>
                  <a:cubicBezTo>
                    <a:pt x="156" y="127"/>
                    <a:pt x="156" y="127"/>
                    <a:pt x="156" y="127"/>
                  </a:cubicBezTo>
                  <a:cubicBezTo>
                    <a:pt x="157" y="127"/>
                    <a:pt x="159" y="127"/>
                    <a:pt x="160" y="126"/>
                  </a:cubicBezTo>
                  <a:cubicBezTo>
                    <a:pt x="162" y="126"/>
                    <a:pt x="163" y="124"/>
                    <a:pt x="163" y="122"/>
                  </a:cubicBezTo>
                  <a:cubicBezTo>
                    <a:pt x="164" y="121"/>
                    <a:pt x="164" y="120"/>
                    <a:pt x="164" y="119"/>
                  </a:cubicBezTo>
                  <a:cubicBezTo>
                    <a:pt x="165" y="117"/>
                    <a:pt x="165" y="115"/>
                    <a:pt x="165" y="114"/>
                  </a:cubicBezTo>
                  <a:cubicBezTo>
                    <a:pt x="165" y="96"/>
                    <a:pt x="165" y="96"/>
                    <a:pt x="165" y="96"/>
                  </a:cubicBezTo>
                  <a:cubicBezTo>
                    <a:pt x="149" y="89"/>
                    <a:pt x="149" y="89"/>
                    <a:pt x="149" y="89"/>
                  </a:cubicBezTo>
                  <a:cubicBezTo>
                    <a:pt x="145" y="94"/>
                    <a:pt x="142" y="97"/>
                    <a:pt x="140" y="100"/>
                  </a:cubicBezTo>
                  <a:cubicBezTo>
                    <a:pt x="137" y="103"/>
                    <a:pt x="136" y="106"/>
                    <a:pt x="135" y="108"/>
                  </a:cubicBezTo>
                  <a:cubicBezTo>
                    <a:pt x="134" y="111"/>
                    <a:pt x="134" y="113"/>
                    <a:pt x="134" y="115"/>
                  </a:cubicBezTo>
                  <a:cubicBezTo>
                    <a:pt x="135" y="117"/>
                    <a:pt x="136" y="119"/>
                    <a:pt x="138" y="120"/>
                  </a:cubicBezTo>
                  <a:cubicBezTo>
                    <a:pt x="137" y="122"/>
                    <a:pt x="137" y="122"/>
                    <a:pt x="137" y="122"/>
                  </a:cubicBezTo>
                  <a:cubicBezTo>
                    <a:pt x="135" y="121"/>
                    <a:pt x="133" y="120"/>
                    <a:pt x="131" y="119"/>
                  </a:cubicBezTo>
                  <a:cubicBezTo>
                    <a:pt x="129" y="118"/>
                    <a:pt x="127" y="117"/>
                    <a:pt x="125" y="117"/>
                  </a:cubicBezTo>
                  <a:cubicBezTo>
                    <a:pt x="123" y="116"/>
                    <a:pt x="121" y="115"/>
                    <a:pt x="119" y="115"/>
                  </a:cubicBezTo>
                  <a:cubicBezTo>
                    <a:pt x="117" y="114"/>
                    <a:pt x="115" y="113"/>
                    <a:pt x="112" y="112"/>
                  </a:cubicBezTo>
                  <a:close/>
                  <a:moveTo>
                    <a:pt x="217" y="81"/>
                  </a:moveTo>
                  <a:cubicBezTo>
                    <a:pt x="236" y="164"/>
                    <a:pt x="236" y="164"/>
                    <a:pt x="236" y="164"/>
                  </a:cubicBezTo>
                  <a:cubicBezTo>
                    <a:pt x="239" y="165"/>
                    <a:pt x="239" y="165"/>
                    <a:pt x="239" y="165"/>
                  </a:cubicBezTo>
                  <a:cubicBezTo>
                    <a:pt x="257" y="121"/>
                    <a:pt x="257" y="121"/>
                    <a:pt x="257" y="121"/>
                  </a:cubicBezTo>
                  <a:cubicBezTo>
                    <a:pt x="263" y="108"/>
                    <a:pt x="267" y="99"/>
                    <a:pt x="271" y="96"/>
                  </a:cubicBezTo>
                  <a:cubicBezTo>
                    <a:pt x="274" y="92"/>
                    <a:pt x="278" y="90"/>
                    <a:pt x="283" y="90"/>
                  </a:cubicBezTo>
                  <a:cubicBezTo>
                    <a:pt x="283" y="89"/>
                    <a:pt x="283" y="89"/>
                    <a:pt x="283" y="89"/>
                  </a:cubicBezTo>
                  <a:cubicBezTo>
                    <a:pt x="282" y="88"/>
                    <a:pt x="280" y="87"/>
                    <a:pt x="278" y="87"/>
                  </a:cubicBezTo>
                  <a:cubicBezTo>
                    <a:pt x="277" y="86"/>
                    <a:pt x="274" y="85"/>
                    <a:pt x="271" y="84"/>
                  </a:cubicBezTo>
                  <a:cubicBezTo>
                    <a:pt x="267" y="82"/>
                    <a:pt x="264" y="81"/>
                    <a:pt x="263" y="80"/>
                  </a:cubicBezTo>
                  <a:cubicBezTo>
                    <a:pt x="261" y="79"/>
                    <a:pt x="259" y="79"/>
                    <a:pt x="258" y="78"/>
                  </a:cubicBezTo>
                  <a:cubicBezTo>
                    <a:pt x="257" y="80"/>
                    <a:pt x="257" y="80"/>
                    <a:pt x="257" y="80"/>
                  </a:cubicBezTo>
                  <a:cubicBezTo>
                    <a:pt x="260" y="83"/>
                    <a:pt x="262" y="87"/>
                    <a:pt x="262" y="92"/>
                  </a:cubicBezTo>
                  <a:cubicBezTo>
                    <a:pt x="261" y="96"/>
                    <a:pt x="258" y="105"/>
                    <a:pt x="253" y="119"/>
                  </a:cubicBezTo>
                  <a:cubicBezTo>
                    <a:pt x="249" y="127"/>
                    <a:pt x="249" y="127"/>
                    <a:pt x="249" y="127"/>
                  </a:cubicBezTo>
                  <a:cubicBezTo>
                    <a:pt x="235" y="68"/>
                    <a:pt x="235" y="68"/>
                    <a:pt x="235" y="68"/>
                  </a:cubicBezTo>
                  <a:cubicBezTo>
                    <a:pt x="234" y="68"/>
                    <a:pt x="233" y="67"/>
                    <a:pt x="231" y="66"/>
                  </a:cubicBezTo>
                  <a:cubicBezTo>
                    <a:pt x="229" y="66"/>
                    <a:pt x="227" y="65"/>
                    <a:pt x="226" y="65"/>
                  </a:cubicBezTo>
                  <a:cubicBezTo>
                    <a:pt x="224" y="64"/>
                    <a:pt x="221" y="63"/>
                    <a:pt x="218" y="61"/>
                  </a:cubicBezTo>
                  <a:cubicBezTo>
                    <a:pt x="215" y="59"/>
                    <a:pt x="212" y="58"/>
                    <a:pt x="211" y="58"/>
                  </a:cubicBezTo>
                  <a:cubicBezTo>
                    <a:pt x="211" y="59"/>
                    <a:pt x="211" y="59"/>
                    <a:pt x="211" y="59"/>
                  </a:cubicBezTo>
                  <a:cubicBezTo>
                    <a:pt x="213" y="62"/>
                    <a:pt x="215" y="64"/>
                    <a:pt x="215" y="67"/>
                  </a:cubicBezTo>
                  <a:cubicBezTo>
                    <a:pt x="215" y="69"/>
                    <a:pt x="214" y="73"/>
                    <a:pt x="212" y="78"/>
                  </a:cubicBezTo>
                  <a:cubicBezTo>
                    <a:pt x="202" y="103"/>
                    <a:pt x="202" y="103"/>
                    <a:pt x="202" y="103"/>
                  </a:cubicBezTo>
                  <a:cubicBezTo>
                    <a:pt x="196" y="117"/>
                    <a:pt x="191" y="125"/>
                    <a:pt x="188" y="129"/>
                  </a:cubicBezTo>
                  <a:cubicBezTo>
                    <a:pt x="185" y="132"/>
                    <a:pt x="181" y="134"/>
                    <a:pt x="176" y="134"/>
                  </a:cubicBezTo>
                  <a:cubicBezTo>
                    <a:pt x="176" y="136"/>
                    <a:pt x="176" y="136"/>
                    <a:pt x="176" y="136"/>
                  </a:cubicBezTo>
                  <a:cubicBezTo>
                    <a:pt x="178" y="136"/>
                    <a:pt x="180" y="137"/>
                    <a:pt x="182" y="138"/>
                  </a:cubicBezTo>
                  <a:cubicBezTo>
                    <a:pt x="184" y="139"/>
                    <a:pt x="186" y="140"/>
                    <a:pt x="189" y="141"/>
                  </a:cubicBezTo>
                  <a:cubicBezTo>
                    <a:pt x="191" y="142"/>
                    <a:pt x="193" y="143"/>
                    <a:pt x="195" y="144"/>
                  </a:cubicBezTo>
                  <a:cubicBezTo>
                    <a:pt x="197" y="145"/>
                    <a:pt x="199" y="145"/>
                    <a:pt x="201" y="146"/>
                  </a:cubicBezTo>
                  <a:cubicBezTo>
                    <a:pt x="202" y="145"/>
                    <a:pt x="202" y="145"/>
                    <a:pt x="202" y="145"/>
                  </a:cubicBezTo>
                  <a:cubicBezTo>
                    <a:pt x="199" y="141"/>
                    <a:pt x="197" y="137"/>
                    <a:pt x="197" y="132"/>
                  </a:cubicBezTo>
                  <a:cubicBezTo>
                    <a:pt x="198" y="127"/>
                    <a:pt x="201" y="119"/>
                    <a:pt x="206" y="105"/>
                  </a:cubicBezTo>
                  <a:cubicBezTo>
                    <a:pt x="217" y="81"/>
                    <a:pt x="217" y="81"/>
                    <a:pt x="217" y="81"/>
                  </a:cubicBezTo>
                  <a:close/>
                  <a:moveTo>
                    <a:pt x="330" y="159"/>
                  </a:moveTo>
                  <a:cubicBezTo>
                    <a:pt x="330" y="161"/>
                    <a:pt x="330" y="161"/>
                    <a:pt x="330" y="161"/>
                  </a:cubicBezTo>
                  <a:cubicBezTo>
                    <a:pt x="327" y="161"/>
                    <a:pt x="325" y="162"/>
                    <a:pt x="322" y="164"/>
                  </a:cubicBezTo>
                  <a:cubicBezTo>
                    <a:pt x="320" y="166"/>
                    <a:pt x="317" y="172"/>
                    <a:pt x="312" y="181"/>
                  </a:cubicBezTo>
                  <a:cubicBezTo>
                    <a:pt x="311" y="184"/>
                    <a:pt x="311" y="184"/>
                    <a:pt x="311" y="184"/>
                  </a:cubicBezTo>
                  <a:cubicBezTo>
                    <a:pt x="309" y="188"/>
                    <a:pt x="309" y="188"/>
                    <a:pt x="309" y="188"/>
                  </a:cubicBezTo>
                  <a:cubicBezTo>
                    <a:pt x="303" y="189"/>
                    <a:pt x="297" y="190"/>
                    <a:pt x="291" y="189"/>
                  </a:cubicBezTo>
                  <a:cubicBezTo>
                    <a:pt x="286" y="188"/>
                    <a:pt x="280" y="187"/>
                    <a:pt x="275" y="184"/>
                  </a:cubicBezTo>
                  <a:cubicBezTo>
                    <a:pt x="270" y="182"/>
                    <a:pt x="266" y="178"/>
                    <a:pt x="262" y="175"/>
                  </a:cubicBezTo>
                  <a:cubicBezTo>
                    <a:pt x="259" y="171"/>
                    <a:pt x="257" y="166"/>
                    <a:pt x="256" y="161"/>
                  </a:cubicBezTo>
                  <a:cubicBezTo>
                    <a:pt x="254" y="156"/>
                    <a:pt x="254" y="150"/>
                    <a:pt x="255" y="144"/>
                  </a:cubicBezTo>
                  <a:cubicBezTo>
                    <a:pt x="255" y="139"/>
                    <a:pt x="257" y="133"/>
                    <a:pt x="260" y="128"/>
                  </a:cubicBezTo>
                  <a:cubicBezTo>
                    <a:pt x="262" y="123"/>
                    <a:pt x="265" y="118"/>
                    <a:pt x="269" y="114"/>
                  </a:cubicBezTo>
                  <a:cubicBezTo>
                    <a:pt x="273" y="110"/>
                    <a:pt x="277" y="107"/>
                    <a:pt x="282" y="105"/>
                  </a:cubicBezTo>
                  <a:cubicBezTo>
                    <a:pt x="287" y="102"/>
                    <a:pt x="293" y="101"/>
                    <a:pt x="299" y="101"/>
                  </a:cubicBezTo>
                  <a:cubicBezTo>
                    <a:pt x="305" y="100"/>
                    <a:pt x="311" y="102"/>
                    <a:pt x="316" y="104"/>
                  </a:cubicBezTo>
                  <a:cubicBezTo>
                    <a:pt x="320" y="107"/>
                    <a:pt x="324" y="109"/>
                    <a:pt x="328" y="113"/>
                  </a:cubicBezTo>
                  <a:cubicBezTo>
                    <a:pt x="332" y="117"/>
                    <a:pt x="335" y="121"/>
                    <a:pt x="339" y="127"/>
                  </a:cubicBezTo>
                  <a:cubicBezTo>
                    <a:pt x="323" y="145"/>
                    <a:pt x="323" y="145"/>
                    <a:pt x="323" y="145"/>
                  </a:cubicBezTo>
                  <a:cubicBezTo>
                    <a:pt x="322" y="144"/>
                    <a:pt x="322" y="144"/>
                    <a:pt x="322" y="144"/>
                  </a:cubicBezTo>
                  <a:cubicBezTo>
                    <a:pt x="325" y="135"/>
                    <a:pt x="326" y="128"/>
                    <a:pt x="325" y="122"/>
                  </a:cubicBezTo>
                  <a:cubicBezTo>
                    <a:pt x="324" y="117"/>
                    <a:pt x="321" y="113"/>
                    <a:pt x="317" y="111"/>
                  </a:cubicBezTo>
                  <a:cubicBezTo>
                    <a:pt x="311" y="108"/>
                    <a:pt x="305" y="109"/>
                    <a:pt x="298" y="114"/>
                  </a:cubicBezTo>
                  <a:cubicBezTo>
                    <a:pt x="291" y="119"/>
                    <a:pt x="285" y="127"/>
                    <a:pt x="280" y="138"/>
                  </a:cubicBezTo>
                  <a:cubicBezTo>
                    <a:pt x="274" y="149"/>
                    <a:pt x="272" y="158"/>
                    <a:pt x="271" y="165"/>
                  </a:cubicBezTo>
                  <a:cubicBezTo>
                    <a:pt x="271" y="173"/>
                    <a:pt x="273" y="178"/>
                    <a:pt x="278" y="180"/>
                  </a:cubicBezTo>
                  <a:cubicBezTo>
                    <a:pt x="282" y="182"/>
                    <a:pt x="285" y="182"/>
                    <a:pt x="288" y="180"/>
                  </a:cubicBezTo>
                  <a:cubicBezTo>
                    <a:pt x="291" y="178"/>
                    <a:pt x="294" y="174"/>
                    <a:pt x="296" y="169"/>
                  </a:cubicBezTo>
                  <a:cubicBezTo>
                    <a:pt x="300" y="162"/>
                    <a:pt x="302" y="156"/>
                    <a:pt x="302" y="153"/>
                  </a:cubicBezTo>
                  <a:cubicBezTo>
                    <a:pt x="302" y="150"/>
                    <a:pt x="301" y="148"/>
                    <a:pt x="298" y="145"/>
                  </a:cubicBezTo>
                  <a:cubicBezTo>
                    <a:pt x="299" y="144"/>
                    <a:pt x="299" y="144"/>
                    <a:pt x="299" y="144"/>
                  </a:cubicBezTo>
                  <a:cubicBezTo>
                    <a:pt x="301" y="145"/>
                    <a:pt x="304" y="147"/>
                    <a:pt x="306" y="148"/>
                  </a:cubicBezTo>
                  <a:cubicBezTo>
                    <a:pt x="309" y="149"/>
                    <a:pt x="311" y="151"/>
                    <a:pt x="314" y="152"/>
                  </a:cubicBezTo>
                  <a:cubicBezTo>
                    <a:pt x="317" y="153"/>
                    <a:pt x="319" y="154"/>
                    <a:pt x="322" y="156"/>
                  </a:cubicBezTo>
                  <a:cubicBezTo>
                    <a:pt x="325" y="157"/>
                    <a:pt x="328" y="158"/>
                    <a:pt x="330" y="159"/>
                  </a:cubicBezTo>
                  <a:close/>
                  <a:moveTo>
                    <a:pt x="323" y="206"/>
                  </a:moveTo>
                  <a:cubicBezTo>
                    <a:pt x="322" y="204"/>
                    <a:pt x="321" y="203"/>
                    <a:pt x="321" y="201"/>
                  </a:cubicBezTo>
                  <a:cubicBezTo>
                    <a:pt x="321" y="199"/>
                    <a:pt x="322" y="198"/>
                    <a:pt x="323" y="196"/>
                  </a:cubicBezTo>
                  <a:cubicBezTo>
                    <a:pt x="323" y="195"/>
                    <a:pt x="324" y="194"/>
                    <a:pt x="325" y="193"/>
                  </a:cubicBezTo>
                  <a:cubicBezTo>
                    <a:pt x="327" y="192"/>
                    <a:pt x="328" y="190"/>
                    <a:pt x="330" y="189"/>
                  </a:cubicBezTo>
                  <a:cubicBezTo>
                    <a:pt x="343" y="181"/>
                    <a:pt x="343" y="181"/>
                    <a:pt x="343" y="181"/>
                  </a:cubicBezTo>
                  <a:cubicBezTo>
                    <a:pt x="342" y="198"/>
                    <a:pt x="342" y="198"/>
                    <a:pt x="342" y="198"/>
                  </a:cubicBezTo>
                  <a:cubicBezTo>
                    <a:pt x="341" y="200"/>
                    <a:pt x="341" y="202"/>
                    <a:pt x="341" y="204"/>
                  </a:cubicBezTo>
                  <a:cubicBezTo>
                    <a:pt x="340" y="205"/>
                    <a:pt x="340" y="207"/>
                    <a:pt x="339" y="208"/>
                  </a:cubicBezTo>
                  <a:cubicBezTo>
                    <a:pt x="338" y="209"/>
                    <a:pt x="337" y="210"/>
                    <a:pt x="336" y="211"/>
                  </a:cubicBezTo>
                  <a:cubicBezTo>
                    <a:pt x="335" y="211"/>
                    <a:pt x="333" y="211"/>
                    <a:pt x="331" y="210"/>
                  </a:cubicBezTo>
                  <a:cubicBezTo>
                    <a:pt x="330" y="212"/>
                    <a:pt x="330" y="212"/>
                    <a:pt x="330" y="212"/>
                  </a:cubicBezTo>
                  <a:cubicBezTo>
                    <a:pt x="332" y="213"/>
                    <a:pt x="335" y="215"/>
                    <a:pt x="338" y="216"/>
                  </a:cubicBezTo>
                  <a:cubicBezTo>
                    <a:pt x="341" y="218"/>
                    <a:pt x="344" y="220"/>
                    <a:pt x="347" y="222"/>
                  </a:cubicBezTo>
                  <a:cubicBezTo>
                    <a:pt x="350" y="224"/>
                    <a:pt x="353" y="225"/>
                    <a:pt x="356" y="227"/>
                  </a:cubicBezTo>
                  <a:cubicBezTo>
                    <a:pt x="358" y="229"/>
                    <a:pt x="361" y="230"/>
                    <a:pt x="363" y="232"/>
                  </a:cubicBezTo>
                  <a:cubicBezTo>
                    <a:pt x="364" y="230"/>
                    <a:pt x="364" y="230"/>
                    <a:pt x="364" y="230"/>
                  </a:cubicBezTo>
                  <a:cubicBezTo>
                    <a:pt x="363" y="229"/>
                    <a:pt x="362" y="226"/>
                    <a:pt x="361" y="222"/>
                  </a:cubicBezTo>
                  <a:cubicBezTo>
                    <a:pt x="361" y="218"/>
                    <a:pt x="361" y="213"/>
                    <a:pt x="362" y="205"/>
                  </a:cubicBezTo>
                  <a:cubicBezTo>
                    <a:pt x="364" y="174"/>
                    <a:pt x="364" y="174"/>
                    <a:pt x="364" y="174"/>
                  </a:cubicBezTo>
                  <a:cubicBezTo>
                    <a:pt x="375" y="168"/>
                    <a:pt x="375" y="168"/>
                    <a:pt x="375" y="168"/>
                  </a:cubicBezTo>
                  <a:cubicBezTo>
                    <a:pt x="382" y="165"/>
                    <a:pt x="388" y="162"/>
                    <a:pt x="393" y="160"/>
                  </a:cubicBezTo>
                  <a:cubicBezTo>
                    <a:pt x="399" y="159"/>
                    <a:pt x="402" y="158"/>
                    <a:pt x="405" y="159"/>
                  </a:cubicBezTo>
                  <a:cubicBezTo>
                    <a:pt x="406" y="157"/>
                    <a:pt x="406" y="157"/>
                    <a:pt x="406" y="157"/>
                  </a:cubicBezTo>
                  <a:cubicBezTo>
                    <a:pt x="402" y="156"/>
                    <a:pt x="400" y="154"/>
                    <a:pt x="398" y="153"/>
                  </a:cubicBezTo>
                  <a:cubicBezTo>
                    <a:pt x="397" y="153"/>
                    <a:pt x="395" y="152"/>
                    <a:pt x="394" y="151"/>
                  </a:cubicBezTo>
                  <a:cubicBezTo>
                    <a:pt x="391" y="149"/>
                    <a:pt x="387" y="147"/>
                    <a:pt x="382" y="143"/>
                  </a:cubicBezTo>
                  <a:cubicBezTo>
                    <a:pt x="382" y="143"/>
                    <a:pt x="382" y="143"/>
                    <a:pt x="382" y="143"/>
                  </a:cubicBezTo>
                  <a:cubicBezTo>
                    <a:pt x="381" y="145"/>
                    <a:pt x="381" y="145"/>
                    <a:pt x="381" y="145"/>
                  </a:cubicBezTo>
                  <a:cubicBezTo>
                    <a:pt x="382" y="146"/>
                    <a:pt x="383" y="148"/>
                    <a:pt x="383" y="149"/>
                  </a:cubicBezTo>
                  <a:cubicBezTo>
                    <a:pt x="383" y="151"/>
                    <a:pt x="383" y="152"/>
                    <a:pt x="382" y="154"/>
                  </a:cubicBezTo>
                  <a:cubicBezTo>
                    <a:pt x="381" y="155"/>
                    <a:pt x="380" y="156"/>
                    <a:pt x="380" y="157"/>
                  </a:cubicBezTo>
                  <a:cubicBezTo>
                    <a:pt x="379" y="158"/>
                    <a:pt x="378" y="159"/>
                    <a:pt x="376" y="160"/>
                  </a:cubicBezTo>
                  <a:cubicBezTo>
                    <a:pt x="365" y="167"/>
                    <a:pt x="365" y="167"/>
                    <a:pt x="365" y="167"/>
                  </a:cubicBezTo>
                  <a:cubicBezTo>
                    <a:pt x="366" y="153"/>
                    <a:pt x="366" y="153"/>
                    <a:pt x="366" y="153"/>
                  </a:cubicBezTo>
                  <a:cubicBezTo>
                    <a:pt x="366" y="151"/>
                    <a:pt x="366" y="149"/>
                    <a:pt x="367" y="148"/>
                  </a:cubicBezTo>
                  <a:cubicBezTo>
                    <a:pt x="367" y="146"/>
                    <a:pt x="367" y="145"/>
                    <a:pt x="368" y="144"/>
                  </a:cubicBezTo>
                  <a:cubicBezTo>
                    <a:pt x="369" y="143"/>
                    <a:pt x="370" y="142"/>
                    <a:pt x="371" y="142"/>
                  </a:cubicBezTo>
                  <a:cubicBezTo>
                    <a:pt x="372" y="141"/>
                    <a:pt x="374" y="141"/>
                    <a:pt x="376" y="142"/>
                  </a:cubicBezTo>
                  <a:cubicBezTo>
                    <a:pt x="377" y="140"/>
                    <a:pt x="377" y="140"/>
                    <a:pt x="377" y="140"/>
                  </a:cubicBezTo>
                  <a:cubicBezTo>
                    <a:pt x="372" y="138"/>
                    <a:pt x="369" y="136"/>
                    <a:pt x="367" y="135"/>
                  </a:cubicBezTo>
                  <a:cubicBezTo>
                    <a:pt x="365" y="133"/>
                    <a:pt x="363" y="132"/>
                    <a:pt x="361" y="131"/>
                  </a:cubicBezTo>
                  <a:cubicBezTo>
                    <a:pt x="357" y="129"/>
                    <a:pt x="352" y="126"/>
                    <a:pt x="345" y="121"/>
                  </a:cubicBezTo>
                  <a:cubicBezTo>
                    <a:pt x="345" y="121"/>
                    <a:pt x="345" y="121"/>
                    <a:pt x="345" y="121"/>
                  </a:cubicBezTo>
                  <a:cubicBezTo>
                    <a:pt x="344" y="122"/>
                    <a:pt x="344" y="122"/>
                    <a:pt x="344" y="122"/>
                  </a:cubicBezTo>
                  <a:cubicBezTo>
                    <a:pt x="347" y="127"/>
                    <a:pt x="348" y="135"/>
                    <a:pt x="347" y="146"/>
                  </a:cubicBezTo>
                  <a:cubicBezTo>
                    <a:pt x="347" y="147"/>
                    <a:pt x="347" y="147"/>
                    <a:pt x="347" y="147"/>
                  </a:cubicBezTo>
                  <a:cubicBezTo>
                    <a:pt x="344" y="174"/>
                    <a:pt x="344" y="174"/>
                    <a:pt x="344" y="174"/>
                  </a:cubicBezTo>
                  <a:cubicBezTo>
                    <a:pt x="330" y="181"/>
                    <a:pt x="330" y="181"/>
                    <a:pt x="330" y="181"/>
                  </a:cubicBezTo>
                  <a:cubicBezTo>
                    <a:pt x="323" y="185"/>
                    <a:pt x="317" y="187"/>
                    <a:pt x="312" y="189"/>
                  </a:cubicBezTo>
                  <a:cubicBezTo>
                    <a:pt x="307" y="191"/>
                    <a:pt x="303" y="191"/>
                    <a:pt x="299" y="191"/>
                  </a:cubicBezTo>
                  <a:cubicBezTo>
                    <a:pt x="298" y="193"/>
                    <a:pt x="298" y="193"/>
                    <a:pt x="298" y="193"/>
                  </a:cubicBezTo>
                  <a:cubicBezTo>
                    <a:pt x="300" y="194"/>
                    <a:pt x="302" y="195"/>
                    <a:pt x="304" y="196"/>
                  </a:cubicBezTo>
                  <a:cubicBezTo>
                    <a:pt x="306" y="197"/>
                    <a:pt x="308" y="198"/>
                    <a:pt x="310" y="200"/>
                  </a:cubicBezTo>
                  <a:cubicBezTo>
                    <a:pt x="313" y="201"/>
                    <a:pt x="315" y="202"/>
                    <a:pt x="317" y="204"/>
                  </a:cubicBezTo>
                  <a:cubicBezTo>
                    <a:pt x="319" y="205"/>
                    <a:pt x="321" y="206"/>
                    <a:pt x="322" y="207"/>
                  </a:cubicBezTo>
                  <a:cubicBezTo>
                    <a:pt x="323" y="206"/>
                    <a:pt x="323" y="206"/>
                    <a:pt x="323" y="206"/>
                  </a:cubicBezTo>
                  <a:close/>
                  <a:moveTo>
                    <a:pt x="352" y="225"/>
                  </a:moveTo>
                  <a:cubicBezTo>
                    <a:pt x="353" y="224"/>
                    <a:pt x="353" y="224"/>
                    <a:pt x="353" y="224"/>
                  </a:cubicBezTo>
                  <a:cubicBezTo>
                    <a:pt x="356" y="224"/>
                    <a:pt x="360" y="222"/>
                    <a:pt x="362" y="220"/>
                  </a:cubicBezTo>
                  <a:cubicBezTo>
                    <a:pt x="365" y="217"/>
                    <a:pt x="370" y="211"/>
                    <a:pt x="376" y="202"/>
                  </a:cubicBezTo>
                  <a:cubicBezTo>
                    <a:pt x="379" y="198"/>
                    <a:pt x="379" y="198"/>
                    <a:pt x="379" y="198"/>
                  </a:cubicBezTo>
                  <a:cubicBezTo>
                    <a:pt x="398" y="167"/>
                    <a:pt x="398" y="167"/>
                    <a:pt x="398" y="167"/>
                  </a:cubicBezTo>
                  <a:cubicBezTo>
                    <a:pt x="400" y="164"/>
                    <a:pt x="401" y="162"/>
                    <a:pt x="402" y="161"/>
                  </a:cubicBezTo>
                  <a:cubicBezTo>
                    <a:pt x="402" y="159"/>
                    <a:pt x="401" y="158"/>
                    <a:pt x="401" y="156"/>
                  </a:cubicBezTo>
                  <a:cubicBezTo>
                    <a:pt x="402" y="155"/>
                    <a:pt x="402" y="155"/>
                    <a:pt x="402" y="155"/>
                  </a:cubicBezTo>
                  <a:cubicBezTo>
                    <a:pt x="405" y="157"/>
                    <a:pt x="407" y="159"/>
                    <a:pt x="409" y="160"/>
                  </a:cubicBezTo>
                  <a:cubicBezTo>
                    <a:pt x="410" y="161"/>
                    <a:pt x="412" y="162"/>
                    <a:pt x="413" y="163"/>
                  </a:cubicBezTo>
                  <a:cubicBezTo>
                    <a:pt x="415" y="164"/>
                    <a:pt x="416" y="165"/>
                    <a:pt x="418" y="166"/>
                  </a:cubicBezTo>
                  <a:cubicBezTo>
                    <a:pt x="420" y="167"/>
                    <a:pt x="422" y="169"/>
                    <a:pt x="426" y="171"/>
                  </a:cubicBezTo>
                  <a:cubicBezTo>
                    <a:pt x="425" y="172"/>
                    <a:pt x="425" y="172"/>
                    <a:pt x="425" y="172"/>
                  </a:cubicBezTo>
                  <a:cubicBezTo>
                    <a:pt x="423" y="172"/>
                    <a:pt x="422" y="172"/>
                    <a:pt x="421" y="173"/>
                  </a:cubicBezTo>
                  <a:cubicBezTo>
                    <a:pt x="419" y="174"/>
                    <a:pt x="418" y="175"/>
                    <a:pt x="416" y="179"/>
                  </a:cubicBezTo>
                  <a:cubicBezTo>
                    <a:pt x="393" y="214"/>
                    <a:pt x="393" y="214"/>
                    <a:pt x="393" y="214"/>
                  </a:cubicBezTo>
                  <a:cubicBezTo>
                    <a:pt x="387" y="223"/>
                    <a:pt x="383" y="229"/>
                    <a:pt x="382" y="233"/>
                  </a:cubicBezTo>
                  <a:cubicBezTo>
                    <a:pt x="381" y="237"/>
                    <a:pt x="381" y="240"/>
                    <a:pt x="383" y="243"/>
                  </a:cubicBezTo>
                  <a:cubicBezTo>
                    <a:pt x="382" y="244"/>
                    <a:pt x="382" y="244"/>
                    <a:pt x="382" y="244"/>
                  </a:cubicBezTo>
                  <a:cubicBezTo>
                    <a:pt x="380" y="243"/>
                    <a:pt x="377" y="241"/>
                    <a:pt x="375" y="239"/>
                  </a:cubicBezTo>
                  <a:cubicBezTo>
                    <a:pt x="373" y="238"/>
                    <a:pt x="370" y="236"/>
                    <a:pt x="367" y="234"/>
                  </a:cubicBezTo>
                  <a:cubicBezTo>
                    <a:pt x="364" y="232"/>
                    <a:pt x="362" y="231"/>
                    <a:pt x="359" y="229"/>
                  </a:cubicBezTo>
                  <a:cubicBezTo>
                    <a:pt x="357" y="228"/>
                    <a:pt x="355" y="226"/>
                    <a:pt x="352" y="225"/>
                  </a:cubicBezTo>
                  <a:close/>
                  <a:moveTo>
                    <a:pt x="480" y="233"/>
                  </a:moveTo>
                  <a:cubicBezTo>
                    <a:pt x="476" y="319"/>
                    <a:pt x="476" y="319"/>
                    <a:pt x="476" y="319"/>
                  </a:cubicBezTo>
                  <a:cubicBezTo>
                    <a:pt x="478" y="321"/>
                    <a:pt x="478" y="321"/>
                    <a:pt x="478" y="321"/>
                  </a:cubicBezTo>
                  <a:cubicBezTo>
                    <a:pt x="508" y="283"/>
                    <a:pt x="508" y="283"/>
                    <a:pt x="508" y="283"/>
                  </a:cubicBezTo>
                  <a:cubicBezTo>
                    <a:pt x="517" y="272"/>
                    <a:pt x="524" y="265"/>
                    <a:pt x="528" y="263"/>
                  </a:cubicBezTo>
                  <a:cubicBezTo>
                    <a:pt x="532" y="260"/>
                    <a:pt x="537" y="260"/>
                    <a:pt x="541" y="261"/>
                  </a:cubicBezTo>
                  <a:cubicBezTo>
                    <a:pt x="542" y="260"/>
                    <a:pt x="542" y="260"/>
                    <a:pt x="542" y="260"/>
                  </a:cubicBezTo>
                  <a:cubicBezTo>
                    <a:pt x="541" y="259"/>
                    <a:pt x="539" y="258"/>
                    <a:pt x="538" y="256"/>
                  </a:cubicBezTo>
                  <a:cubicBezTo>
                    <a:pt x="536" y="255"/>
                    <a:pt x="534" y="253"/>
                    <a:pt x="531" y="251"/>
                  </a:cubicBezTo>
                  <a:cubicBezTo>
                    <a:pt x="528" y="249"/>
                    <a:pt x="526" y="247"/>
                    <a:pt x="525" y="246"/>
                  </a:cubicBezTo>
                  <a:cubicBezTo>
                    <a:pt x="523" y="244"/>
                    <a:pt x="522" y="243"/>
                    <a:pt x="521" y="242"/>
                  </a:cubicBezTo>
                  <a:cubicBezTo>
                    <a:pt x="520" y="244"/>
                    <a:pt x="520" y="244"/>
                    <a:pt x="520" y="244"/>
                  </a:cubicBezTo>
                  <a:cubicBezTo>
                    <a:pt x="522" y="248"/>
                    <a:pt x="522" y="252"/>
                    <a:pt x="520" y="256"/>
                  </a:cubicBezTo>
                  <a:cubicBezTo>
                    <a:pt x="519" y="261"/>
                    <a:pt x="513" y="269"/>
                    <a:pt x="504" y="280"/>
                  </a:cubicBezTo>
                  <a:cubicBezTo>
                    <a:pt x="499" y="287"/>
                    <a:pt x="499" y="287"/>
                    <a:pt x="499" y="287"/>
                  </a:cubicBezTo>
                  <a:cubicBezTo>
                    <a:pt x="502" y="227"/>
                    <a:pt x="502" y="227"/>
                    <a:pt x="502" y="227"/>
                  </a:cubicBezTo>
                  <a:cubicBezTo>
                    <a:pt x="501" y="226"/>
                    <a:pt x="500" y="225"/>
                    <a:pt x="498" y="224"/>
                  </a:cubicBezTo>
                  <a:cubicBezTo>
                    <a:pt x="496" y="222"/>
                    <a:pt x="495" y="221"/>
                    <a:pt x="494" y="221"/>
                  </a:cubicBezTo>
                  <a:cubicBezTo>
                    <a:pt x="492" y="219"/>
                    <a:pt x="490" y="217"/>
                    <a:pt x="487" y="215"/>
                  </a:cubicBezTo>
                  <a:cubicBezTo>
                    <a:pt x="484" y="213"/>
                    <a:pt x="482" y="211"/>
                    <a:pt x="481" y="210"/>
                  </a:cubicBezTo>
                  <a:cubicBezTo>
                    <a:pt x="480" y="211"/>
                    <a:pt x="480" y="211"/>
                    <a:pt x="480" y="211"/>
                  </a:cubicBezTo>
                  <a:cubicBezTo>
                    <a:pt x="482" y="214"/>
                    <a:pt x="483" y="217"/>
                    <a:pt x="483" y="220"/>
                  </a:cubicBezTo>
                  <a:cubicBezTo>
                    <a:pt x="482" y="222"/>
                    <a:pt x="480" y="225"/>
                    <a:pt x="477" y="230"/>
                  </a:cubicBezTo>
                  <a:cubicBezTo>
                    <a:pt x="459" y="251"/>
                    <a:pt x="459" y="251"/>
                    <a:pt x="459" y="251"/>
                  </a:cubicBezTo>
                  <a:cubicBezTo>
                    <a:pt x="450" y="262"/>
                    <a:pt x="444" y="269"/>
                    <a:pt x="439" y="272"/>
                  </a:cubicBezTo>
                  <a:cubicBezTo>
                    <a:pt x="435" y="274"/>
                    <a:pt x="431" y="275"/>
                    <a:pt x="427" y="274"/>
                  </a:cubicBezTo>
                  <a:cubicBezTo>
                    <a:pt x="426" y="275"/>
                    <a:pt x="426" y="275"/>
                    <a:pt x="426" y="275"/>
                  </a:cubicBezTo>
                  <a:cubicBezTo>
                    <a:pt x="427" y="276"/>
                    <a:pt x="429" y="277"/>
                    <a:pt x="431" y="279"/>
                  </a:cubicBezTo>
                  <a:cubicBezTo>
                    <a:pt x="433" y="280"/>
                    <a:pt x="435" y="282"/>
                    <a:pt x="437" y="283"/>
                  </a:cubicBezTo>
                  <a:cubicBezTo>
                    <a:pt x="439" y="285"/>
                    <a:pt x="441" y="287"/>
                    <a:pt x="442" y="288"/>
                  </a:cubicBezTo>
                  <a:cubicBezTo>
                    <a:pt x="444" y="290"/>
                    <a:pt x="446" y="291"/>
                    <a:pt x="447" y="292"/>
                  </a:cubicBezTo>
                  <a:cubicBezTo>
                    <a:pt x="448" y="291"/>
                    <a:pt x="448" y="291"/>
                    <a:pt x="448" y="291"/>
                  </a:cubicBezTo>
                  <a:cubicBezTo>
                    <a:pt x="446" y="287"/>
                    <a:pt x="446" y="282"/>
                    <a:pt x="447" y="278"/>
                  </a:cubicBezTo>
                  <a:cubicBezTo>
                    <a:pt x="449" y="273"/>
                    <a:pt x="454" y="265"/>
                    <a:pt x="463" y="254"/>
                  </a:cubicBezTo>
                  <a:cubicBezTo>
                    <a:pt x="480" y="233"/>
                    <a:pt x="480" y="233"/>
                    <a:pt x="480" y="233"/>
                  </a:cubicBezTo>
                  <a:close/>
                  <a:moveTo>
                    <a:pt x="510" y="346"/>
                  </a:moveTo>
                  <a:cubicBezTo>
                    <a:pt x="506" y="341"/>
                    <a:pt x="506" y="336"/>
                    <a:pt x="508" y="329"/>
                  </a:cubicBezTo>
                  <a:cubicBezTo>
                    <a:pt x="511" y="323"/>
                    <a:pt x="517" y="314"/>
                    <a:pt x="527" y="305"/>
                  </a:cubicBezTo>
                  <a:cubicBezTo>
                    <a:pt x="537" y="295"/>
                    <a:pt x="545" y="289"/>
                    <a:pt x="552" y="286"/>
                  </a:cubicBezTo>
                  <a:cubicBezTo>
                    <a:pt x="558" y="283"/>
                    <a:pt x="564" y="284"/>
                    <a:pt x="568" y="288"/>
                  </a:cubicBezTo>
                  <a:cubicBezTo>
                    <a:pt x="572" y="292"/>
                    <a:pt x="573" y="298"/>
                    <a:pt x="570" y="305"/>
                  </a:cubicBezTo>
                  <a:cubicBezTo>
                    <a:pt x="567" y="311"/>
                    <a:pt x="561" y="319"/>
                    <a:pt x="551" y="329"/>
                  </a:cubicBezTo>
                  <a:cubicBezTo>
                    <a:pt x="542" y="339"/>
                    <a:pt x="534" y="345"/>
                    <a:pt x="527" y="348"/>
                  </a:cubicBezTo>
                  <a:cubicBezTo>
                    <a:pt x="520" y="350"/>
                    <a:pt x="515" y="350"/>
                    <a:pt x="510" y="346"/>
                  </a:cubicBezTo>
                  <a:close/>
                  <a:moveTo>
                    <a:pt x="512" y="289"/>
                  </a:moveTo>
                  <a:cubicBezTo>
                    <a:pt x="516" y="284"/>
                    <a:pt x="521" y="281"/>
                    <a:pt x="527" y="278"/>
                  </a:cubicBezTo>
                  <a:cubicBezTo>
                    <a:pt x="532" y="276"/>
                    <a:pt x="538" y="274"/>
                    <a:pt x="544" y="274"/>
                  </a:cubicBezTo>
                  <a:cubicBezTo>
                    <a:pt x="549" y="274"/>
                    <a:pt x="554" y="275"/>
                    <a:pt x="558" y="277"/>
                  </a:cubicBezTo>
                  <a:cubicBezTo>
                    <a:pt x="563" y="279"/>
                    <a:pt x="567" y="282"/>
                    <a:pt x="571" y="285"/>
                  </a:cubicBezTo>
                  <a:cubicBezTo>
                    <a:pt x="575" y="289"/>
                    <a:pt x="578" y="293"/>
                    <a:pt x="579" y="298"/>
                  </a:cubicBezTo>
                  <a:cubicBezTo>
                    <a:pt x="581" y="302"/>
                    <a:pt x="582" y="307"/>
                    <a:pt x="582" y="313"/>
                  </a:cubicBezTo>
                  <a:cubicBezTo>
                    <a:pt x="582" y="319"/>
                    <a:pt x="580" y="324"/>
                    <a:pt x="578" y="330"/>
                  </a:cubicBezTo>
                  <a:cubicBezTo>
                    <a:pt x="576" y="335"/>
                    <a:pt x="572" y="340"/>
                    <a:pt x="567" y="345"/>
                  </a:cubicBezTo>
                  <a:cubicBezTo>
                    <a:pt x="564" y="348"/>
                    <a:pt x="560" y="351"/>
                    <a:pt x="556" y="353"/>
                  </a:cubicBezTo>
                  <a:cubicBezTo>
                    <a:pt x="553" y="355"/>
                    <a:pt x="549" y="357"/>
                    <a:pt x="544" y="358"/>
                  </a:cubicBezTo>
                  <a:cubicBezTo>
                    <a:pt x="537" y="360"/>
                    <a:pt x="531" y="360"/>
                    <a:pt x="524" y="358"/>
                  </a:cubicBezTo>
                  <a:cubicBezTo>
                    <a:pt x="518" y="357"/>
                    <a:pt x="512" y="354"/>
                    <a:pt x="508" y="349"/>
                  </a:cubicBezTo>
                  <a:cubicBezTo>
                    <a:pt x="504" y="345"/>
                    <a:pt x="501" y="341"/>
                    <a:pt x="499" y="336"/>
                  </a:cubicBezTo>
                  <a:cubicBezTo>
                    <a:pt x="497" y="331"/>
                    <a:pt x="496" y="326"/>
                    <a:pt x="497" y="321"/>
                  </a:cubicBezTo>
                  <a:cubicBezTo>
                    <a:pt x="497" y="315"/>
                    <a:pt x="498" y="309"/>
                    <a:pt x="501" y="304"/>
                  </a:cubicBezTo>
                  <a:cubicBezTo>
                    <a:pt x="503" y="299"/>
                    <a:pt x="507" y="294"/>
                    <a:pt x="512" y="289"/>
                  </a:cubicBezTo>
                  <a:close/>
                  <a:moveTo>
                    <a:pt x="533" y="371"/>
                  </a:moveTo>
                  <a:cubicBezTo>
                    <a:pt x="535" y="369"/>
                    <a:pt x="535" y="369"/>
                    <a:pt x="535" y="369"/>
                  </a:cubicBezTo>
                  <a:cubicBezTo>
                    <a:pt x="538" y="370"/>
                    <a:pt x="541" y="370"/>
                    <a:pt x="544" y="368"/>
                  </a:cubicBezTo>
                  <a:cubicBezTo>
                    <a:pt x="548" y="366"/>
                    <a:pt x="554" y="362"/>
                    <a:pt x="562" y="355"/>
                  </a:cubicBezTo>
                  <a:cubicBezTo>
                    <a:pt x="566" y="351"/>
                    <a:pt x="566" y="351"/>
                    <a:pt x="566" y="351"/>
                  </a:cubicBezTo>
                  <a:cubicBezTo>
                    <a:pt x="593" y="327"/>
                    <a:pt x="593" y="327"/>
                    <a:pt x="593" y="327"/>
                  </a:cubicBezTo>
                  <a:cubicBezTo>
                    <a:pt x="595" y="324"/>
                    <a:pt x="597" y="322"/>
                    <a:pt x="598" y="321"/>
                  </a:cubicBezTo>
                  <a:cubicBezTo>
                    <a:pt x="598" y="320"/>
                    <a:pt x="598" y="318"/>
                    <a:pt x="598" y="317"/>
                  </a:cubicBezTo>
                  <a:cubicBezTo>
                    <a:pt x="599" y="315"/>
                    <a:pt x="599" y="315"/>
                    <a:pt x="599" y="315"/>
                  </a:cubicBezTo>
                  <a:cubicBezTo>
                    <a:pt x="601" y="318"/>
                    <a:pt x="603" y="320"/>
                    <a:pt x="605" y="322"/>
                  </a:cubicBezTo>
                  <a:cubicBezTo>
                    <a:pt x="607" y="324"/>
                    <a:pt x="609" y="328"/>
                    <a:pt x="613" y="332"/>
                  </a:cubicBezTo>
                  <a:cubicBezTo>
                    <a:pt x="619" y="339"/>
                    <a:pt x="619" y="339"/>
                    <a:pt x="619" y="339"/>
                  </a:cubicBezTo>
                  <a:cubicBezTo>
                    <a:pt x="628" y="348"/>
                    <a:pt x="633" y="356"/>
                    <a:pt x="634" y="362"/>
                  </a:cubicBezTo>
                  <a:cubicBezTo>
                    <a:pt x="635" y="368"/>
                    <a:pt x="633" y="374"/>
                    <a:pt x="628" y="379"/>
                  </a:cubicBezTo>
                  <a:cubicBezTo>
                    <a:pt x="624" y="382"/>
                    <a:pt x="619" y="384"/>
                    <a:pt x="614" y="383"/>
                  </a:cubicBezTo>
                  <a:cubicBezTo>
                    <a:pt x="609" y="382"/>
                    <a:pt x="603" y="380"/>
                    <a:pt x="597" y="375"/>
                  </a:cubicBezTo>
                  <a:cubicBezTo>
                    <a:pt x="599" y="379"/>
                    <a:pt x="601" y="383"/>
                    <a:pt x="601" y="387"/>
                  </a:cubicBezTo>
                  <a:cubicBezTo>
                    <a:pt x="601" y="392"/>
                    <a:pt x="600" y="396"/>
                    <a:pt x="598" y="401"/>
                  </a:cubicBezTo>
                  <a:cubicBezTo>
                    <a:pt x="597" y="402"/>
                    <a:pt x="595" y="405"/>
                    <a:pt x="594" y="408"/>
                  </a:cubicBezTo>
                  <a:cubicBezTo>
                    <a:pt x="588" y="419"/>
                    <a:pt x="586" y="425"/>
                    <a:pt x="588" y="429"/>
                  </a:cubicBezTo>
                  <a:cubicBezTo>
                    <a:pt x="587" y="430"/>
                    <a:pt x="587" y="430"/>
                    <a:pt x="587" y="430"/>
                  </a:cubicBezTo>
                  <a:cubicBezTo>
                    <a:pt x="584" y="426"/>
                    <a:pt x="581" y="424"/>
                    <a:pt x="580" y="422"/>
                  </a:cubicBezTo>
                  <a:cubicBezTo>
                    <a:pt x="578" y="420"/>
                    <a:pt x="576" y="418"/>
                    <a:pt x="575" y="416"/>
                  </a:cubicBezTo>
                  <a:cubicBezTo>
                    <a:pt x="573" y="414"/>
                    <a:pt x="571" y="412"/>
                    <a:pt x="570" y="411"/>
                  </a:cubicBezTo>
                  <a:cubicBezTo>
                    <a:pt x="569" y="410"/>
                    <a:pt x="568" y="409"/>
                    <a:pt x="567" y="408"/>
                  </a:cubicBezTo>
                  <a:cubicBezTo>
                    <a:pt x="568" y="407"/>
                    <a:pt x="570" y="404"/>
                    <a:pt x="572" y="401"/>
                  </a:cubicBezTo>
                  <a:cubicBezTo>
                    <a:pt x="585" y="382"/>
                    <a:pt x="590" y="370"/>
                    <a:pt x="585" y="365"/>
                  </a:cubicBezTo>
                  <a:cubicBezTo>
                    <a:pt x="585" y="364"/>
                    <a:pt x="584" y="364"/>
                    <a:pt x="584" y="363"/>
                  </a:cubicBezTo>
                  <a:cubicBezTo>
                    <a:pt x="583" y="363"/>
                    <a:pt x="583" y="363"/>
                    <a:pt x="583" y="363"/>
                  </a:cubicBezTo>
                  <a:cubicBezTo>
                    <a:pt x="576" y="370"/>
                    <a:pt x="576" y="370"/>
                    <a:pt x="576" y="370"/>
                  </a:cubicBezTo>
                  <a:cubicBezTo>
                    <a:pt x="568" y="377"/>
                    <a:pt x="562" y="383"/>
                    <a:pt x="560" y="386"/>
                  </a:cubicBezTo>
                  <a:cubicBezTo>
                    <a:pt x="558" y="389"/>
                    <a:pt x="557" y="392"/>
                    <a:pt x="558" y="395"/>
                  </a:cubicBezTo>
                  <a:cubicBezTo>
                    <a:pt x="557" y="397"/>
                    <a:pt x="557" y="397"/>
                    <a:pt x="557" y="397"/>
                  </a:cubicBezTo>
                  <a:cubicBezTo>
                    <a:pt x="555" y="395"/>
                    <a:pt x="553" y="392"/>
                    <a:pt x="551" y="390"/>
                  </a:cubicBezTo>
                  <a:cubicBezTo>
                    <a:pt x="550" y="388"/>
                    <a:pt x="547" y="386"/>
                    <a:pt x="545" y="383"/>
                  </a:cubicBezTo>
                  <a:cubicBezTo>
                    <a:pt x="543" y="381"/>
                    <a:pt x="541" y="379"/>
                    <a:pt x="539" y="377"/>
                  </a:cubicBezTo>
                  <a:cubicBezTo>
                    <a:pt x="537" y="374"/>
                    <a:pt x="535" y="372"/>
                    <a:pt x="533" y="371"/>
                  </a:cubicBezTo>
                  <a:close/>
                  <a:moveTo>
                    <a:pt x="587" y="359"/>
                  </a:moveTo>
                  <a:cubicBezTo>
                    <a:pt x="588" y="360"/>
                    <a:pt x="588" y="361"/>
                    <a:pt x="588" y="361"/>
                  </a:cubicBezTo>
                  <a:cubicBezTo>
                    <a:pt x="589" y="362"/>
                    <a:pt x="589" y="362"/>
                    <a:pt x="590" y="363"/>
                  </a:cubicBezTo>
                  <a:cubicBezTo>
                    <a:pt x="594" y="367"/>
                    <a:pt x="597" y="369"/>
                    <a:pt x="601" y="369"/>
                  </a:cubicBezTo>
                  <a:cubicBezTo>
                    <a:pt x="604" y="369"/>
                    <a:pt x="608" y="367"/>
                    <a:pt x="612" y="363"/>
                  </a:cubicBezTo>
                  <a:cubicBezTo>
                    <a:pt x="616" y="359"/>
                    <a:pt x="619" y="356"/>
                    <a:pt x="619" y="352"/>
                  </a:cubicBezTo>
                  <a:cubicBezTo>
                    <a:pt x="620" y="349"/>
                    <a:pt x="618" y="345"/>
                    <a:pt x="615" y="342"/>
                  </a:cubicBezTo>
                  <a:cubicBezTo>
                    <a:pt x="614" y="341"/>
                    <a:pt x="614" y="340"/>
                    <a:pt x="613" y="339"/>
                  </a:cubicBezTo>
                  <a:cubicBezTo>
                    <a:pt x="612" y="339"/>
                    <a:pt x="612" y="338"/>
                    <a:pt x="611" y="338"/>
                  </a:cubicBezTo>
                  <a:cubicBezTo>
                    <a:pt x="587" y="359"/>
                    <a:pt x="587" y="359"/>
                    <a:pt x="587" y="359"/>
                  </a:cubicBezTo>
                  <a:close/>
                  <a:moveTo>
                    <a:pt x="576" y="417"/>
                  </a:moveTo>
                  <a:cubicBezTo>
                    <a:pt x="577" y="419"/>
                    <a:pt x="579" y="420"/>
                    <a:pt x="580" y="422"/>
                  </a:cubicBezTo>
                  <a:cubicBezTo>
                    <a:pt x="581" y="424"/>
                    <a:pt x="583" y="426"/>
                    <a:pt x="584" y="428"/>
                  </a:cubicBezTo>
                  <a:cubicBezTo>
                    <a:pt x="586" y="430"/>
                    <a:pt x="587" y="432"/>
                    <a:pt x="588" y="434"/>
                  </a:cubicBezTo>
                  <a:cubicBezTo>
                    <a:pt x="590" y="436"/>
                    <a:pt x="591" y="438"/>
                    <a:pt x="592" y="439"/>
                  </a:cubicBezTo>
                  <a:cubicBezTo>
                    <a:pt x="593" y="438"/>
                    <a:pt x="593" y="438"/>
                    <a:pt x="593" y="438"/>
                  </a:cubicBezTo>
                  <a:cubicBezTo>
                    <a:pt x="592" y="434"/>
                    <a:pt x="593" y="430"/>
                    <a:pt x="596" y="426"/>
                  </a:cubicBezTo>
                  <a:cubicBezTo>
                    <a:pt x="599" y="422"/>
                    <a:pt x="606" y="415"/>
                    <a:pt x="618" y="407"/>
                  </a:cubicBezTo>
                  <a:cubicBezTo>
                    <a:pt x="639" y="392"/>
                    <a:pt x="639" y="392"/>
                    <a:pt x="639" y="392"/>
                  </a:cubicBezTo>
                  <a:cubicBezTo>
                    <a:pt x="597" y="449"/>
                    <a:pt x="597" y="449"/>
                    <a:pt x="597" y="449"/>
                  </a:cubicBezTo>
                  <a:cubicBezTo>
                    <a:pt x="598" y="450"/>
                    <a:pt x="598" y="450"/>
                    <a:pt x="598" y="450"/>
                  </a:cubicBezTo>
                  <a:cubicBezTo>
                    <a:pt x="668" y="428"/>
                    <a:pt x="668" y="428"/>
                    <a:pt x="668" y="428"/>
                  </a:cubicBezTo>
                  <a:cubicBezTo>
                    <a:pt x="643" y="447"/>
                    <a:pt x="643" y="447"/>
                    <a:pt x="643" y="447"/>
                  </a:cubicBezTo>
                  <a:cubicBezTo>
                    <a:pt x="640" y="449"/>
                    <a:pt x="640" y="449"/>
                    <a:pt x="640" y="449"/>
                  </a:cubicBezTo>
                  <a:cubicBezTo>
                    <a:pt x="631" y="456"/>
                    <a:pt x="624" y="460"/>
                    <a:pt x="620" y="461"/>
                  </a:cubicBezTo>
                  <a:cubicBezTo>
                    <a:pt x="617" y="463"/>
                    <a:pt x="613" y="463"/>
                    <a:pt x="610" y="461"/>
                  </a:cubicBezTo>
                  <a:cubicBezTo>
                    <a:pt x="609" y="463"/>
                    <a:pt x="609" y="463"/>
                    <a:pt x="609" y="463"/>
                  </a:cubicBezTo>
                  <a:cubicBezTo>
                    <a:pt x="610" y="465"/>
                    <a:pt x="612" y="467"/>
                    <a:pt x="614" y="469"/>
                  </a:cubicBezTo>
                  <a:cubicBezTo>
                    <a:pt x="616" y="471"/>
                    <a:pt x="618" y="474"/>
                    <a:pt x="619" y="476"/>
                  </a:cubicBezTo>
                  <a:cubicBezTo>
                    <a:pt x="621" y="479"/>
                    <a:pt x="623" y="482"/>
                    <a:pt x="625" y="484"/>
                  </a:cubicBezTo>
                  <a:cubicBezTo>
                    <a:pt x="627" y="487"/>
                    <a:pt x="628" y="489"/>
                    <a:pt x="629" y="491"/>
                  </a:cubicBezTo>
                  <a:cubicBezTo>
                    <a:pt x="631" y="490"/>
                    <a:pt x="631" y="490"/>
                    <a:pt x="631" y="490"/>
                  </a:cubicBezTo>
                  <a:cubicBezTo>
                    <a:pt x="631" y="487"/>
                    <a:pt x="632" y="484"/>
                    <a:pt x="634" y="480"/>
                  </a:cubicBezTo>
                  <a:cubicBezTo>
                    <a:pt x="637" y="477"/>
                    <a:pt x="643" y="472"/>
                    <a:pt x="652" y="465"/>
                  </a:cubicBezTo>
                  <a:cubicBezTo>
                    <a:pt x="685" y="442"/>
                    <a:pt x="685" y="442"/>
                    <a:pt x="685" y="442"/>
                  </a:cubicBezTo>
                  <a:cubicBezTo>
                    <a:pt x="688" y="440"/>
                    <a:pt x="690" y="438"/>
                    <a:pt x="691" y="438"/>
                  </a:cubicBezTo>
                  <a:cubicBezTo>
                    <a:pt x="693" y="438"/>
                    <a:pt x="694" y="438"/>
                    <a:pt x="696" y="439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7" y="438"/>
                    <a:pt x="697" y="438"/>
                    <a:pt x="697" y="438"/>
                  </a:cubicBezTo>
                  <a:cubicBezTo>
                    <a:pt x="693" y="433"/>
                    <a:pt x="690" y="429"/>
                    <a:pt x="688" y="426"/>
                  </a:cubicBezTo>
                  <a:cubicBezTo>
                    <a:pt x="687" y="426"/>
                    <a:pt x="687" y="425"/>
                    <a:pt x="686" y="424"/>
                  </a:cubicBezTo>
                  <a:cubicBezTo>
                    <a:pt x="685" y="422"/>
                    <a:pt x="684" y="421"/>
                    <a:pt x="683" y="419"/>
                  </a:cubicBezTo>
                  <a:cubicBezTo>
                    <a:pt x="633" y="434"/>
                    <a:pt x="633" y="434"/>
                    <a:pt x="633" y="434"/>
                  </a:cubicBezTo>
                  <a:cubicBezTo>
                    <a:pt x="664" y="393"/>
                    <a:pt x="664" y="393"/>
                    <a:pt x="664" y="393"/>
                  </a:cubicBezTo>
                  <a:cubicBezTo>
                    <a:pt x="663" y="391"/>
                    <a:pt x="662" y="390"/>
                    <a:pt x="660" y="388"/>
                  </a:cubicBezTo>
                  <a:cubicBezTo>
                    <a:pt x="659" y="387"/>
                    <a:pt x="657" y="384"/>
                    <a:pt x="655" y="381"/>
                  </a:cubicBezTo>
                  <a:cubicBezTo>
                    <a:pt x="653" y="378"/>
                    <a:pt x="651" y="375"/>
                    <a:pt x="650" y="374"/>
                  </a:cubicBezTo>
                  <a:cubicBezTo>
                    <a:pt x="649" y="372"/>
                    <a:pt x="647" y="370"/>
                    <a:pt x="646" y="369"/>
                  </a:cubicBezTo>
                  <a:cubicBezTo>
                    <a:pt x="645" y="370"/>
                    <a:pt x="645" y="370"/>
                    <a:pt x="645" y="370"/>
                  </a:cubicBezTo>
                  <a:cubicBezTo>
                    <a:pt x="646" y="373"/>
                    <a:pt x="646" y="376"/>
                    <a:pt x="645" y="378"/>
                  </a:cubicBezTo>
                  <a:cubicBezTo>
                    <a:pt x="644" y="381"/>
                    <a:pt x="642" y="383"/>
                    <a:pt x="637" y="387"/>
                  </a:cubicBezTo>
                  <a:cubicBezTo>
                    <a:pt x="615" y="403"/>
                    <a:pt x="615" y="403"/>
                    <a:pt x="615" y="403"/>
                  </a:cubicBezTo>
                  <a:cubicBezTo>
                    <a:pt x="603" y="411"/>
                    <a:pt x="595" y="416"/>
                    <a:pt x="590" y="418"/>
                  </a:cubicBezTo>
                  <a:cubicBezTo>
                    <a:pt x="585" y="419"/>
                    <a:pt x="581" y="419"/>
                    <a:pt x="577" y="416"/>
                  </a:cubicBezTo>
                  <a:cubicBezTo>
                    <a:pt x="576" y="417"/>
                    <a:pt x="576" y="417"/>
                    <a:pt x="576" y="417"/>
                  </a:cubicBezTo>
                  <a:close/>
                  <a:moveTo>
                    <a:pt x="677" y="496"/>
                  </a:moveTo>
                  <a:cubicBezTo>
                    <a:pt x="670" y="483"/>
                    <a:pt x="670" y="483"/>
                    <a:pt x="670" y="483"/>
                  </a:cubicBezTo>
                  <a:cubicBezTo>
                    <a:pt x="690" y="480"/>
                    <a:pt x="690" y="480"/>
                    <a:pt x="690" y="480"/>
                  </a:cubicBezTo>
                  <a:cubicBezTo>
                    <a:pt x="677" y="496"/>
                    <a:pt x="677" y="496"/>
                    <a:pt x="677" y="496"/>
                  </a:cubicBezTo>
                  <a:close/>
                  <a:moveTo>
                    <a:pt x="622" y="479"/>
                  </a:moveTo>
                  <a:cubicBezTo>
                    <a:pt x="623" y="478"/>
                    <a:pt x="623" y="478"/>
                    <a:pt x="623" y="478"/>
                  </a:cubicBezTo>
                  <a:cubicBezTo>
                    <a:pt x="627" y="481"/>
                    <a:pt x="637" y="482"/>
                    <a:pt x="653" y="480"/>
                  </a:cubicBezTo>
                  <a:cubicBezTo>
                    <a:pt x="655" y="480"/>
                    <a:pt x="655" y="480"/>
                    <a:pt x="655" y="480"/>
                  </a:cubicBezTo>
                  <a:cubicBezTo>
                    <a:pt x="719" y="471"/>
                    <a:pt x="719" y="471"/>
                    <a:pt x="719" y="471"/>
                  </a:cubicBezTo>
                  <a:cubicBezTo>
                    <a:pt x="720" y="473"/>
                    <a:pt x="720" y="473"/>
                    <a:pt x="720" y="473"/>
                  </a:cubicBezTo>
                  <a:cubicBezTo>
                    <a:pt x="671" y="536"/>
                    <a:pt x="671" y="536"/>
                    <a:pt x="671" y="536"/>
                  </a:cubicBezTo>
                  <a:cubicBezTo>
                    <a:pt x="668" y="541"/>
                    <a:pt x="666" y="544"/>
                    <a:pt x="665" y="546"/>
                  </a:cubicBezTo>
                  <a:cubicBezTo>
                    <a:pt x="665" y="548"/>
                    <a:pt x="665" y="550"/>
                    <a:pt x="666" y="551"/>
                  </a:cubicBezTo>
                  <a:cubicBezTo>
                    <a:pt x="664" y="552"/>
                    <a:pt x="664" y="552"/>
                    <a:pt x="664" y="552"/>
                  </a:cubicBezTo>
                  <a:cubicBezTo>
                    <a:pt x="664" y="551"/>
                    <a:pt x="664" y="551"/>
                    <a:pt x="664" y="551"/>
                  </a:cubicBezTo>
                  <a:cubicBezTo>
                    <a:pt x="660" y="545"/>
                    <a:pt x="658" y="540"/>
                    <a:pt x="656" y="537"/>
                  </a:cubicBezTo>
                  <a:cubicBezTo>
                    <a:pt x="654" y="534"/>
                    <a:pt x="651" y="528"/>
                    <a:pt x="646" y="521"/>
                  </a:cubicBezTo>
                  <a:cubicBezTo>
                    <a:pt x="645" y="520"/>
                    <a:pt x="645" y="519"/>
                    <a:pt x="645" y="519"/>
                  </a:cubicBezTo>
                  <a:cubicBezTo>
                    <a:pt x="646" y="518"/>
                    <a:pt x="646" y="518"/>
                    <a:pt x="646" y="518"/>
                  </a:cubicBezTo>
                  <a:cubicBezTo>
                    <a:pt x="647" y="519"/>
                    <a:pt x="649" y="520"/>
                    <a:pt x="650" y="520"/>
                  </a:cubicBezTo>
                  <a:cubicBezTo>
                    <a:pt x="652" y="521"/>
                    <a:pt x="653" y="520"/>
                    <a:pt x="655" y="519"/>
                  </a:cubicBezTo>
                  <a:cubicBezTo>
                    <a:pt x="656" y="519"/>
                    <a:pt x="657" y="518"/>
                    <a:pt x="658" y="517"/>
                  </a:cubicBezTo>
                  <a:cubicBezTo>
                    <a:pt x="659" y="516"/>
                    <a:pt x="661" y="515"/>
                    <a:pt x="662" y="513"/>
                  </a:cubicBezTo>
                  <a:cubicBezTo>
                    <a:pt x="673" y="499"/>
                    <a:pt x="673" y="499"/>
                    <a:pt x="673" y="499"/>
                  </a:cubicBezTo>
                  <a:cubicBezTo>
                    <a:pt x="664" y="484"/>
                    <a:pt x="664" y="484"/>
                    <a:pt x="664" y="484"/>
                  </a:cubicBezTo>
                  <a:cubicBezTo>
                    <a:pt x="659" y="485"/>
                    <a:pt x="654" y="486"/>
                    <a:pt x="651" y="487"/>
                  </a:cubicBezTo>
                  <a:cubicBezTo>
                    <a:pt x="647" y="488"/>
                    <a:pt x="644" y="489"/>
                    <a:pt x="642" y="490"/>
                  </a:cubicBezTo>
                  <a:cubicBezTo>
                    <a:pt x="639" y="492"/>
                    <a:pt x="638" y="494"/>
                    <a:pt x="637" y="495"/>
                  </a:cubicBezTo>
                  <a:cubicBezTo>
                    <a:pt x="636" y="497"/>
                    <a:pt x="636" y="499"/>
                    <a:pt x="637" y="501"/>
                  </a:cubicBezTo>
                  <a:cubicBezTo>
                    <a:pt x="635" y="502"/>
                    <a:pt x="635" y="502"/>
                    <a:pt x="635" y="502"/>
                  </a:cubicBezTo>
                  <a:cubicBezTo>
                    <a:pt x="634" y="500"/>
                    <a:pt x="633" y="498"/>
                    <a:pt x="632" y="496"/>
                  </a:cubicBezTo>
                  <a:cubicBezTo>
                    <a:pt x="631" y="494"/>
                    <a:pt x="630" y="492"/>
                    <a:pt x="629" y="491"/>
                  </a:cubicBezTo>
                  <a:cubicBezTo>
                    <a:pt x="628" y="489"/>
                    <a:pt x="627" y="487"/>
                    <a:pt x="626" y="485"/>
                  </a:cubicBezTo>
                  <a:cubicBezTo>
                    <a:pt x="625" y="483"/>
                    <a:pt x="623" y="481"/>
                    <a:pt x="622" y="479"/>
                  </a:cubicBezTo>
                  <a:close/>
                  <a:moveTo>
                    <a:pt x="657" y="541"/>
                  </a:moveTo>
                  <a:cubicBezTo>
                    <a:pt x="660" y="546"/>
                    <a:pt x="662" y="552"/>
                    <a:pt x="665" y="556"/>
                  </a:cubicBezTo>
                  <a:cubicBezTo>
                    <a:pt x="667" y="561"/>
                    <a:pt x="669" y="564"/>
                    <a:pt x="670" y="566"/>
                  </a:cubicBezTo>
                  <a:cubicBezTo>
                    <a:pt x="685" y="595"/>
                    <a:pt x="685" y="595"/>
                    <a:pt x="685" y="595"/>
                  </a:cubicBezTo>
                  <a:cubicBezTo>
                    <a:pt x="713" y="587"/>
                    <a:pt x="713" y="587"/>
                    <a:pt x="713" y="587"/>
                  </a:cubicBezTo>
                  <a:cubicBezTo>
                    <a:pt x="713" y="586"/>
                    <a:pt x="713" y="586"/>
                    <a:pt x="713" y="586"/>
                  </a:cubicBezTo>
                  <a:cubicBezTo>
                    <a:pt x="704" y="585"/>
                    <a:pt x="696" y="583"/>
                    <a:pt x="690" y="581"/>
                  </a:cubicBezTo>
                  <a:cubicBezTo>
                    <a:pt x="685" y="579"/>
                    <a:pt x="681" y="576"/>
                    <a:pt x="679" y="572"/>
                  </a:cubicBezTo>
                  <a:cubicBezTo>
                    <a:pt x="677" y="569"/>
                    <a:pt x="677" y="566"/>
                    <a:pt x="679" y="563"/>
                  </a:cubicBezTo>
                  <a:cubicBezTo>
                    <a:pt x="681" y="561"/>
                    <a:pt x="684" y="558"/>
                    <a:pt x="690" y="555"/>
                  </a:cubicBezTo>
                  <a:cubicBezTo>
                    <a:pt x="735" y="532"/>
                    <a:pt x="735" y="532"/>
                    <a:pt x="735" y="532"/>
                  </a:cubicBezTo>
                  <a:cubicBezTo>
                    <a:pt x="738" y="531"/>
                    <a:pt x="741" y="530"/>
                    <a:pt x="742" y="530"/>
                  </a:cubicBezTo>
                  <a:cubicBezTo>
                    <a:pt x="743" y="530"/>
                    <a:pt x="745" y="530"/>
                    <a:pt x="746" y="531"/>
                  </a:cubicBezTo>
                  <a:cubicBezTo>
                    <a:pt x="748" y="530"/>
                    <a:pt x="748" y="530"/>
                    <a:pt x="748" y="530"/>
                  </a:cubicBezTo>
                  <a:cubicBezTo>
                    <a:pt x="746" y="527"/>
                    <a:pt x="744" y="524"/>
                    <a:pt x="743" y="523"/>
                  </a:cubicBezTo>
                  <a:cubicBezTo>
                    <a:pt x="742" y="521"/>
                    <a:pt x="741" y="519"/>
                    <a:pt x="741" y="518"/>
                  </a:cubicBezTo>
                  <a:cubicBezTo>
                    <a:pt x="740" y="516"/>
                    <a:pt x="739" y="515"/>
                    <a:pt x="738" y="513"/>
                  </a:cubicBezTo>
                  <a:cubicBezTo>
                    <a:pt x="737" y="511"/>
                    <a:pt x="736" y="508"/>
                    <a:pt x="734" y="505"/>
                  </a:cubicBezTo>
                  <a:cubicBezTo>
                    <a:pt x="733" y="505"/>
                    <a:pt x="733" y="505"/>
                    <a:pt x="733" y="505"/>
                  </a:cubicBezTo>
                  <a:cubicBezTo>
                    <a:pt x="733" y="507"/>
                    <a:pt x="733" y="509"/>
                    <a:pt x="732" y="510"/>
                  </a:cubicBezTo>
                  <a:cubicBezTo>
                    <a:pt x="731" y="511"/>
                    <a:pt x="729" y="512"/>
                    <a:pt x="725" y="514"/>
                  </a:cubicBezTo>
                  <a:cubicBezTo>
                    <a:pt x="684" y="535"/>
                    <a:pt x="684" y="535"/>
                    <a:pt x="684" y="535"/>
                  </a:cubicBezTo>
                  <a:cubicBezTo>
                    <a:pt x="677" y="539"/>
                    <a:pt x="672" y="541"/>
                    <a:pt x="668" y="541"/>
                  </a:cubicBezTo>
                  <a:cubicBezTo>
                    <a:pt x="664" y="542"/>
                    <a:pt x="661" y="542"/>
                    <a:pt x="658" y="540"/>
                  </a:cubicBezTo>
                  <a:cubicBezTo>
                    <a:pt x="657" y="541"/>
                    <a:pt x="657" y="541"/>
                    <a:pt x="657" y="541"/>
                  </a:cubicBezTo>
                  <a:close/>
                  <a:moveTo>
                    <a:pt x="773" y="588"/>
                  </a:moveTo>
                  <a:cubicBezTo>
                    <a:pt x="774" y="588"/>
                    <a:pt x="774" y="588"/>
                    <a:pt x="774" y="588"/>
                  </a:cubicBezTo>
                  <a:cubicBezTo>
                    <a:pt x="776" y="592"/>
                    <a:pt x="777" y="596"/>
                    <a:pt x="778" y="598"/>
                  </a:cubicBezTo>
                  <a:cubicBezTo>
                    <a:pt x="779" y="600"/>
                    <a:pt x="779" y="602"/>
                    <a:pt x="780" y="604"/>
                  </a:cubicBezTo>
                  <a:cubicBezTo>
                    <a:pt x="781" y="608"/>
                    <a:pt x="784" y="613"/>
                    <a:pt x="787" y="620"/>
                  </a:cubicBezTo>
                  <a:cubicBezTo>
                    <a:pt x="787" y="620"/>
                    <a:pt x="787" y="620"/>
                    <a:pt x="787" y="620"/>
                  </a:cubicBezTo>
                  <a:cubicBezTo>
                    <a:pt x="785" y="621"/>
                    <a:pt x="785" y="621"/>
                    <a:pt x="785" y="621"/>
                  </a:cubicBezTo>
                  <a:cubicBezTo>
                    <a:pt x="783" y="619"/>
                    <a:pt x="779" y="618"/>
                    <a:pt x="776" y="619"/>
                  </a:cubicBezTo>
                  <a:cubicBezTo>
                    <a:pt x="772" y="619"/>
                    <a:pt x="765" y="621"/>
                    <a:pt x="755" y="625"/>
                  </a:cubicBezTo>
                  <a:cubicBezTo>
                    <a:pt x="750" y="627"/>
                    <a:pt x="750" y="627"/>
                    <a:pt x="750" y="627"/>
                  </a:cubicBezTo>
                  <a:cubicBezTo>
                    <a:pt x="735" y="633"/>
                    <a:pt x="735" y="633"/>
                    <a:pt x="735" y="633"/>
                  </a:cubicBezTo>
                  <a:cubicBezTo>
                    <a:pt x="726" y="636"/>
                    <a:pt x="720" y="640"/>
                    <a:pt x="717" y="644"/>
                  </a:cubicBezTo>
                  <a:cubicBezTo>
                    <a:pt x="713" y="648"/>
                    <a:pt x="713" y="653"/>
                    <a:pt x="715" y="659"/>
                  </a:cubicBezTo>
                  <a:cubicBezTo>
                    <a:pt x="716" y="661"/>
                    <a:pt x="718" y="663"/>
                    <a:pt x="720" y="665"/>
                  </a:cubicBezTo>
                  <a:cubicBezTo>
                    <a:pt x="723" y="667"/>
                    <a:pt x="726" y="668"/>
                    <a:pt x="729" y="668"/>
                  </a:cubicBezTo>
                  <a:cubicBezTo>
                    <a:pt x="731" y="669"/>
                    <a:pt x="734" y="668"/>
                    <a:pt x="736" y="668"/>
                  </a:cubicBezTo>
                  <a:cubicBezTo>
                    <a:pt x="739" y="667"/>
                    <a:pt x="743" y="666"/>
                    <a:pt x="749" y="664"/>
                  </a:cubicBezTo>
                  <a:cubicBezTo>
                    <a:pt x="759" y="660"/>
                    <a:pt x="759" y="660"/>
                    <a:pt x="759" y="660"/>
                  </a:cubicBezTo>
                  <a:cubicBezTo>
                    <a:pt x="773" y="655"/>
                    <a:pt x="781" y="651"/>
                    <a:pt x="785" y="648"/>
                  </a:cubicBezTo>
                  <a:cubicBezTo>
                    <a:pt x="788" y="644"/>
                    <a:pt x="790" y="641"/>
                    <a:pt x="791" y="636"/>
                  </a:cubicBezTo>
                  <a:cubicBezTo>
                    <a:pt x="792" y="635"/>
                    <a:pt x="792" y="635"/>
                    <a:pt x="792" y="635"/>
                  </a:cubicBezTo>
                  <a:cubicBezTo>
                    <a:pt x="793" y="637"/>
                    <a:pt x="793" y="639"/>
                    <a:pt x="794" y="640"/>
                  </a:cubicBezTo>
                  <a:cubicBezTo>
                    <a:pt x="795" y="642"/>
                    <a:pt x="796" y="645"/>
                    <a:pt x="797" y="648"/>
                  </a:cubicBezTo>
                  <a:cubicBezTo>
                    <a:pt x="798" y="652"/>
                    <a:pt x="799" y="655"/>
                    <a:pt x="800" y="656"/>
                  </a:cubicBezTo>
                  <a:cubicBezTo>
                    <a:pt x="801" y="658"/>
                    <a:pt x="802" y="660"/>
                    <a:pt x="802" y="661"/>
                  </a:cubicBezTo>
                  <a:cubicBezTo>
                    <a:pt x="801" y="662"/>
                    <a:pt x="801" y="662"/>
                    <a:pt x="801" y="662"/>
                  </a:cubicBezTo>
                  <a:cubicBezTo>
                    <a:pt x="797" y="658"/>
                    <a:pt x="793" y="657"/>
                    <a:pt x="788" y="657"/>
                  </a:cubicBezTo>
                  <a:cubicBezTo>
                    <a:pt x="783" y="657"/>
                    <a:pt x="774" y="660"/>
                    <a:pt x="761" y="665"/>
                  </a:cubicBezTo>
                  <a:cubicBezTo>
                    <a:pt x="750" y="669"/>
                    <a:pt x="750" y="669"/>
                    <a:pt x="750" y="669"/>
                  </a:cubicBezTo>
                  <a:cubicBezTo>
                    <a:pt x="738" y="674"/>
                    <a:pt x="729" y="675"/>
                    <a:pt x="722" y="672"/>
                  </a:cubicBezTo>
                  <a:cubicBezTo>
                    <a:pt x="715" y="670"/>
                    <a:pt x="709" y="664"/>
                    <a:pt x="706" y="654"/>
                  </a:cubicBezTo>
                  <a:cubicBezTo>
                    <a:pt x="702" y="644"/>
                    <a:pt x="702" y="636"/>
                    <a:pt x="705" y="630"/>
                  </a:cubicBezTo>
                  <a:cubicBezTo>
                    <a:pt x="708" y="624"/>
                    <a:pt x="715" y="618"/>
                    <a:pt x="726" y="614"/>
                  </a:cubicBezTo>
                  <a:cubicBezTo>
                    <a:pt x="743" y="608"/>
                    <a:pt x="743" y="608"/>
                    <a:pt x="743" y="608"/>
                  </a:cubicBezTo>
                  <a:cubicBezTo>
                    <a:pt x="756" y="603"/>
                    <a:pt x="763" y="599"/>
                    <a:pt x="767" y="597"/>
                  </a:cubicBezTo>
                  <a:cubicBezTo>
                    <a:pt x="770" y="594"/>
                    <a:pt x="772" y="592"/>
                    <a:pt x="773" y="588"/>
                  </a:cubicBezTo>
                  <a:close/>
                  <a:moveTo>
                    <a:pt x="786" y="674"/>
                  </a:moveTo>
                  <a:cubicBezTo>
                    <a:pt x="733" y="742"/>
                    <a:pt x="733" y="742"/>
                    <a:pt x="733" y="742"/>
                  </a:cubicBezTo>
                  <a:cubicBezTo>
                    <a:pt x="734" y="744"/>
                    <a:pt x="734" y="744"/>
                    <a:pt x="734" y="744"/>
                  </a:cubicBezTo>
                  <a:cubicBezTo>
                    <a:pt x="780" y="731"/>
                    <a:pt x="780" y="731"/>
                    <a:pt x="780" y="731"/>
                  </a:cubicBezTo>
                  <a:cubicBezTo>
                    <a:pt x="794" y="727"/>
                    <a:pt x="803" y="725"/>
                    <a:pt x="808" y="726"/>
                  </a:cubicBezTo>
                  <a:cubicBezTo>
                    <a:pt x="813" y="726"/>
                    <a:pt x="817" y="728"/>
                    <a:pt x="820" y="732"/>
                  </a:cubicBezTo>
                  <a:cubicBezTo>
                    <a:pt x="822" y="731"/>
                    <a:pt x="822" y="731"/>
                    <a:pt x="822" y="731"/>
                  </a:cubicBezTo>
                  <a:cubicBezTo>
                    <a:pt x="821" y="730"/>
                    <a:pt x="821" y="728"/>
                    <a:pt x="820" y="726"/>
                  </a:cubicBezTo>
                  <a:cubicBezTo>
                    <a:pt x="820" y="724"/>
                    <a:pt x="819" y="722"/>
                    <a:pt x="818" y="718"/>
                  </a:cubicBezTo>
                  <a:cubicBezTo>
                    <a:pt x="817" y="714"/>
                    <a:pt x="816" y="712"/>
                    <a:pt x="816" y="710"/>
                  </a:cubicBezTo>
                  <a:cubicBezTo>
                    <a:pt x="815" y="708"/>
                    <a:pt x="815" y="706"/>
                    <a:pt x="814" y="705"/>
                  </a:cubicBezTo>
                  <a:cubicBezTo>
                    <a:pt x="812" y="705"/>
                    <a:pt x="812" y="705"/>
                    <a:pt x="812" y="705"/>
                  </a:cubicBezTo>
                  <a:cubicBezTo>
                    <a:pt x="812" y="710"/>
                    <a:pt x="810" y="713"/>
                    <a:pt x="806" y="716"/>
                  </a:cubicBezTo>
                  <a:cubicBezTo>
                    <a:pt x="802" y="719"/>
                    <a:pt x="793" y="722"/>
                    <a:pt x="779" y="726"/>
                  </a:cubicBezTo>
                  <a:cubicBezTo>
                    <a:pt x="771" y="729"/>
                    <a:pt x="771" y="729"/>
                    <a:pt x="771" y="729"/>
                  </a:cubicBezTo>
                  <a:cubicBezTo>
                    <a:pt x="807" y="681"/>
                    <a:pt x="807" y="681"/>
                    <a:pt x="807" y="681"/>
                  </a:cubicBezTo>
                  <a:cubicBezTo>
                    <a:pt x="807" y="680"/>
                    <a:pt x="807" y="678"/>
                    <a:pt x="806" y="676"/>
                  </a:cubicBezTo>
                  <a:cubicBezTo>
                    <a:pt x="805" y="674"/>
                    <a:pt x="805" y="672"/>
                    <a:pt x="804" y="671"/>
                  </a:cubicBezTo>
                  <a:cubicBezTo>
                    <a:pt x="804" y="669"/>
                    <a:pt x="803" y="667"/>
                    <a:pt x="802" y="663"/>
                  </a:cubicBezTo>
                  <a:cubicBezTo>
                    <a:pt x="801" y="659"/>
                    <a:pt x="801" y="657"/>
                    <a:pt x="800" y="656"/>
                  </a:cubicBezTo>
                  <a:cubicBezTo>
                    <a:pt x="799" y="656"/>
                    <a:pt x="799" y="656"/>
                    <a:pt x="799" y="656"/>
                  </a:cubicBezTo>
                  <a:cubicBezTo>
                    <a:pt x="799" y="660"/>
                    <a:pt x="798" y="662"/>
                    <a:pt x="796" y="664"/>
                  </a:cubicBezTo>
                  <a:cubicBezTo>
                    <a:pt x="794" y="666"/>
                    <a:pt x="791" y="668"/>
                    <a:pt x="785" y="669"/>
                  </a:cubicBezTo>
                  <a:cubicBezTo>
                    <a:pt x="759" y="677"/>
                    <a:pt x="759" y="677"/>
                    <a:pt x="759" y="677"/>
                  </a:cubicBezTo>
                  <a:cubicBezTo>
                    <a:pt x="745" y="681"/>
                    <a:pt x="736" y="683"/>
                    <a:pt x="731" y="682"/>
                  </a:cubicBezTo>
                  <a:cubicBezTo>
                    <a:pt x="726" y="682"/>
                    <a:pt x="722" y="680"/>
                    <a:pt x="719" y="676"/>
                  </a:cubicBezTo>
                  <a:cubicBezTo>
                    <a:pt x="717" y="677"/>
                    <a:pt x="717" y="677"/>
                    <a:pt x="717" y="677"/>
                  </a:cubicBezTo>
                  <a:cubicBezTo>
                    <a:pt x="718" y="679"/>
                    <a:pt x="719" y="681"/>
                    <a:pt x="720" y="683"/>
                  </a:cubicBezTo>
                  <a:cubicBezTo>
                    <a:pt x="720" y="685"/>
                    <a:pt x="721" y="688"/>
                    <a:pt x="722" y="690"/>
                  </a:cubicBezTo>
                  <a:cubicBezTo>
                    <a:pt x="722" y="693"/>
                    <a:pt x="723" y="695"/>
                    <a:pt x="724" y="697"/>
                  </a:cubicBezTo>
                  <a:cubicBezTo>
                    <a:pt x="724" y="699"/>
                    <a:pt x="725" y="701"/>
                    <a:pt x="725" y="703"/>
                  </a:cubicBezTo>
                  <a:cubicBezTo>
                    <a:pt x="727" y="703"/>
                    <a:pt x="727" y="703"/>
                    <a:pt x="727" y="703"/>
                  </a:cubicBezTo>
                  <a:cubicBezTo>
                    <a:pt x="728" y="698"/>
                    <a:pt x="730" y="695"/>
                    <a:pt x="734" y="692"/>
                  </a:cubicBezTo>
                  <a:cubicBezTo>
                    <a:pt x="738" y="689"/>
                    <a:pt x="747" y="686"/>
                    <a:pt x="760" y="682"/>
                  </a:cubicBezTo>
                  <a:cubicBezTo>
                    <a:pt x="786" y="674"/>
                    <a:pt x="786" y="674"/>
                    <a:pt x="786" y="674"/>
                  </a:cubicBezTo>
                  <a:close/>
                  <a:moveTo>
                    <a:pt x="737" y="745"/>
                  </a:moveTo>
                  <a:cubicBezTo>
                    <a:pt x="739" y="745"/>
                    <a:pt x="739" y="745"/>
                    <a:pt x="739" y="745"/>
                  </a:cubicBezTo>
                  <a:cubicBezTo>
                    <a:pt x="741" y="747"/>
                    <a:pt x="744" y="748"/>
                    <a:pt x="748" y="748"/>
                  </a:cubicBezTo>
                  <a:cubicBezTo>
                    <a:pt x="752" y="748"/>
                    <a:pt x="759" y="747"/>
                    <a:pt x="770" y="745"/>
                  </a:cubicBezTo>
                  <a:cubicBezTo>
                    <a:pt x="775" y="744"/>
                    <a:pt x="775" y="744"/>
                    <a:pt x="775" y="744"/>
                  </a:cubicBezTo>
                  <a:cubicBezTo>
                    <a:pt x="810" y="735"/>
                    <a:pt x="810" y="735"/>
                    <a:pt x="810" y="735"/>
                  </a:cubicBezTo>
                  <a:cubicBezTo>
                    <a:pt x="814" y="735"/>
                    <a:pt x="816" y="734"/>
                    <a:pt x="817" y="733"/>
                  </a:cubicBezTo>
                  <a:cubicBezTo>
                    <a:pt x="818" y="732"/>
                    <a:pt x="819" y="731"/>
                    <a:pt x="819" y="729"/>
                  </a:cubicBezTo>
                  <a:cubicBezTo>
                    <a:pt x="821" y="729"/>
                    <a:pt x="821" y="729"/>
                    <a:pt x="821" y="729"/>
                  </a:cubicBezTo>
                  <a:cubicBezTo>
                    <a:pt x="822" y="733"/>
                    <a:pt x="822" y="735"/>
                    <a:pt x="823" y="737"/>
                  </a:cubicBezTo>
                  <a:cubicBezTo>
                    <a:pt x="823" y="739"/>
                    <a:pt x="824" y="741"/>
                    <a:pt x="824" y="743"/>
                  </a:cubicBezTo>
                  <a:cubicBezTo>
                    <a:pt x="824" y="744"/>
                    <a:pt x="825" y="746"/>
                    <a:pt x="825" y="748"/>
                  </a:cubicBezTo>
                  <a:cubicBezTo>
                    <a:pt x="826" y="750"/>
                    <a:pt x="827" y="753"/>
                    <a:pt x="828" y="757"/>
                  </a:cubicBezTo>
                  <a:cubicBezTo>
                    <a:pt x="826" y="757"/>
                    <a:pt x="826" y="757"/>
                    <a:pt x="826" y="757"/>
                  </a:cubicBezTo>
                  <a:cubicBezTo>
                    <a:pt x="825" y="756"/>
                    <a:pt x="824" y="755"/>
                    <a:pt x="822" y="755"/>
                  </a:cubicBezTo>
                  <a:cubicBezTo>
                    <a:pt x="821" y="754"/>
                    <a:pt x="819" y="755"/>
                    <a:pt x="815" y="756"/>
                  </a:cubicBezTo>
                  <a:cubicBezTo>
                    <a:pt x="774" y="765"/>
                    <a:pt x="774" y="765"/>
                    <a:pt x="774" y="765"/>
                  </a:cubicBezTo>
                  <a:cubicBezTo>
                    <a:pt x="764" y="767"/>
                    <a:pt x="757" y="770"/>
                    <a:pt x="753" y="771"/>
                  </a:cubicBezTo>
                  <a:cubicBezTo>
                    <a:pt x="750" y="773"/>
                    <a:pt x="748" y="776"/>
                    <a:pt x="747" y="779"/>
                  </a:cubicBezTo>
                  <a:cubicBezTo>
                    <a:pt x="745" y="779"/>
                    <a:pt x="745" y="779"/>
                    <a:pt x="745" y="779"/>
                  </a:cubicBezTo>
                  <a:cubicBezTo>
                    <a:pt x="744" y="776"/>
                    <a:pt x="744" y="774"/>
                    <a:pt x="743" y="771"/>
                  </a:cubicBezTo>
                  <a:cubicBezTo>
                    <a:pt x="743" y="768"/>
                    <a:pt x="742" y="765"/>
                    <a:pt x="741" y="762"/>
                  </a:cubicBezTo>
                  <a:cubicBezTo>
                    <a:pt x="741" y="759"/>
                    <a:pt x="740" y="756"/>
                    <a:pt x="739" y="753"/>
                  </a:cubicBezTo>
                  <a:cubicBezTo>
                    <a:pt x="738" y="750"/>
                    <a:pt x="738" y="747"/>
                    <a:pt x="737" y="745"/>
                  </a:cubicBezTo>
                  <a:close/>
                  <a:moveTo>
                    <a:pt x="842" y="832"/>
                  </a:moveTo>
                  <a:cubicBezTo>
                    <a:pt x="841" y="829"/>
                    <a:pt x="841" y="827"/>
                    <a:pt x="840" y="825"/>
                  </a:cubicBezTo>
                  <a:cubicBezTo>
                    <a:pt x="840" y="823"/>
                    <a:pt x="840" y="821"/>
                    <a:pt x="839" y="819"/>
                  </a:cubicBezTo>
                  <a:cubicBezTo>
                    <a:pt x="839" y="817"/>
                    <a:pt x="838" y="815"/>
                    <a:pt x="838" y="812"/>
                  </a:cubicBezTo>
                  <a:cubicBezTo>
                    <a:pt x="838" y="810"/>
                    <a:pt x="837" y="808"/>
                    <a:pt x="837" y="805"/>
                  </a:cubicBezTo>
                  <a:cubicBezTo>
                    <a:pt x="835" y="805"/>
                    <a:pt x="835" y="805"/>
                    <a:pt x="835" y="805"/>
                  </a:cubicBezTo>
                  <a:cubicBezTo>
                    <a:pt x="835" y="808"/>
                    <a:pt x="835" y="809"/>
                    <a:pt x="833" y="811"/>
                  </a:cubicBezTo>
                  <a:cubicBezTo>
                    <a:pt x="832" y="812"/>
                    <a:pt x="830" y="813"/>
                    <a:pt x="827" y="814"/>
                  </a:cubicBezTo>
                  <a:cubicBezTo>
                    <a:pt x="824" y="814"/>
                    <a:pt x="821" y="815"/>
                    <a:pt x="817" y="814"/>
                  </a:cubicBezTo>
                  <a:cubicBezTo>
                    <a:pt x="813" y="814"/>
                    <a:pt x="808" y="814"/>
                    <a:pt x="803" y="813"/>
                  </a:cubicBezTo>
                  <a:cubicBezTo>
                    <a:pt x="778" y="808"/>
                    <a:pt x="778" y="808"/>
                    <a:pt x="778" y="808"/>
                  </a:cubicBezTo>
                  <a:cubicBezTo>
                    <a:pt x="815" y="785"/>
                    <a:pt x="815" y="785"/>
                    <a:pt x="815" y="785"/>
                  </a:cubicBezTo>
                  <a:cubicBezTo>
                    <a:pt x="817" y="784"/>
                    <a:pt x="818" y="784"/>
                    <a:pt x="820" y="783"/>
                  </a:cubicBezTo>
                  <a:cubicBezTo>
                    <a:pt x="821" y="783"/>
                    <a:pt x="822" y="782"/>
                    <a:pt x="823" y="782"/>
                  </a:cubicBezTo>
                  <a:cubicBezTo>
                    <a:pt x="825" y="781"/>
                    <a:pt x="827" y="782"/>
                    <a:pt x="829" y="782"/>
                  </a:cubicBezTo>
                  <a:cubicBezTo>
                    <a:pt x="830" y="783"/>
                    <a:pt x="831" y="784"/>
                    <a:pt x="831" y="786"/>
                  </a:cubicBezTo>
                  <a:cubicBezTo>
                    <a:pt x="833" y="786"/>
                    <a:pt x="833" y="786"/>
                    <a:pt x="833" y="786"/>
                  </a:cubicBezTo>
                  <a:cubicBezTo>
                    <a:pt x="832" y="782"/>
                    <a:pt x="832" y="779"/>
                    <a:pt x="831" y="776"/>
                  </a:cubicBezTo>
                  <a:cubicBezTo>
                    <a:pt x="830" y="773"/>
                    <a:pt x="830" y="770"/>
                    <a:pt x="829" y="767"/>
                  </a:cubicBezTo>
                  <a:cubicBezTo>
                    <a:pt x="829" y="764"/>
                    <a:pt x="828" y="761"/>
                    <a:pt x="827" y="758"/>
                  </a:cubicBezTo>
                  <a:cubicBezTo>
                    <a:pt x="827" y="755"/>
                    <a:pt x="827" y="752"/>
                    <a:pt x="826" y="749"/>
                  </a:cubicBezTo>
                  <a:cubicBezTo>
                    <a:pt x="824" y="750"/>
                    <a:pt x="824" y="750"/>
                    <a:pt x="824" y="750"/>
                  </a:cubicBezTo>
                  <a:cubicBezTo>
                    <a:pt x="825" y="752"/>
                    <a:pt x="824" y="754"/>
                    <a:pt x="822" y="756"/>
                  </a:cubicBezTo>
                  <a:cubicBezTo>
                    <a:pt x="820" y="758"/>
                    <a:pt x="816" y="761"/>
                    <a:pt x="810" y="765"/>
                  </a:cubicBezTo>
                  <a:cubicBezTo>
                    <a:pt x="745" y="806"/>
                    <a:pt x="745" y="806"/>
                    <a:pt x="745" y="806"/>
                  </a:cubicBezTo>
                  <a:cubicBezTo>
                    <a:pt x="746" y="807"/>
                    <a:pt x="746" y="807"/>
                    <a:pt x="746" y="807"/>
                  </a:cubicBezTo>
                  <a:cubicBezTo>
                    <a:pt x="811" y="821"/>
                    <a:pt x="811" y="821"/>
                    <a:pt x="811" y="821"/>
                  </a:cubicBezTo>
                  <a:cubicBezTo>
                    <a:pt x="811" y="821"/>
                    <a:pt x="812" y="821"/>
                    <a:pt x="814" y="822"/>
                  </a:cubicBezTo>
                  <a:cubicBezTo>
                    <a:pt x="829" y="825"/>
                    <a:pt x="838" y="828"/>
                    <a:pt x="840" y="832"/>
                  </a:cubicBezTo>
                  <a:cubicBezTo>
                    <a:pt x="842" y="832"/>
                    <a:pt x="842" y="832"/>
                    <a:pt x="842" y="832"/>
                  </a:cubicBezTo>
                  <a:close/>
                  <a:moveTo>
                    <a:pt x="754" y="835"/>
                  </a:moveTo>
                  <a:cubicBezTo>
                    <a:pt x="756" y="835"/>
                    <a:pt x="756" y="835"/>
                    <a:pt x="756" y="835"/>
                  </a:cubicBezTo>
                  <a:cubicBezTo>
                    <a:pt x="758" y="837"/>
                    <a:pt x="761" y="839"/>
                    <a:pt x="765" y="839"/>
                  </a:cubicBezTo>
                  <a:cubicBezTo>
                    <a:pt x="769" y="840"/>
                    <a:pt x="774" y="840"/>
                    <a:pt x="782" y="838"/>
                  </a:cubicBezTo>
                  <a:cubicBezTo>
                    <a:pt x="828" y="832"/>
                    <a:pt x="828" y="832"/>
                    <a:pt x="828" y="832"/>
                  </a:cubicBezTo>
                  <a:cubicBezTo>
                    <a:pt x="832" y="832"/>
                    <a:pt x="834" y="831"/>
                    <a:pt x="836" y="830"/>
                  </a:cubicBezTo>
                  <a:cubicBezTo>
                    <a:pt x="837" y="829"/>
                    <a:pt x="837" y="828"/>
                    <a:pt x="838" y="826"/>
                  </a:cubicBezTo>
                  <a:cubicBezTo>
                    <a:pt x="840" y="826"/>
                    <a:pt x="840" y="826"/>
                    <a:pt x="840" y="826"/>
                  </a:cubicBezTo>
                  <a:cubicBezTo>
                    <a:pt x="840" y="831"/>
                    <a:pt x="841" y="836"/>
                    <a:pt x="841" y="840"/>
                  </a:cubicBezTo>
                  <a:cubicBezTo>
                    <a:pt x="842" y="844"/>
                    <a:pt x="842" y="848"/>
                    <a:pt x="843" y="851"/>
                  </a:cubicBezTo>
                  <a:cubicBezTo>
                    <a:pt x="847" y="882"/>
                    <a:pt x="847" y="882"/>
                    <a:pt x="847" y="882"/>
                  </a:cubicBezTo>
                  <a:cubicBezTo>
                    <a:pt x="825" y="889"/>
                    <a:pt x="825" y="889"/>
                    <a:pt x="825" y="889"/>
                  </a:cubicBezTo>
                  <a:cubicBezTo>
                    <a:pt x="825" y="888"/>
                    <a:pt x="825" y="888"/>
                    <a:pt x="825" y="888"/>
                  </a:cubicBezTo>
                  <a:cubicBezTo>
                    <a:pt x="831" y="882"/>
                    <a:pt x="835" y="876"/>
                    <a:pt x="837" y="871"/>
                  </a:cubicBezTo>
                  <a:cubicBezTo>
                    <a:pt x="840" y="866"/>
                    <a:pt x="841" y="860"/>
                    <a:pt x="840" y="855"/>
                  </a:cubicBezTo>
                  <a:cubicBezTo>
                    <a:pt x="840" y="854"/>
                    <a:pt x="840" y="853"/>
                    <a:pt x="839" y="853"/>
                  </a:cubicBezTo>
                  <a:cubicBezTo>
                    <a:pt x="839" y="852"/>
                    <a:pt x="839" y="852"/>
                    <a:pt x="839" y="851"/>
                  </a:cubicBezTo>
                  <a:cubicBezTo>
                    <a:pt x="806" y="856"/>
                    <a:pt x="806" y="856"/>
                    <a:pt x="806" y="856"/>
                  </a:cubicBezTo>
                  <a:cubicBezTo>
                    <a:pt x="806" y="857"/>
                    <a:pt x="806" y="858"/>
                    <a:pt x="806" y="859"/>
                  </a:cubicBezTo>
                  <a:cubicBezTo>
                    <a:pt x="806" y="859"/>
                    <a:pt x="806" y="860"/>
                    <a:pt x="806" y="860"/>
                  </a:cubicBezTo>
                  <a:cubicBezTo>
                    <a:pt x="807" y="866"/>
                    <a:pt x="809" y="870"/>
                    <a:pt x="811" y="872"/>
                  </a:cubicBezTo>
                  <a:cubicBezTo>
                    <a:pt x="814" y="875"/>
                    <a:pt x="818" y="877"/>
                    <a:pt x="823" y="878"/>
                  </a:cubicBezTo>
                  <a:cubicBezTo>
                    <a:pt x="823" y="879"/>
                    <a:pt x="823" y="879"/>
                    <a:pt x="823" y="879"/>
                  </a:cubicBezTo>
                  <a:cubicBezTo>
                    <a:pt x="791" y="884"/>
                    <a:pt x="791" y="884"/>
                    <a:pt x="791" y="884"/>
                  </a:cubicBezTo>
                  <a:cubicBezTo>
                    <a:pt x="791" y="882"/>
                    <a:pt x="791" y="882"/>
                    <a:pt x="791" y="882"/>
                  </a:cubicBezTo>
                  <a:cubicBezTo>
                    <a:pt x="795" y="880"/>
                    <a:pt x="798" y="877"/>
                    <a:pt x="800" y="874"/>
                  </a:cubicBezTo>
                  <a:cubicBezTo>
                    <a:pt x="802" y="871"/>
                    <a:pt x="802" y="866"/>
                    <a:pt x="802" y="861"/>
                  </a:cubicBezTo>
                  <a:cubicBezTo>
                    <a:pt x="802" y="860"/>
                    <a:pt x="801" y="860"/>
                    <a:pt x="801" y="859"/>
                  </a:cubicBezTo>
                  <a:cubicBezTo>
                    <a:pt x="801" y="859"/>
                    <a:pt x="801" y="858"/>
                    <a:pt x="801" y="857"/>
                  </a:cubicBezTo>
                  <a:cubicBezTo>
                    <a:pt x="781" y="860"/>
                    <a:pt x="781" y="860"/>
                    <a:pt x="781" y="860"/>
                  </a:cubicBezTo>
                  <a:cubicBezTo>
                    <a:pt x="775" y="860"/>
                    <a:pt x="771" y="862"/>
                    <a:pt x="768" y="864"/>
                  </a:cubicBezTo>
                  <a:cubicBezTo>
                    <a:pt x="766" y="866"/>
                    <a:pt x="765" y="869"/>
                    <a:pt x="765" y="873"/>
                  </a:cubicBezTo>
                  <a:cubicBezTo>
                    <a:pt x="766" y="877"/>
                    <a:pt x="769" y="882"/>
                    <a:pt x="773" y="886"/>
                  </a:cubicBezTo>
                  <a:cubicBezTo>
                    <a:pt x="778" y="890"/>
                    <a:pt x="785" y="895"/>
                    <a:pt x="793" y="899"/>
                  </a:cubicBezTo>
                  <a:cubicBezTo>
                    <a:pt x="793" y="900"/>
                    <a:pt x="793" y="900"/>
                    <a:pt x="793" y="900"/>
                  </a:cubicBezTo>
                  <a:cubicBezTo>
                    <a:pt x="764" y="898"/>
                    <a:pt x="764" y="898"/>
                    <a:pt x="764" y="898"/>
                  </a:cubicBezTo>
                  <a:cubicBezTo>
                    <a:pt x="759" y="863"/>
                    <a:pt x="759" y="863"/>
                    <a:pt x="759" y="863"/>
                  </a:cubicBezTo>
                  <a:cubicBezTo>
                    <a:pt x="759" y="861"/>
                    <a:pt x="758" y="857"/>
                    <a:pt x="757" y="852"/>
                  </a:cubicBezTo>
                  <a:cubicBezTo>
                    <a:pt x="756" y="847"/>
                    <a:pt x="755" y="841"/>
                    <a:pt x="754" y="835"/>
                  </a:cubicBezTo>
                  <a:close/>
                  <a:moveTo>
                    <a:pt x="763" y="895"/>
                  </a:moveTo>
                  <a:cubicBezTo>
                    <a:pt x="763" y="898"/>
                    <a:pt x="764" y="901"/>
                    <a:pt x="764" y="904"/>
                  </a:cubicBezTo>
                  <a:cubicBezTo>
                    <a:pt x="764" y="906"/>
                    <a:pt x="764" y="910"/>
                    <a:pt x="765" y="913"/>
                  </a:cubicBezTo>
                  <a:cubicBezTo>
                    <a:pt x="765" y="916"/>
                    <a:pt x="765" y="919"/>
                    <a:pt x="765" y="922"/>
                  </a:cubicBezTo>
                  <a:cubicBezTo>
                    <a:pt x="765" y="925"/>
                    <a:pt x="765" y="928"/>
                    <a:pt x="765" y="930"/>
                  </a:cubicBezTo>
                  <a:cubicBezTo>
                    <a:pt x="767" y="930"/>
                    <a:pt x="767" y="930"/>
                    <a:pt x="767" y="930"/>
                  </a:cubicBezTo>
                  <a:cubicBezTo>
                    <a:pt x="768" y="927"/>
                    <a:pt x="771" y="925"/>
                    <a:pt x="775" y="924"/>
                  </a:cubicBezTo>
                  <a:cubicBezTo>
                    <a:pt x="778" y="923"/>
                    <a:pt x="786" y="922"/>
                    <a:pt x="79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1"/>
                    <a:pt x="807" y="921"/>
                    <a:pt x="807" y="921"/>
                  </a:cubicBezTo>
                  <a:cubicBezTo>
                    <a:pt x="807" y="922"/>
                    <a:pt x="807" y="923"/>
                    <a:pt x="807" y="923"/>
                  </a:cubicBezTo>
                  <a:cubicBezTo>
                    <a:pt x="808" y="930"/>
                    <a:pt x="797" y="937"/>
                    <a:pt x="774" y="944"/>
                  </a:cubicBezTo>
                  <a:cubicBezTo>
                    <a:pt x="771" y="945"/>
                    <a:pt x="768" y="945"/>
                    <a:pt x="766" y="946"/>
                  </a:cubicBezTo>
                  <a:cubicBezTo>
                    <a:pt x="766" y="947"/>
                    <a:pt x="766" y="949"/>
                    <a:pt x="767" y="950"/>
                  </a:cubicBezTo>
                  <a:cubicBezTo>
                    <a:pt x="767" y="952"/>
                    <a:pt x="767" y="954"/>
                    <a:pt x="767" y="957"/>
                  </a:cubicBezTo>
                  <a:cubicBezTo>
                    <a:pt x="767" y="959"/>
                    <a:pt x="767" y="962"/>
                    <a:pt x="767" y="964"/>
                  </a:cubicBezTo>
                  <a:cubicBezTo>
                    <a:pt x="767" y="967"/>
                    <a:pt x="767" y="970"/>
                    <a:pt x="768" y="975"/>
                  </a:cubicBezTo>
                  <a:cubicBezTo>
                    <a:pt x="769" y="975"/>
                    <a:pt x="769" y="975"/>
                    <a:pt x="769" y="975"/>
                  </a:cubicBezTo>
                  <a:cubicBezTo>
                    <a:pt x="770" y="971"/>
                    <a:pt x="775" y="967"/>
                    <a:pt x="786" y="962"/>
                  </a:cubicBezTo>
                  <a:cubicBezTo>
                    <a:pt x="790" y="961"/>
                    <a:pt x="793" y="960"/>
                    <a:pt x="794" y="959"/>
                  </a:cubicBezTo>
                  <a:cubicBezTo>
                    <a:pt x="799" y="957"/>
                    <a:pt x="803" y="955"/>
                    <a:pt x="805" y="951"/>
                  </a:cubicBezTo>
                  <a:cubicBezTo>
                    <a:pt x="808" y="948"/>
                    <a:pt x="809" y="944"/>
                    <a:pt x="810" y="938"/>
                  </a:cubicBezTo>
                  <a:cubicBezTo>
                    <a:pt x="812" y="946"/>
                    <a:pt x="814" y="952"/>
                    <a:pt x="818" y="956"/>
                  </a:cubicBezTo>
                  <a:cubicBezTo>
                    <a:pt x="822" y="960"/>
                    <a:pt x="826" y="961"/>
                    <a:pt x="832" y="961"/>
                  </a:cubicBezTo>
                  <a:cubicBezTo>
                    <a:pt x="839" y="961"/>
                    <a:pt x="844" y="958"/>
                    <a:pt x="847" y="952"/>
                  </a:cubicBezTo>
                  <a:cubicBezTo>
                    <a:pt x="850" y="947"/>
                    <a:pt x="851" y="937"/>
                    <a:pt x="850" y="925"/>
                  </a:cubicBezTo>
                  <a:cubicBezTo>
                    <a:pt x="850" y="915"/>
                    <a:pt x="850" y="915"/>
                    <a:pt x="850" y="915"/>
                  </a:cubicBezTo>
                  <a:cubicBezTo>
                    <a:pt x="849" y="910"/>
                    <a:pt x="849" y="906"/>
                    <a:pt x="849" y="903"/>
                  </a:cubicBezTo>
                  <a:cubicBezTo>
                    <a:pt x="849" y="900"/>
                    <a:pt x="849" y="897"/>
                    <a:pt x="849" y="894"/>
                  </a:cubicBezTo>
                  <a:cubicBezTo>
                    <a:pt x="847" y="894"/>
                    <a:pt x="847" y="894"/>
                    <a:pt x="847" y="894"/>
                  </a:cubicBezTo>
                  <a:cubicBezTo>
                    <a:pt x="847" y="896"/>
                    <a:pt x="846" y="897"/>
                    <a:pt x="844" y="897"/>
                  </a:cubicBezTo>
                  <a:cubicBezTo>
                    <a:pt x="843" y="898"/>
                    <a:pt x="841" y="898"/>
                    <a:pt x="837" y="899"/>
                  </a:cubicBezTo>
                  <a:cubicBezTo>
                    <a:pt x="801" y="901"/>
                    <a:pt x="801" y="901"/>
                    <a:pt x="801" y="901"/>
                  </a:cubicBezTo>
                  <a:cubicBezTo>
                    <a:pt x="795" y="901"/>
                    <a:pt x="795" y="901"/>
                    <a:pt x="795" y="901"/>
                  </a:cubicBezTo>
                  <a:cubicBezTo>
                    <a:pt x="784" y="901"/>
                    <a:pt x="777" y="901"/>
                    <a:pt x="773" y="900"/>
                  </a:cubicBezTo>
                  <a:cubicBezTo>
                    <a:pt x="770" y="900"/>
                    <a:pt x="767" y="898"/>
                    <a:pt x="765" y="895"/>
                  </a:cubicBezTo>
                  <a:cubicBezTo>
                    <a:pt x="763" y="895"/>
                    <a:pt x="763" y="895"/>
                    <a:pt x="763" y="895"/>
                  </a:cubicBezTo>
                  <a:close/>
                  <a:moveTo>
                    <a:pt x="812" y="921"/>
                  </a:moveTo>
                  <a:cubicBezTo>
                    <a:pt x="844" y="919"/>
                    <a:pt x="844" y="919"/>
                    <a:pt x="844" y="919"/>
                  </a:cubicBezTo>
                  <a:cubicBezTo>
                    <a:pt x="845" y="920"/>
                    <a:pt x="845" y="921"/>
                    <a:pt x="845" y="921"/>
                  </a:cubicBezTo>
                  <a:cubicBezTo>
                    <a:pt x="845" y="922"/>
                    <a:pt x="845" y="923"/>
                    <a:pt x="845" y="925"/>
                  </a:cubicBezTo>
                  <a:cubicBezTo>
                    <a:pt x="845" y="929"/>
                    <a:pt x="844" y="933"/>
                    <a:pt x="841" y="935"/>
                  </a:cubicBezTo>
                  <a:cubicBezTo>
                    <a:pt x="839" y="938"/>
                    <a:pt x="835" y="939"/>
                    <a:pt x="829" y="939"/>
                  </a:cubicBezTo>
                  <a:cubicBezTo>
                    <a:pt x="824" y="939"/>
                    <a:pt x="819" y="939"/>
                    <a:pt x="817" y="936"/>
                  </a:cubicBezTo>
                  <a:cubicBezTo>
                    <a:pt x="814" y="934"/>
                    <a:pt x="812" y="931"/>
                    <a:pt x="812" y="926"/>
                  </a:cubicBezTo>
                  <a:cubicBezTo>
                    <a:pt x="812" y="924"/>
                    <a:pt x="812" y="923"/>
                    <a:pt x="812" y="923"/>
                  </a:cubicBezTo>
                  <a:cubicBezTo>
                    <a:pt x="812" y="922"/>
                    <a:pt x="812" y="921"/>
                    <a:pt x="812" y="921"/>
                  </a:cubicBezTo>
                  <a:close/>
                  <a:moveTo>
                    <a:pt x="775" y="960"/>
                  </a:moveTo>
                  <a:cubicBezTo>
                    <a:pt x="798" y="966"/>
                    <a:pt x="798" y="966"/>
                    <a:pt x="798" y="966"/>
                  </a:cubicBezTo>
                  <a:cubicBezTo>
                    <a:pt x="798" y="968"/>
                    <a:pt x="798" y="968"/>
                    <a:pt x="798" y="968"/>
                  </a:cubicBezTo>
                  <a:cubicBezTo>
                    <a:pt x="790" y="969"/>
                    <a:pt x="784" y="972"/>
                    <a:pt x="779" y="976"/>
                  </a:cubicBezTo>
                  <a:cubicBezTo>
                    <a:pt x="774" y="980"/>
                    <a:pt x="772" y="984"/>
                    <a:pt x="772" y="990"/>
                  </a:cubicBezTo>
                  <a:cubicBezTo>
                    <a:pt x="772" y="994"/>
                    <a:pt x="773" y="997"/>
                    <a:pt x="776" y="1000"/>
                  </a:cubicBezTo>
                  <a:cubicBezTo>
                    <a:pt x="780" y="1003"/>
                    <a:pt x="784" y="1004"/>
                    <a:pt x="788" y="1004"/>
                  </a:cubicBezTo>
                  <a:cubicBezTo>
                    <a:pt x="793" y="1004"/>
                    <a:pt x="796" y="1003"/>
                    <a:pt x="798" y="1001"/>
                  </a:cubicBezTo>
                  <a:cubicBezTo>
                    <a:pt x="800" y="999"/>
                    <a:pt x="802" y="996"/>
                    <a:pt x="803" y="991"/>
                  </a:cubicBezTo>
                  <a:cubicBezTo>
                    <a:pt x="803" y="990"/>
                    <a:pt x="804" y="989"/>
                    <a:pt x="804" y="987"/>
                  </a:cubicBezTo>
                  <a:cubicBezTo>
                    <a:pt x="806" y="979"/>
                    <a:pt x="808" y="973"/>
                    <a:pt x="811" y="970"/>
                  </a:cubicBezTo>
                  <a:cubicBezTo>
                    <a:pt x="813" y="968"/>
                    <a:pt x="815" y="967"/>
                    <a:pt x="818" y="966"/>
                  </a:cubicBezTo>
                  <a:cubicBezTo>
                    <a:pt x="821" y="965"/>
                    <a:pt x="824" y="964"/>
                    <a:pt x="828" y="964"/>
                  </a:cubicBezTo>
                  <a:cubicBezTo>
                    <a:pt x="836" y="964"/>
                    <a:pt x="843" y="967"/>
                    <a:pt x="848" y="972"/>
                  </a:cubicBezTo>
                  <a:cubicBezTo>
                    <a:pt x="853" y="978"/>
                    <a:pt x="856" y="985"/>
                    <a:pt x="856" y="995"/>
                  </a:cubicBezTo>
                  <a:cubicBezTo>
                    <a:pt x="856" y="999"/>
                    <a:pt x="856" y="1003"/>
                    <a:pt x="854" y="1007"/>
                  </a:cubicBezTo>
                  <a:cubicBezTo>
                    <a:pt x="853" y="1012"/>
                    <a:pt x="852" y="1016"/>
                    <a:pt x="849" y="1021"/>
                  </a:cubicBezTo>
                  <a:cubicBezTo>
                    <a:pt x="828" y="1016"/>
                    <a:pt x="828" y="1016"/>
                    <a:pt x="828" y="1016"/>
                  </a:cubicBezTo>
                  <a:cubicBezTo>
                    <a:pt x="829" y="1014"/>
                    <a:pt x="829" y="1014"/>
                    <a:pt x="829" y="1014"/>
                  </a:cubicBezTo>
                  <a:cubicBezTo>
                    <a:pt x="835" y="1013"/>
                    <a:pt x="841" y="1011"/>
                    <a:pt x="845" y="1008"/>
                  </a:cubicBezTo>
                  <a:cubicBezTo>
                    <a:pt x="849" y="1005"/>
                    <a:pt x="851" y="1001"/>
                    <a:pt x="851" y="996"/>
                  </a:cubicBezTo>
                  <a:cubicBezTo>
                    <a:pt x="851" y="992"/>
                    <a:pt x="849" y="990"/>
                    <a:pt x="846" y="987"/>
                  </a:cubicBezTo>
                  <a:cubicBezTo>
                    <a:pt x="844" y="985"/>
                    <a:pt x="840" y="984"/>
                    <a:pt x="836" y="984"/>
                  </a:cubicBezTo>
                  <a:cubicBezTo>
                    <a:pt x="832" y="984"/>
                    <a:pt x="829" y="985"/>
                    <a:pt x="827" y="987"/>
                  </a:cubicBezTo>
                  <a:cubicBezTo>
                    <a:pt x="825" y="989"/>
                    <a:pt x="824" y="993"/>
                    <a:pt x="822" y="1000"/>
                  </a:cubicBezTo>
                  <a:cubicBezTo>
                    <a:pt x="820" y="1009"/>
                    <a:pt x="817" y="1015"/>
                    <a:pt x="813" y="1019"/>
                  </a:cubicBezTo>
                  <a:cubicBezTo>
                    <a:pt x="809" y="1022"/>
                    <a:pt x="804" y="1024"/>
                    <a:pt x="796" y="1024"/>
                  </a:cubicBezTo>
                  <a:cubicBezTo>
                    <a:pt x="788" y="1024"/>
                    <a:pt x="780" y="1021"/>
                    <a:pt x="775" y="1015"/>
                  </a:cubicBezTo>
                  <a:cubicBezTo>
                    <a:pt x="769" y="1009"/>
                    <a:pt x="766" y="1001"/>
                    <a:pt x="766" y="991"/>
                  </a:cubicBezTo>
                  <a:cubicBezTo>
                    <a:pt x="766" y="985"/>
                    <a:pt x="767" y="980"/>
                    <a:pt x="768" y="975"/>
                  </a:cubicBezTo>
                  <a:cubicBezTo>
                    <a:pt x="770" y="969"/>
                    <a:pt x="772" y="965"/>
                    <a:pt x="775" y="9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8" name="任意多边形: 形状 87">
              <a:extLst>
                <a:ext uri="{FF2B5EF4-FFF2-40B4-BE49-F238E27FC236}">
                  <a16:creationId xmlns:a16="http://schemas.microsoft.com/office/drawing/2014/main" id="{C3F700E5-2C9D-4FC4-93FE-7F734020F886}"/>
                </a:ext>
              </a:extLst>
            </p:cNvPr>
            <p:cNvSpPr/>
            <p:nvPr/>
          </p:nvSpPr>
          <p:spPr bwMode="auto">
            <a:xfrm>
              <a:off x="3867151" y="3454400"/>
              <a:ext cx="73025" cy="131763"/>
            </a:xfrm>
            <a:custGeom>
              <a:avLst/>
              <a:gdLst>
                <a:gd name="T0" fmla="*/ 10 w 94"/>
                <a:gd name="T1" fmla="*/ 0 h 170"/>
                <a:gd name="T2" fmla="*/ 40 w 94"/>
                <a:gd name="T3" fmla="*/ 8 h 170"/>
                <a:gd name="T4" fmla="*/ 81 w 94"/>
                <a:gd name="T5" fmla="*/ 8 h 170"/>
                <a:gd name="T6" fmla="*/ 92 w 94"/>
                <a:gd name="T7" fmla="*/ 4 h 170"/>
                <a:gd name="T8" fmla="*/ 93 w 94"/>
                <a:gd name="T9" fmla="*/ 13 h 170"/>
                <a:gd name="T10" fmla="*/ 93 w 94"/>
                <a:gd name="T11" fmla="*/ 24 h 170"/>
                <a:gd name="T12" fmla="*/ 91 w 94"/>
                <a:gd name="T13" fmla="*/ 33 h 170"/>
                <a:gd name="T14" fmla="*/ 81 w 94"/>
                <a:gd name="T15" fmla="*/ 29 h 170"/>
                <a:gd name="T16" fmla="*/ 17 w 94"/>
                <a:gd name="T17" fmla="*/ 29 h 170"/>
                <a:gd name="T18" fmla="*/ 7 w 94"/>
                <a:gd name="T19" fmla="*/ 35 h 170"/>
                <a:gd name="T20" fmla="*/ 8 w 94"/>
                <a:gd name="T21" fmla="*/ 17 h 170"/>
                <a:gd name="T22" fmla="*/ 8 w 94"/>
                <a:gd name="T23" fmla="*/ 0 h 170"/>
                <a:gd name="T24" fmla="*/ 7 w 94"/>
                <a:gd name="T25" fmla="*/ 53 h 170"/>
                <a:gd name="T26" fmla="*/ 6 w 94"/>
                <a:gd name="T27" fmla="*/ 72 h 170"/>
                <a:gd name="T28" fmla="*/ 7 w 94"/>
                <a:gd name="T29" fmla="*/ 80 h 170"/>
                <a:gd name="T30" fmla="*/ 37 w 94"/>
                <a:gd name="T31" fmla="*/ 74 h 170"/>
                <a:gd name="T32" fmla="*/ 81 w 94"/>
                <a:gd name="T33" fmla="*/ 77 h 170"/>
                <a:gd name="T34" fmla="*/ 85 w 94"/>
                <a:gd name="T35" fmla="*/ 79 h 170"/>
                <a:gd name="T36" fmla="*/ 65 w 94"/>
                <a:gd name="T37" fmla="*/ 99 h 170"/>
                <a:gd name="T38" fmla="*/ 89 w 94"/>
                <a:gd name="T39" fmla="*/ 98 h 170"/>
                <a:gd name="T40" fmla="*/ 69 w 94"/>
                <a:gd name="T41" fmla="*/ 30 h 170"/>
                <a:gd name="T42" fmla="*/ 81 w 94"/>
                <a:gd name="T43" fmla="*/ 44 h 170"/>
                <a:gd name="T44" fmla="*/ 85 w 94"/>
                <a:gd name="T45" fmla="*/ 56 h 170"/>
                <a:gd name="T46" fmla="*/ 43 w 94"/>
                <a:gd name="T47" fmla="*/ 54 h 170"/>
                <a:gd name="T48" fmla="*/ 16 w 94"/>
                <a:gd name="T49" fmla="*/ 51 h 170"/>
                <a:gd name="T50" fmla="*/ 7 w 94"/>
                <a:gd name="T51" fmla="*/ 45 h 170"/>
                <a:gd name="T52" fmla="*/ 32 w 94"/>
                <a:gd name="T53" fmla="*/ 133 h 170"/>
                <a:gd name="T54" fmla="*/ 2 w 94"/>
                <a:gd name="T55" fmla="*/ 138 h 170"/>
                <a:gd name="T56" fmla="*/ 1 w 94"/>
                <a:gd name="T57" fmla="*/ 129 h 170"/>
                <a:gd name="T58" fmla="*/ 3 w 94"/>
                <a:gd name="T59" fmla="*/ 111 h 170"/>
                <a:gd name="T60" fmla="*/ 5 w 94"/>
                <a:gd name="T61" fmla="*/ 103 h 170"/>
                <a:gd name="T62" fmla="*/ 34 w 94"/>
                <a:gd name="T63" fmla="*/ 113 h 170"/>
                <a:gd name="T64" fmla="*/ 73 w 94"/>
                <a:gd name="T65" fmla="*/ 99 h 170"/>
                <a:gd name="T66" fmla="*/ 89 w 94"/>
                <a:gd name="T67" fmla="*/ 88 h 170"/>
                <a:gd name="T68" fmla="*/ 89 w 94"/>
                <a:gd name="T69" fmla="*/ 99 h 170"/>
                <a:gd name="T70" fmla="*/ 88 w 94"/>
                <a:gd name="T71" fmla="*/ 125 h 170"/>
                <a:gd name="T72" fmla="*/ 86 w 94"/>
                <a:gd name="T73" fmla="*/ 125 h 170"/>
                <a:gd name="T74" fmla="*/ 80 w 94"/>
                <a:gd name="T75" fmla="*/ 119 h 170"/>
                <a:gd name="T76" fmla="*/ 71 w 94"/>
                <a:gd name="T77" fmla="*/ 122 h 170"/>
                <a:gd name="T78" fmla="*/ 68 w 94"/>
                <a:gd name="T79" fmla="*/ 145 h 170"/>
                <a:gd name="T80" fmla="*/ 76 w 94"/>
                <a:gd name="T81" fmla="*/ 147 h 170"/>
                <a:gd name="T82" fmla="*/ 84 w 94"/>
                <a:gd name="T83" fmla="*/ 143 h 170"/>
                <a:gd name="T84" fmla="*/ 86 w 94"/>
                <a:gd name="T85" fmla="*/ 143 h 170"/>
                <a:gd name="T86" fmla="*/ 84 w 94"/>
                <a:gd name="T87" fmla="*/ 162 h 170"/>
                <a:gd name="T88" fmla="*/ 82 w 94"/>
                <a:gd name="T89" fmla="*/ 170 h 170"/>
                <a:gd name="T90" fmla="*/ 60 w 94"/>
                <a:gd name="T91" fmla="*/ 148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94" h="170">
                  <a:moveTo>
                    <a:pt x="8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11" y="3"/>
                    <a:pt x="14" y="5"/>
                    <a:pt x="18" y="6"/>
                  </a:cubicBezTo>
                  <a:cubicBezTo>
                    <a:pt x="21" y="7"/>
                    <a:pt x="29" y="7"/>
                    <a:pt x="40" y="8"/>
                  </a:cubicBezTo>
                  <a:cubicBezTo>
                    <a:pt x="45" y="8"/>
                    <a:pt x="45" y="8"/>
                    <a:pt x="45" y="8"/>
                  </a:cubicBezTo>
                  <a:cubicBezTo>
                    <a:pt x="81" y="8"/>
                    <a:pt x="81" y="8"/>
                    <a:pt x="81" y="8"/>
                  </a:cubicBezTo>
                  <a:cubicBezTo>
                    <a:pt x="85" y="8"/>
                    <a:pt x="87" y="8"/>
                    <a:pt x="89" y="8"/>
                  </a:cubicBezTo>
                  <a:cubicBezTo>
                    <a:pt x="90" y="7"/>
                    <a:pt x="91" y="6"/>
                    <a:pt x="92" y="4"/>
                  </a:cubicBezTo>
                  <a:cubicBezTo>
                    <a:pt x="94" y="4"/>
                    <a:pt x="94" y="4"/>
                    <a:pt x="94" y="4"/>
                  </a:cubicBezTo>
                  <a:cubicBezTo>
                    <a:pt x="93" y="8"/>
                    <a:pt x="93" y="11"/>
                    <a:pt x="93" y="13"/>
                  </a:cubicBezTo>
                  <a:cubicBezTo>
                    <a:pt x="93" y="15"/>
                    <a:pt x="93" y="17"/>
                    <a:pt x="93" y="19"/>
                  </a:cubicBezTo>
                  <a:cubicBezTo>
                    <a:pt x="93" y="21"/>
                    <a:pt x="93" y="22"/>
                    <a:pt x="93" y="24"/>
                  </a:cubicBezTo>
                  <a:cubicBezTo>
                    <a:pt x="93" y="26"/>
                    <a:pt x="93" y="29"/>
                    <a:pt x="93" y="33"/>
                  </a:cubicBezTo>
                  <a:cubicBezTo>
                    <a:pt x="91" y="33"/>
                    <a:pt x="91" y="33"/>
                    <a:pt x="91" y="33"/>
                  </a:cubicBezTo>
                  <a:cubicBezTo>
                    <a:pt x="90" y="32"/>
                    <a:pt x="90" y="31"/>
                    <a:pt x="88" y="30"/>
                  </a:cubicBezTo>
                  <a:cubicBezTo>
                    <a:pt x="87" y="29"/>
                    <a:pt x="85" y="29"/>
                    <a:pt x="81" y="29"/>
                  </a:cubicBezTo>
                  <a:cubicBezTo>
                    <a:pt x="39" y="28"/>
                    <a:pt x="39" y="28"/>
                    <a:pt x="39" y="28"/>
                  </a:cubicBezTo>
                  <a:cubicBezTo>
                    <a:pt x="28" y="28"/>
                    <a:pt x="21" y="28"/>
                    <a:pt x="17" y="29"/>
                  </a:cubicBezTo>
                  <a:cubicBezTo>
                    <a:pt x="14" y="30"/>
                    <a:pt x="11" y="32"/>
                    <a:pt x="9" y="35"/>
                  </a:cubicBezTo>
                  <a:cubicBezTo>
                    <a:pt x="7" y="35"/>
                    <a:pt x="7" y="35"/>
                    <a:pt x="7" y="35"/>
                  </a:cubicBezTo>
                  <a:cubicBezTo>
                    <a:pt x="7" y="32"/>
                    <a:pt x="8" y="29"/>
                    <a:pt x="8" y="27"/>
                  </a:cubicBezTo>
                  <a:cubicBezTo>
                    <a:pt x="8" y="24"/>
                    <a:pt x="8" y="21"/>
                    <a:pt x="8" y="17"/>
                  </a:cubicBezTo>
                  <a:cubicBezTo>
                    <a:pt x="8" y="14"/>
                    <a:pt x="8" y="11"/>
                    <a:pt x="8" y="8"/>
                  </a:cubicBezTo>
                  <a:cubicBezTo>
                    <a:pt x="8" y="5"/>
                    <a:pt x="8" y="3"/>
                    <a:pt x="8" y="0"/>
                  </a:cubicBezTo>
                  <a:close/>
                  <a:moveTo>
                    <a:pt x="7" y="45"/>
                  </a:moveTo>
                  <a:cubicBezTo>
                    <a:pt x="7" y="48"/>
                    <a:pt x="7" y="50"/>
                    <a:pt x="7" y="53"/>
                  </a:cubicBezTo>
                  <a:cubicBezTo>
                    <a:pt x="6" y="56"/>
                    <a:pt x="6" y="59"/>
                    <a:pt x="6" y="62"/>
                  </a:cubicBezTo>
                  <a:cubicBezTo>
                    <a:pt x="6" y="66"/>
                    <a:pt x="6" y="69"/>
                    <a:pt x="6" y="72"/>
                  </a:cubicBezTo>
                  <a:cubicBezTo>
                    <a:pt x="5" y="75"/>
                    <a:pt x="5" y="77"/>
                    <a:pt x="5" y="80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8" y="77"/>
                    <a:pt x="11" y="76"/>
                    <a:pt x="15" y="75"/>
                  </a:cubicBezTo>
                  <a:cubicBezTo>
                    <a:pt x="19" y="74"/>
                    <a:pt x="26" y="74"/>
                    <a:pt x="37" y="74"/>
                  </a:cubicBezTo>
                  <a:cubicBezTo>
                    <a:pt x="77" y="77"/>
                    <a:pt x="77" y="77"/>
                    <a:pt x="77" y="77"/>
                  </a:cubicBezTo>
                  <a:cubicBezTo>
                    <a:pt x="81" y="77"/>
                    <a:pt x="81" y="77"/>
                    <a:pt x="81" y="77"/>
                  </a:cubicBezTo>
                  <a:cubicBezTo>
                    <a:pt x="82" y="77"/>
                    <a:pt x="84" y="77"/>
                    <a:pt x="84" y="77"/>
                  </a:cubicBezTo>
                  <a:cubicBezTo>
                    <a:pt x="85" y="78"/>
                    <a:pt x="85" y="78"/>
                    <a:pt x="85" y="79"/>
                  </a:cubicBezTo>
                  <a:cubicBezTo>
                    <a:pt x="85" y="82"/>
                    <a:pt x="83" y="85"/>
                    <a:pt x="79" y="88"/>
                  </a:cubicBezTo>
                  <a:cubicBezTo>
                    <a:pt x="76" y="92"/>
                    <a:pt x="71" y="96"/>
                    <a:pt x="65" y="99"/>
                  </a:cubicBezTo>
                  <a:cubicBezTo>
                    <a:pt x="65" y="101"/>
                    <a:pt x="65" y="101"/>
                    <a:pt x="65" y="101"/>
                  </a:cubicBezTo>
                  <a:cubicBezTo>
                    <a:pt x="89" y="98"/>
                    <a:pt x="89" y="98"/>
                    <a:pt x="89" y="98"/>
                  </a:cubicBezTo>
                  <a:cubicBezTo>
                    <a:pt x="92" y="36"/>
                    <a:pt x="92" y="36"/>
                    <a:pt x="92" y="36"/>
                  </a:cubicBezTo>
                  <a:cubicBezTo>
                    <a:pt x="69" y="30"/>
                    <a:pt x="69" y="30"/>
                    <a:pt x="69" y="30"/>
                  </a:cubicBezTo>
                  <a:cubicBezTo>
                    <a:pt x="68" y="32"/>
                    <a:pt x="68" y="32"/>
                    <a:pt x="68" y="32"/>
                  </a:cubicBezTo>
                  <a:cubicBezTo>
                    <a:pt x="74" y="36"/>
                    <a:pt x="78" y="40"/>
                    <a:pt x="81" y="44"/>
                  </a:cubicBezTo>
                  <a:cubicBezTo>
                    <a:pt x="85" y="48"/>
                    <a:pt x="86" y="52"/>
                    <a:pt x="86" y="54"/>
                  </a:cubicBezTo>
                  <a:cubicBezTo>
                    <a:pt x="86" y="55"/>
                    <a:pt x="86" y="56"/>
                    <a:pt x="85" y="56"/>
                  </a:cubicBezTo>
                  <a:cubicBezTo>
                    <a:pt x="85" y="56"/>
                    <a:pt x="84" y="56"/>
                    <a:pt x="82" y="56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38" y="54"/>
                    <a:pt x="38" y="54"/>
                    <a:pt x="38" y="54"/>
                  </a:cubicBezTo>
                  <a:cubicBezTo>
                    <a:pt x="27" y="53"/>
                    <a:pt x="20" y="52"/>
                    <a:pt x="16" y="51"/>
                  </a:cubicBezTo>
                  <a:cubicBezTo>
                    <a:pt x="13" y="50"/>
                    <a:pt x="10" y="48"/>
                    <a:pt x="8" y="45"/>
                  </a:cubicBezTo>
                  <a:cubicBezTo>
                    <a:pt x="7" y="45"/>
                    <a:pt x="7" y="45"/>
                    <a:pt x="7" y="45"/>
                  </a:cubicBezTo>
                  <a:close/>
                  <a:moveTo>
                    <a:pt x="38" y="134"/>
                  </a:moveTo>
                  <a:cubicBezTo>
                    <a:pt x="32" y="133"/>
                    <a:pt x="32" y="133"/>
                    <a:pt x="32" y="133"/>
                  </a:cubicBezTo>
                  <a:cubicBezTo>
                    <a:pt x="22" y="132"/>
                    <a:pt x="15" y="132"/>
                    <a:pt x="11" y="133"/>
                  </a:cubicBezTo>
                  <a:cubicBezTo>
                    <a:pt x="7" y="134"/>
                    <a:pt x="4" y="135"/>
                    <a:pt x="2" y="138"/>
                  </a:cubicBezTo>
                  <a:cubicBezTo>
                    <a:pt x="0" y="137"/>
                    <a:pt x="0" y="137"/>
                    <a:pt x="0" y="137"/>
                  </a:cubicBezTo>
                  <a:cubicBezTo>
                    <a:pt x="1" y="135"/>
                    <a:pt x="1" y="132"/>
                    <a:pt x="1" y="129"/>
                  </a:cubicBezTo>
                  <a:cubicBezTo>
                    <a:pt x="2" y="126"/>
                    <a:pt x="2" y="123"/>
                    <a:pt x="2" y="120"/>
                  </a:cubicBezTo>
                  <a:cubicBezTo>
                    <a:pt x="3" y="117"/>
                    <a:pt x="3" y="114"/>
                    <a:pt x="3" y="111"/>
                  </a:cubicBezTo>
                  <a:cubicBezTo>
                    <a:pt x="3" y="108"/>
                    <a:pt x="3" y="105"/>
                    <a:pt x="3" y="103"/>
                  </a:cubicBezTo>
                  <a:cubicBezTo>
                    <a:pt x="5" y="103"/>
                    <a:pt x="5" y="103"/>
                    <a:pt x="5" y="103"/>
                  </a:cubicBezTo>
                  <a:cubicBezTo>
                    <a:pt x="7" y="106"/>
                    <a:pt x="9" y="108"/>
                    <a:pt x="13" y="109"/>
                  </a:cubicBezTo>
                  <a:cubicBezTo>
                    <a:pt x="17" y="111"/>
                    <a:pt x="24" y="112"/>
                    <a:pt x="34" y="113"/>
                  </a:cubicBezTo>
                  <a:cubicBezTo>
                    <a:pt x="40" y="113"/>
                    <a:pt x="40" y="113"/>
                    <a:pt x="40" y="113"/>
                  </a:cubicBezTo>
                  <a:cubicBezTo>
                    <a:pt x="73" y="99"/>
                    <a:pt x="73" y="99"/>
                    <a:pt x="73" y="99"/>
                  </a:cubicBezTo>
                  <a:cubicBezTo>
                    <a:pt x="78" y="97"/>
                    <a:pt x="82" y="95"/>
                    <a:pt x="84" y="94"/>
                  </a:cubicBezTo>
                  <a:cubicBezTo>
                    <a:pt x="86" y="92"/>
                    <a:pt x="88" y="90"/>
                    <a:pt x="89" y="88"/>
                  </a:cubicBezTo>
                  <a:cubicBezTo>
                    <a:pt x="91" y="88"/>
                    <a:pt x="91" y="88"/>
                    <a:pt x="91" y="88"/>
                  </a:cubicBezTo>
                  <a:cubicBezTo>
                    <a:pt x="90" y="93"/>
                    <a:pt x="90" y="97"/>
                    <a:pt x="89" y="99"/>
                  </a:cubicBezTo>
                  <a:cubicBezTo>
                    <a:pt x="89" y="102"/>
                    <a:pt x="89" y="104"/>
                    <a:pt x="89" y="107"/>
                  </a:cubicBezTo>
                  <a:cubicBezTo>
                    <a:pt x="88" y="111"/>
                    <a:pt x="88" y="117"/>
                    <a:pt x="88" y="125"/>
                  </a:cubicBezTo>
                  <a:cubicBezTo>
                    <a:pt x="87" y="126"/>
                    <a:pt x="87" y="126"/>
                    <a:pt x="87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85" y="123"/>
                    <a:pt x="84" y="122"/>
                    <a:pt x="83" y="121"/>
                  </a:cubicBezTo>
                  <a:cubicBezTo>
                    <a:pt x="82" y="120"/>
                    <a:pt x="81" y="119"/>
                    <a:pt x="80" y="119"/>
                  </a:cubicBezTo>
                  <a:cubicBezTo>
                    <a:pt x="79" y="119"/>
                    <a:pt x="78" y="119"/>
                    <a:pt x="76" y="120"/>
                  </a:cubicBezTo>
                  <a:cubicBezTo>
                    <a:pt x="75" y="120"/>
                    <a:pt x="73" y="121"/>
                    <a:pt x="71" y="122"/>
                  </a:cubicBezTo>
                  <a:cubicBezTo>
                    <a:pt x="45" y="132"/>
                    <a:pt x="45" y="132"/>
                    <a:pt x="45" y="132"/>
                  </a:cubicBezTo>
                  <a:cubicBezTo>
                    <a:pt x="68" y="145"/>
                    <a:pt x="68" y="145"/>
                    <a:pt x="68" y="145"/>
                  </a:cubicBezTo>
                  <a:cubicBezTo>
                    <a:pt x="69" y="145"/>
                    <a:pt x="71" y="146"/>
                    <a:pt x="72" y="146"/>
                  </a:cubicBezTo>
                  <a:cubicBezTo>
                    <a:pt x="74" y="147"/>
                    <a:pt x="75" y="147"/>
                    <a:pt x="76" y="147"/>
                  </a:cubicBezTo>
                  <a:cubicBezTo>
                    <a:pt x="78" y="147"/>
                    <a:pt x="80" y="147"/>
                    <a:pt x="81" y="146"/>
                  </a:cubicBezTo>
                  <a:cubicBezTo>
                    <a:pt x="82" y="146"/>
                    <a:pt x="83" y="144"/>
                    <a:pt x="84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6" y="143"/>
                    <a:pt x="86" y="143"/>
                    <a:pt x="86" y="143"/>
                  </a:cubicBezTo>
                  <a:cubicBezTo>
                    <a:pt x="85" y="149"/>
                    <a:pt x="85" y="154"/>
                    <a:pt x="84" y="157"/>
                  </a:cubicBezTo>
                  <a:cubicBezTo>
                    <a:pt x="84" y="158"/>
                    <a:pt x="84" y="160"/>
                    <a:pt x="84" y="162"/>
                  </a:cubicBezTo>
                  <a:cubicBezTo>
                    <a:pt x="84" y="164"/>
                    <a:pt x="84" y="167"/>
                    <a:pt x="84" y="170"/>
                  </a:cubicBezTo>
                  <a:cubicBezTo>
                    <a:pt x="82" y="170"/>
                    <a:pt x="82" y="170"/>
                    <a:pt x="82" y="170"/>
                  </a:cubicBezTo>
                  <a:cubicBezTo>
                    <a:pt x="81" y="167"/>
                    <a:pt x="79" y="164"/>
                    <a:pt x="76" y="161"/>
                  </a:cubicBezTo>
                  <a:cubicBezTo>
                    <a:pt x="72" y="157"/>
                    <a:pt x="67" y="153"/>
                    <a:pt x="60" y="148"/>
                  </a:cubicBezTo>
                  <a:lnTo>
                    <a:pt x="38" y="1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9" name="任意多边形: 形状 88">
              <a:extLst>
                <a:ext uri="{FF2B5EF4-FFF2-40B4-BE49-F238E27FC236}">
                  <a16:creationId xmlns:a16="http://schemas.microsoft.com/office/drawing/2014/main" id="{F8B5D319-E082-4C6D-9EF8-F8AFFFF13338}"/>
                </a:ext>
              </a:extLst>
            </p:cNvPr>
            <p:cNvSpPr/>
            <p:nvPr/>
          </p:nvSpPr>
          <p:spPr bwMode="auto">
            <a:xfrm>
              <a:off x="2768601" y="2754313"/>
              <a:ext cx="52388" cy="88900"/>
            </a:xfrm>
            <a:custGeom>
              <a:avLst/>
              <a:gdLst>
                <a:gd name="T0" fmla="*/ 29 w 66"/>
                <a:gd name="T1" fmla="*/ 112 h 115"/>
                <a:gd name="T2" fmla="*/ 41 w 66"/>
                <a:gd name="T3" fmla="*/ 112 h 115"/>
                <a:gd name="T4" fmla="*/ 57 w 66"/>
                <a:gd name="T5" fmla="*/ 89 h 115"/>
                <a:gd name="T6" fmla="*/ 53 w 66"/>
                <a:gd name="T7" fmla="*/ 75 h 115"/>
                <a:gd name="T8" fmla="*/ 52 w 66"/>
                <a:gd name="T9" fmla="*/ 58 h 115"/>
                <a:gd name="T10" fmla="*/ 60 w 66"/>
                <a:gd name="T11" fmla="*/ 29 h 115"/>
                <a:gd name="T12" fmla="*/ 57 w 66"/>
                <a:gd name="T13" fmla="*/ 4 h 115"/>
                <a:gd name="T14" fmla="*/ 44 w 66"/>
                <a:gd name="T15" fmla="*/ 2 h 115"/>
                <a:gd name="T16" fmla="*/ 30 w 66"/>
                <a:gd name="T17" fmla="*/ 18 h 115"/>
                <a:gd name="T18" fmla="*/ 12 w 66"/>
                <a:gd name="T19" fmla="*/ 12 h 115"/>
                <a:gd name="T20" fmla="*/ 18 w 66"/>
                <a:gd name="T21" fmla="*/ 35 h 115"/>
                <a:gd name="T22" fmla="*/ 0 w 66"/>
                <a:gd name="T23" fmla="*/ 56 h 115"/>
                <a:gd name="T24" fmla="*/ 23 w 66"/>
                <a:gd name="T25" fmla="*/ 62 h 115"/>
                <a:gd name="T26" fmla="*/ 20 w 66"/>
                <a:gd name="T27" fmla="*/ 98 h 115"/>
                <a:gd name="T28" fmla="*/ 29 w 66"/>
                <a:gd name="T29" fmla="*/ 112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6" h="115">
                  <a:moveTo>
                    <a:pt x="29" y="112"/>
                  </a:moveTo>
                  <a:cubicBezTo>
                    <a:pt x="28" y="111"/>
                    <a:pt x="36" y="115"/>
                    <a:pt x="41" y="112"/>
                  </a:cubicBezTo>
                  <a:cubicBezTo>
                    <a:pt x="45" y="110"/>
                    <a:pt x="54" y="92"/>
                    <a:pt x="57" y="89"/>
                  </a:cubicBezTo>
                  <a:cubicBezTo>
                    <a:pt x="56" y="84"/>
                    <a:pt x="54" y="79"/>
                    <a:pt x="53" y="75"/>
                  </a:cubicBezTo>
                  <a:cubicBezTo>
                    <a:pt x="51" y="70"/>
                    <a:pt x="51" y="66"/>
                    <a:pt x="52" y="58"/>
                  </a:cubicBezTo>
                  <a:cubicBezTo>
                    <a:pt x="52" y="46"/>
                    <a:pt x="46" y="37"/>
                    <a:pt x="60" y="29"/>
                  </a:cubicBezTo>
                  <a:cubicBezTo>
                    <a:pt x="66" y="16"/>
                    <a:pt x="65" y="18"/>
                    <a:pt x="57" y="4"/>
                  </a:cubicBezTo>
                  <a:cubicBezTo>
                    <a:pt x="55" y="0"/>
                    <a:pt x="49" y="2"/>
                    <a:pt x="44" y="2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25" y="11"/>
                    <a:pt x="19" y="8"/>
                    <a:pt x="12" y="12"/>
                  </a:cubicBezTo>
                  <a:cubicBezTo>
                    <a:pt x="6" y="15"/>
                    <a:pt x="19" y="27"/>
                    <a:pt x="18" y="35"/>
                  </a:cubicBezTo>
                  <a:cubicBezTo>
                    <a:pt x="18" y="39"/>
                    <a:pt x="12" y="48"/>
                    <a:pt x="0" y="56"/>
                  </a:cubicBezTo>
                  <a:cubicBezTo>
                    <a:pt x="8" y="68"/>
                    <a:pt x="21" y="58"/>
                    <a:pt x="23" y="62"/>
                  </a:cubicBezTo>
                  <a:cubicBezTo>
                    <a:pt x="28" y="71"/>
                    <a:pt x="21" y="90"/>
                    <a:pt x="20" y="98"/>
                  </a:cubicBezTo>
                  <a:lnTo>
                    <a:pt x="29" y="1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0" name="任意多边形: 形状 89">
              <a:extLst>
                <a:ext uri="{FF2B5EF4-FFF2-40B4-BE49-F238E27FC236}">
                  <a16:creationId xmlns:a16="http://schemas.microsoft.com/office/drawing/2014/main" id="{37B52EB3-7FF9-4CC0-8091-17375E368C68}"/>
                </a:ext>
              </a:extLst>
            </p:cNvPr>
            <p:cNvSpPr/>
            <p:nvPr/>
          </p:nvSpPr>
          <p:spPr bwMode="auto">
            <a:xfrm>
              <a:off x="2814638" y="2792413"/>
              <a:ext cx="39688" cy="36513"/>
            </a:xfrm>
            <a:custGeom>
              <a:avLst/>
              <a:gdLst>
                <a:gd name="T0" fmla="*/ 30 w 51"/>
                <a:gd name="T1" fmla="*/ 43 h 46"/>
                <a:gd name="T2" fmla="*/ 35 w 51"/>
                <a:gd name="T3" fmla="*/ 46 h 46"/>
                <a:gd name="T4" fmla="*/ 51 w 51"/>
                <a:gd name="T5" fmla="*/ 26 h 46"/>
                <a:gd name="T6" fmla="*/ 46 w 51"/>
                <a:gd name="T7" fmla="*/ 10 h 46"/>
                <a:gd name="T8" fmla="*/ 0 w 51"/>
                <a:gd name="T9" fmla="*/ 11 h 46"/>
                <a:gd name="T10" fmla="*/ 30 w 51"/>
                <a:gd name="T11" fmla="*/ 4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1" h="46">
                  <a:moveTo>
                    <a:pt x="30" y="43"/>
                  </a:moveTo>
                  <a:cubicBezTo>
                    <a:pt x="35" y="46"/>
                    <a:pt x="35" y="46"/>
                    <a:pt x="35" y="46"/>
                  </a:cubicBezTo>
                  <a:cubicBezTo>
                    <a:pt x="41" y="40"/>
                    <a:pt x="47" y="33"/>
                    <a:pt x="51" y="26"/>
                  </a:cubicBezTo>
                  <a:cubicBezTo>
                    <a:pt x="50" y="20"/>
                    <a:pt x="49" y="16"/>
                    <a:pt x="46" y="10"/>
                  </a:cubicBezTo>
                  <a:cubicBezTo>
                    <a:pt x="40" y="0"/>
                    <a:pt x="6" y="2"/>
                    <a:pt x="0" y="11"/>
                  </a:cubicBezTo>
                  <a:cubicBezTo>
                    <a:pt x="13" y="20"/>
                    <a:pt x="18" y="20"/>
                    <a:pt x="30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1" name="任意多边形: 形状 90">
              <a:extLst>
                <a:ext uri="{FF2B5EF4-FFF2-40B4-BE49-F238E27FC236}">
                  <a16:creationId xmlns:a16="http://schemas.microsoft.com/office/drawing/2014/main" id="{947696BD-3754-42B4-9F52-2E1B97386288}"/>
                </a:ext>
              </a:extLst>
            </p:cNvPr>
            <p:cNvSpPr/>
            <p:nvPr/>
          </p:nvSpPr>
          <p:spPr bwMode="auto">
            <a:xfrm>
              <a:off x="2324101" y="3351213"/>
              <a:ext cx="166688" cy="187325"/>
            </a:xfrm>
            <a:custGeom>
              <a:avLst/>
              <a:gdLst>
                <a:gd name="T0" fmla="*/ 157 w 214"/>
                <a:gd name="T1" fmla="*/ 83 h 241"/>
                <a:gd name="T2" fmla="*/ 154 w 214"/>
                <a:gd name="T3" fmla="*/ 90 h 241"/>
                <a:gd name="T4" fmla="*/ 146 w 214"/>
                <a:gd name="T5" fmla="*/ 81 h 241"/>
                <a:gd name="T6" fmla="*/ 137 w 214"/>
                <a:gd name="T7" fmla="*/ 57 h 241"/>
                <a:gd name="T8" fmla="*/ 137 w 214"/>
                <a:gd name="T9" fmla="*/ 48 h 241"/>
                <a:gd name="T10" fmla="*/ 161 w 214"/>
                <a:gd name="T11" fmla="*/ 69 h 241"/>
                <a:gd name="T12" fmla="*/ 157 w 214"/>
                <a:gd name="T13" fmla="*/ 82 h 241"/>
                <a:gd name="T14" fmla="*/ 157 w 214"/>
                <a:gd name="T15" fmla="*/ 83 h 241"/>
                <a:gd name="T16" fmla="*/ 149 w 214"/>
                <a:gd name="T17" fmla="*/ 189 h 241"/>
                <a:gd name="T18" fmla="*/ 171 w 214"/>
                <a:gd name="T19" fmla="*/ 212 h 241"/>
                <a:gd name="T20" fmla="*/ 178 w 214"/>
                <a:gd name="T21" fmla="*/ 217 h 241"/>
                <a:gd name="T22" fmla="*/ 189 w 214"/>
                <a:gd name="T23" fmla="*/ 228 h 241"/>
                <a:gd name="T24" fmla="*/ 206 w 214"/>
                <a:gd name="T25" fmla="*/ 223 h 241"/>
                <a:gd name="T26" fmla="*/ 191 w 214"/>
                <a:gd name="T27" fmla="*/ 209 h 241"/>
                <a:gd name="T28" fmla="*/ 162 w 214"/>
                <a:gd name="T29" fmla="*/ 180 h 241"/>
                <a:gd name="T30" fmla="*/ 118 w 214"/>
                <a:gd name="T31" fmla="*/ 109 h 241"/>
                <a:gd name="T32" fmla="*/ 110 w 214"/>
                <a:gd name="T33" fmla="*/ 95 h 241"/>
                <a:gd name="T34" fmla="*/ 111 w 214"/>
                <a:gd name="T35" fmla="*/ 94 h 241"/>
                <a:gd name="T36" fmla="*/ 146 w 214"/>
                <a:gd name="T37" fmla="*/ 124 h 241"/>
                <a:gd name="T38" fmla="*/ 165 w 214"/>
                <a:gd name="T39" fmla="*/ 105 h 241"/>
                <a:gd name="T40" fmla="*/ 169 w 214"/>
                <a:gd name="T41" fmla="*/ 105 h 241"/>
                <a:gd name="T42" fmla="*/ 184 w 214"/>
                <a:gd name="T43" fmla="*/ 125 h 241"/>
                <a:gd name="T44" fmla="*/ 205 w 214"/>
                <a:gd name="T45" fmla="*/ 140 h 241"/>
                <a:gd name="T46" fmla="*/ 212 w 214"/>
                <a:gd name="T47" fmla="*/ 139 h 241"/>
                <a:gd name="T48" fmla="*/ 214 w 214"/>
                <a:gd name="T49" fmla="*/ 129 h 241"/>
                <a:gd name="T50" fmla="*/ 214 w 214"/>
                <a:gd name="T51" fmla="*/ 122 h 241"/>
                <a:gd name="T52" fmla="*/ 182 w 214"/>
                <a:gd name="T53" fmla="*/ 87 h 241"/>
                <a:gd name="T54" fmla="*/ 174 w 214"/>
                <a:gd name="T55" fmla="*/ 63 h 241"/>
                <a:gd name="T56" fmla="*/ 163 w 214"/>
                <a:gd name="T57" fmla="*/ 41 h 241"/>
                <a:gd name="T58" fmla="*/ 133 w 214"/>
                <a:gd name="T59" fmla="*/ 19 h 241"/>
                <a:gd name="T60" fmla="*/ 125 w 214"/>
                <a:gd name="T61" fmla="*/ 65 h 241"/>
                <a:gd name="T62" fmla="*/ 99 w 214"/>
                <a:gd name="T63" fmla="*/ 41 h 241"/>
                <a:gd name="T64" fmla="*/ 90 w 214"/>
                <a:gd name="T65" fmla="*/ 5 h 241"/>
                <a:gd name="T66" fmla="*/ 87 w 214"/>
                <a:gd name="T67" fmla="*/ 0 h 241"/>
                <a:gd name="T68" fmla="*/ 80 w 214"/>
                <a:gd name="T69" fmla="*/ 8 h 241"/>
                <a:gd name="T70" fmla="*/ 80 w 214"/>
                <a:gd name="T71" fmla="*/ 12 h 241"/>
                <a:gd name="T72" fmla="*/ 83 w 214"/>
                <a:gd name="T73" fmla="*/ 25 h 241"/>
                <a:gd name="T74" fmla="*/ 75 w 214"/>
                <a:gd name="T75" fmla="*/ 24 h 241"/>
                <a:gd name="T76" fmla="*/ 61 w 214"/>
                <a:gd name="T77" fmla="*/ 42 h 241"/>
                <a:gd name="T78" fmla="*/ 70 w 214"/>
                <a:gd name="T79" fmla="*/ 78 h 241"/>
                <a:gd name="T80" fmla="*/ 85 w 214"/>
                <a:gd name="T81" fmla="*/ 107 h 241"/>
                <a:gd name="T82" fmla="*/ 79 w 214"/>
                <a:gd name="T83" fmla="*/ 65 h 241"/>
                <a:gd name="T84" fmla="*/ 102 w 214"/>
                <a:gd name="T85" fmla="*/ 91 h 241"/>
                <a:gd name="T86" fmla="*/ 106 w 214"/>
                <a:gd name="T87" fmla="*/ 111 h 241"/>
                <a:gd name="T88" fmla="*/ 112 w 214"/>
                <a:gd name="T89" fmla="*/ 129 h 241"/>
                <a:gd name="T90" fmla="*/ 112 w 214"/>
                <a:gd name="T91" fmla="*/ 134 h 241"/>
                <a:gd name="T92" fmla="*/ 70 w 214"/>
                <a:gd name="T93" fmla="*/ 96 h 241"/>
                <a:gd name="T94" fmla="*/ 53 w 214"/>
                <a:gd name="T95" fmla="*/ 74 h 241"/>
                <a:gd name="T96" fmla="*/ 39 w 214"/>
                <a:gd name="T97" fmla="*/ 50 h 241"/>
                <a:gd name="T98" fmla="*/ 33 w 214"/>
                <a:gd name="T99" fmla="*/ 58 h 241"/>
                <a:gd name="T100" fmla="*/ 10 w 214"/>
                <a:gd name="T101" fmla="*/ 60 h 241"/>
                <a:gd name="T102" fmla="*/ 4 w 214"/>
                <a:gd name="T103" fmla="*/ 79 h 241"/>
                <a:gd name="T104" fmla="*/ 0 w 214"/>
                <a:gd name="T105" fmla="*/ 91 h 241"/>
                <a:gd name="T106" fmla="*/ 7 w 214"/>
                <a:gd name="T107" fmla="*/ 100 h 241"/>
                <a:gd name="T108" fmla="*/ 40 w 214"/>
                <a:gd name="T109" fmla="*/ 86 h 241"/>
                <a:gd name="T110" fmla="*/ 47 w 214"/>
                <a:gd name="T111" fmla="*/ 118 h 241"/>
                <a:gd name="T112" fmla="*/ 56 w 214"/>
                <a:gd name="T113" fmla="*/ 139 h 241"/>
                <a:gd name="T114" fmla="*/ 63 w 214"/>
                <a:gd name="T115" fmla="*/ 121 h 241"/>
                <a:gd name="T116" fmla="*/ 61 w 214"/>
                <a:gd name="T117" fmla="*/ 108 h 241"/>
                <a:gd name="T118" fmla="*/ 61 w 214"/>
                <a:gd name="T119" fmla="*/ 103 h 241"/>
                <a:gd name="T120" fmla="*/ 83 w 214"/>
                <a:gd name="T121" fmla="*/ 125 h 241"/>
                <a:gd name="T122" fmla="*/ 107 w 214"/>
                <a:gd name="T123" fmla="*/ 144 h 241"/>
                <a:gd name="T124" fmla="*/ 149 w 214"/>
                <a:gd name="T125" fmla="*/ 189 h 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14" h="241">
                  <a:moveTo>
                    <a:pt x="157" y="83"/>
                  </a:moveTo>
                  <a:cubicBezTo>
                    <a:pt x="158" y="86"/>
                    <a:pt x="165" y="94"/>
                    <a:pt x="154" y="90"/>
                  </a:cubicBezTo>
                  <a:cubicBezTo>
                    <a:pt x="150" y="88"/>
                    <a:pt x="149" y="84"/>
                    <a:pt x="146" y="81"/>
                  </a:cubicBezTo>
                  <a:cubicBezTo>
                    <a:pt x="143" y="77"/>
                    <a:pt x="137" y="62"/>
                    <a:pt x="137" y="57"/>
                  </a:cubicBezTo>
                  <a:cubicBezTo>
                    <a:pt x="137" y="48"/>
                    <a:pt x="137" y="48"/>
                    <a:pt x="137" y="48"/>
                  </a:cubicBezTo>
                  <a:cubicBezTo>
                    <a:pt x="149" y="50"/>
                    <a:pt x="155" y="64"/>
                    <a:pt x="161" y="69"/>
                  </a:cubicBezTo>
                  <a:cubicBezTo>
                    <a:pt x="161" y="79"/>
                    <a:pt x="157" y="75"/>
                    <a:pt x="157" y="82"/>
                  </a:cubicBezTo>
                  <a:cubicBezTo>
                    <a:pt x="157" y="83"/>
                    <a:pt x="157" y="83"/>
                    <a:pt x="157" y="83"/>
                  </a:cubicBezTo>
                  <a:close/>
                  <a:moveTo>
                    <a:pt x="149" y="189"/>
                  </a:moveTo>
                  <a:cubicBezTo>
                    <a:pt x="171" y="212"/>
                    <a:pt x="171" y="212"/>
                    <a:pt x="171" y="212"/>
                  </a:cubicBezTo>
                  <a:cubicBezTo>
                    <a:pt x="171" y="212"/>
                    <a:pt x="174" y="211"/>
                    <a:pt x="178" y="217"/>
                  </a:cubicBezTo>
                  <a:cubicBezTo>
                    <a:pt x="182" y="222"/>
                    <a:pt x="183" y="227"/>
                    <a:pt x="189" y="228"/>
                  </a:cubicBezTo>
                  <a:cubicBezTo>
                    <a:pt x="199" y="230"/>
                    <a:pt x="211" y="241"/>
                    <a:pt x="206" y="223"/>
                  </a:cubicBezTo>
                  <a:cubicBezTo>
                    <a:pt x="202" y="211"/>
                    <a:pt x="197" y="215"/>
                    <a:pt x="191" y="209"/>
                  </a:cubicBezTo>
                  <a:cubicBezTo>
                    <a:pt x="177" y="198"/>
                    <a:pt x="173" y="193"/>
                    <a:pt x="162" y="180"/>
                  </a:cubicBezTo>
                  <a:cubicBezTo>
                    <a:pt x="143" y="160"/>
                    <a:pt x="118" y="145"/>
                    <a:pt x="118" y="109"/>
                  </a:cubicBezTo>
                  <a:cubicBezTo>
                    <a:pt x="110" y="95"/>
                    <a:pt x="110" y="95"/>
                    <a:pt x="110" y="95"/>
                  </a:cubicBezTo>
                  <a:cubicBezTo>
                    <a:pt x="111" y="94"/>
                    <a:pt x="111" y="94"/>
                    <a:pt x="111" y="94"/>
                  </a:cubicBezTo>
                  <a:cubicBezTo>
                    <a:pt x="125" y="98"/>
                    <a:pt x="133" y="123"/>
                    <a:pt x="146" y="124"/>
                  </a:cubicBezTo>
                  <a:cubicBezTo>
                    <a:pt x="158" y="124"/>
                    <a:pt x="162" y="114"/>
                    <a:pt x="165" y="105"/>
                  </a:cubicBezTo>
                  <a:cubicBezTo>
                    <a:pt x="169" y="105"/>
                    <a:pt x="169" y="105"/>
                    <a:pt x="169" y="105"/>
                  </a:cubicBezTo>
                  <a:cubicBezTo>
                    <a:pt x="171" y="112"/>
                    <a:pt x="180" y="118"/>
                    <a:pt x="184" y="125"/>
                  </a:cubicBezTo>
                  <a:cubicBezTo>
                    <a:pt x="188" y="132"/>
                    <a:pt x="193" y="140"/>
                    <a:pt x="205" y="140"/>
                  </a:cubicBezTo>
                  <a:cubicBezTo>
                    <a:pt x="208" y="140"/>
                    <a:pt x="209" y="140"/>
                    <a:pt x="212" y="139"/>
                  </a:cubicBezTo>
                  <a:cubicBezTo>
                    <a:pt x="212" y="135"/>
                    <a:pt x="213" y="134"/>
                    <a:pt x="214" y="129"/>
                  </a:cubicBezTo>
                  <a:cubicBezTo>
                    <a:pt x="214" y="122"/>
                    <a:pt x="214" y="122"/>
                    <a:pt x="214" y="122"/>
                  </a:cubicBezTo>
                  <a:cubicBezTo>
                    <a:pt x="214" y="110"/>
                    <a:pt x="190" y="100"/>
                    <a:pt x="182" y="87"/>
                  </a:cubicBezTo>
                  <a:cubicBezTo>
                    <a:pt x="176" y="78"/>
                    <a:pt x="176" y="75"/>
                    <a:pt x="174" y="63"/>
                  </a:cubicBezTo>
                  <a:cubicBezTo>
                    <a:pt x="171" y="52"/>
                    <a:pt x="168" y="48"/>
                    <a:pt x="163" y="41"/>
                  </a:cubicBezTo>
                  <a:cubicBezTo>
                    <a:pt x="150" y="27"/>
                    <a:pt x="151" y="16"/>
                    <a:pt x="133" y="19"/>
                  </a:cubicBezTo>
                  <a:cubicBezTo>
                    <a:pt x="122" y="21"/>
                    <a:pt x="124" y="47"/>
                    <a:pt x="125" y="65"/>
                  </a:cubicBezTo>
                  <a:cubicBezTo>
                    <a:pt x="117" y="64"/>
                    <a:pt x="104" y="47"/>
                    <a:pt x="99" y="41"/>
                  </a:cubicBezTo>
                  <a:cubicBezTo>
                    <a:pt x="92" y="33"/>
                    <a:pt x="91" y="21"/>
                    <a:pt x="90" y="5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4" y="2"/>
                    <a:pt x="81" y="4"/>
                    <a:pt x="80" y="8"/>
                  </a:cubicBezTo>
                  <a:cubicBezTo>
                    <a:pt x="80" y="12"/>
                    <a:pt x="80" y="12"/>
                    <a:pt x="80" y="12"/>
                  </a:cubicBezTo>
                  <a:cubicBezTo>
                    <a:pt x="80" y="18"/>
                    <a:pt x="82" y="20"/>
                    <a:pt x="83" y="25"/>
                  </a:cubicBezTo>
                  <a:cubicBezTo>
                    <a:pt x="75" y="24"/>
                    <a:pt x="75" y="24"/>
                    <a:pt x="75" y="24"/>
                  </a:cubicBezTo>
                  <a:cubicBezTo>
                    <a:pt x="68" y="23"/>
                    <a:pt x="61" y="33"/>
                    <a:pt x="61" y="42"/>
                  </a:cubicBezTo>
                  <a:cubicBezTo>
                    <a:pt x="61" y="42"/>
                    <a:pt x="69" y="74"/>
                    <a:pt x="70" y="78"/>
                  </a:cubicBezTo>
                  <a:cubicBezTo>
                    <a:pt x="73" y="88"/>
                    <a:pt x="84" y="98"/>
                    <a:pt x="85" y="107"/>
                  </a:cubicBezTo>
                  <a:cubicBezTo>
                    <a:pt x="98" y="107"/>
                    <a:pt x="78" y="77"/>
                    <a:pt x="79" y="65"/>
                  </a:cubicBezTo>
                  <a:cubicBezTo>
                    <a:pt x="90" y="67"/>
                    <a:pt x="100" y="80"/>
                    <a:pt x="102" y="91"/>
                  </a:cubicBezTo>
                  <a:cubicBezTo>
                    <a:pt x="104" y="98"/>
                    <a:pt x="104" y="104"/>
                    <a:pt x="106" y="111"/>
                  </a:cubicBezTo>
                  <a:cubicBezTo>
                    <a:pt x="107" y="115"/>
                    <a:pt x="111" y="129"/>
                    <a:pt x="112" y="129"/>
                  </a:cubicBezTo>
                  <a:cubicBezTo>
                    <a:pt x="112" y="134"/>
                    <a:pt x="112" y="134"/>
                    <a:pt x="112" y="134"/>
                  </a:cubicBezTo>
                  <a:cubicBezTo>
                    <a:pt x="104" y="132"/>
                    <a:pt x="77" y="104"/>
                    <a:pt x="70" y="96"/>
                  </a:cubicBezTo>
                  <a:cubicBezTo>
                    <a:pt x="62" y="88"/>
                    <a:pt x="59" y="85"/>
                    <a:pt x="53" y="74"/>
                  </a:cubicBezTo>
                  <a:cubicBezTo>
                    <a:pt x="50" y="69"/>
                    <a:pt x="44" y="50"/>
                    <a:pt x="39" y="50"/>
                  </a:cubicBezTo>
                  <a:cubicBezTo>
                    <a:pt x="34" y="50"/>
                    <a:pt x="33" y="53"/>
                    <a:pt x="33" y="58"/>
                  </a:cubicBezTo>
                  <a:cubicBezTo>
                    <a:pt x="27" y="57"/>
                    <a:pt x="17" y="58"/>
                    <a:pt x="10" y="60"/>
                  </a:cubicBezTo>
                  <a:cubicBezTo>
                    <a:pt x="0" y="65"/>
                    <a:pt x="4" y="69"/>
                    <a:pt x="4" y="79"/>
                  </a:cubicBezTo>
                  <a:cubicBezTo>
                    <a:pt x="4" y="82"/>
                    <a:pt x="1" y="84"/>
                    <a:pt x="0" y="91"/>
                  </a:cubicBezTo>
                  <a:cubicBezTo>
                    <a:pt x="0" y="95"/>
                    <a:pt x="3" y="100"/>
                    <a:pt x="7" y="100"/>
                  </a:cubicBezTo>
                  <a:cubicBezTo>
                    <a:pt x="16" y="100"/>
                    <a:pt x="29" y="85"/>
                    <a:pt x="40" y="86"/>
                  </a:cubicBezTo>
                  <a:cubicBezTo>
                    <a:pt x="41" y="91"/>
                    <a:pt x="44" y="105"/>
                    <a:pt x="47" y="118"/>
                  </a:cubicBezTo>
                  <a:cubicBezTo>
                    <a:pt x="54" y="125"/>
                    <a:pt x="53" y="144"/>
                    <a:pt x="56" y="139"/>
                  </a:cubicBezTo>
                  <a:cubicBezTo>
                    <a:pt x="60" y="134"/>
                    <a:pt x="62" y="131"/>
                    <a:pt x="63" y="121"/>
                  </a:cubicBezTo>
                  <a:cubicBezTo>
                    <a:pt x="63" y="117"/>
                    <a:pt x="61" y="114"/>
                    <a:pt x="61" y="108"/>
                  </a:cubicBezTo>
                  <a:cubicBezTo>
                    <a:pt x="61" y="103"/>
                    <a:pt x="61" y="103"/>
                    <a:pt x="61" y="103"/>
                  </a:cubicBezTo>
                  <a:cubicBezTo>
                    <a:pt x="68" y="105"/>
                    <a:pt x="78" y="120"/>
                    <a:pt x="83" y="125"/>
                  </a:cubicBezTo>
                  <a:cubicBezTo>
                    <a:pt x="90" y="132"/>
                    <a:pt x="99" y="138"/>
                    <a:pt x="107" y="144"/>
                  </a:cubicBezTo>
                  <a:cubicBezTo>
                    <a:pt x="114" y="150"/>
                    <a:pt x="145" y="183"/>
                    <a:pt x="149" y="1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2" name="任意多边形: 形状 91">
              <a:extLst>
                <a:ext uri="{FF2B5EF4-FFF2-40B4-BE49-F238E27FC236}">
                  <a16:creationId xmlns:a16="http://schemas.microsoft.com/office/drawing/2014/main" id="{DB1F9A93-FE42-495D-AD03-23CC93C7258B}"/>
                </a:ext>
              </a:extLst>
            </p:cNvPr>
            <p:cNvSpPr/>
            <p:nvPr/>
          </p:nvSpPr>
          <p:spPr bwMode="auto">
            <a:xfrm>
              <a:off x="2466976" y="3365500"/>
              <a:ext cx="26988" cy="33338"/>
            </a:xfrm>
            <a:custGeom>
              <a:avLst/>
              <a:gdLst>
                <a:gd name="T0" fmla="*/ 1 w 35"/>
                <a:gd name="T1" fmla="*/ 41 h 41"/>
                <a:gd name="T2" fmla="*/ 19 w 35"/>
                <a:gd name="T3" fmla="*/ 29 h 41"/>
                <a:gd name="T4" fmla="*/ 35 w 35"/>
                <a:gd name="T5" fmla="*/ 15 h 41"/>
                <a:gd name="T6" fmla="*/ 35 w 35"/>
                <a:gd name="T7" fmla="*/ 7 h 41"/>
                <a:gd name="T8" fmla="*/ 31 w 35"/>
                <a:gd name="T9" fmla="*/ 1 h 41"/>
                <a:gd name="T10" fmla="*/ 0 w 35"/>
                <a:gd name="T11" fmla="*/ 29 h 41"/>
                <a:gd name="T12" fmla="*/ 0 w 35"/>
                <a:gd name="T13" fmla="*/ 37 h 41"/>
                <a:gd name="T14" fmla="*/ 1 w 35"/>
                <a:gd name="T15" fmla="*/ 4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41">
                  <a:moveTo>
                    <a:pt x="1" y="41"/>
                  </a:moveTo>
                  <a:cubicBezTo>
                    <a:pt x="5" y="40"/>
                    <a:pt x="14" y="32"/>
                    <a:pt x="19" y="29"/>
                  </a:cubicBezTo>
                  <a:cubicBezTo>
                    <a:pt x="26" y="26"/>
                    <a:pt x="34" y="25"/>
                    <a:pt x="35" y="15"/>
                  </a:cubicBezTo>
                  <a:cubicBezTo>
                    <a:pt x="35" y="7"/>
                    <a:pt x="35" y="7"/>
                    <a:pt x="35" y="7"/>
                  </a:cubicBezTo>
                  <a:cubicBezTo>
                    <a:pt x="35" y="4"/>
                    <a:pt x="33" y="1"/>
                    <a:pt x="31" y="1"/>
                  </a:cubicBezTo>
                  <a:cubicBezTo>
                    <a:pt x="18" y="0"/>
                    <a:pt x="0" y="16"/>
                    <a:pt x="0" y="29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8"/>
                    <a:pt x="1" y="40"/>
                    <a:pt x="1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3" name="任意多边形: 形状 92">
              <a:extLst>
                <a:ext uri="{FF2B5EF4-FFF2-40B4-BE49-F238E27FC236}">
                  <a16:creationId xmlns:a16="http://schemas.microsoft.com/office/drawing/2014/main" id="{E7FD72A7-1C56-464B-BF4F-4EC6D543C75A}"/>
                </a:ext>
              </a:extLst>
            </p:cNvPr>
            <p:cNvSpPr/>
            <p:nvPr/>
          </p:nvSpPr>
          <p:spPr bwMode="auto">
            <a:xfrm>
              <a:off x="2408238" y="3208338"/>
              <a:ext cx="22225" cy="26988"/>
            </a:xfrm>
            <a:custGeom>
              <a:avLst/>
              <a:gdLst>
                <a:gd name="T0" fmla="*/ 2 w 29"/>
                <a:gd name="T1" fmla="*/ 36 h 36"/>
                <a:gd name="T2" fmla="*/ 5 w 29"/>
                <a:gd name="T3" fmla="*/ 36 h 36"/>
                <a:gd name="T4" fmla="*/ 27 w 29"/>
                <a:gd name="T5" fmla="*/ 17 h 36"/>
                <a:gd name="T6" fmla="*/ 28 w 29"/>
                <a:gd name="T7" fmla="*/ 12 h 36"/>
                <a:gd name="T8" fmla="*/ 26 w 29"/>
                <a:gd name="T9" fmla="*/ 2 h 36"/>
                <a:gd name="T10" fmla="*/ 17 w 29"/>
                <a:gd name="T11" fmla="*/ 0 h 36"/>
                <a:gd name="T12" fmla="*/ 2 w 29"/>
                <a:gd name="T13" fmla="*/ 16 h 36"/>
                <a:gd name="T14" fmla="*/ 2 w 29"/>
                <a:gd name="T15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36">
                  <a:moveTo>
                    <a:pt x="2" y="36"/>
                  </a:moveTo>
                  <a:cubicBezTo>
                    <a:pt x="5" y="36"/>
                    <a:pt x="5" y="36"/>
                    <a:pt x="5" y="36"/>
                  </a:cubicBezTo>
                  <a:cubicBezTo>
                    <a:pt x="9" y="30"/>
                    <a:pt x="26" y="23"/>
                    <a:pt x="27" y="17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9" y="7"/>
                    <a:pt x="27" y="7"/>
                    <a:pt x="26" y="2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2" y="3"/>
                    <a:pt x="2" y="12"/>
                    <a:pt x="2" y="16"/>
                  </a:cubicBezTo>
                  <a:cubicBezTo>
                    <a:pt x="0" y="26"/>
                    <a:pt x="1" y="29"/>
                    <a:pt x="2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4" name="任意多边形: 形状 93">
              <a:extLst>
                <a:ext uri="{FF2B5EF4-FFF2-40B4-BE49-F238E27FC236}">
                  <a16:creationId xmlns:a16="http://schemas.microsoft.com/office/drawing/2014/main" id="{865721D5-62E4-4504-9767-C51944A53AD4}"/>
                </a:ext>
              </a:extLst>
            </p:cNvPr>
            <p:cNvSpPr/>
            <p:nvPr/>
          </p:nvSpPr>
          <p:spPr bwMode="auto">
            <a:xfrm>
              <a:off x="2439988" y="3170238"/>
              <a:ext cx="63500" cy="109538"/>
            </a:xfrm>
            <a:custGeom>
              <a:avLst/>
              <a:gdLst>
                <a:gd name="T0" fmla="*/ 54 w 82"/>
                <a:gd name="T1" fmla="*/ 68 h 141"/>
                <a:gd name="T2" fmla="*/ 21 w 82"/>
                <a:gd name="T3" fmla="*/ 51 h 141"/>
                <a:gd name="T4" fmla="*/ 28 w 82"/>
                <a:gd name="T5" fmla="*/ 25 h 141"/>
                <a:gd name="T6" fmla="*/ 29 w 82"/>
                <a:gd name="T7" fmla="*/ 19 h 141"/>
                <a:gd name="T8" fmla="*/ 52 w 82"/>
                <a:gd name="T9" fmla="*/ 38 h 141"/>
                <a:gd name="T10" fmla="*/ 63 w 82"/>
                <a:gd name="T11" fmla="*/ 66 h 141"/>
                <a:gd name="T12" fmla="*/ 54 w 82"/>
                <a:gd name="T13" fmla="*/ 68 h 141"/>
                <a:gd name="T14" fmla="*/ 34 w 82"/>
                <a:gd name="T15" fmla="*/ 84 h 141"/>
                <a:gd name="T16" fmla="*/ 49 w 82"/>
                <a:gd name="T17" fmla="*/ 79 h 141"/>
                <a:gd name="T18" fmla="*/ 34 w 82"/>
                <a:gd name="T19" fmla="*/ 84 h 141"/>
                <a:gd name="T20" fmla="*/ 55 w 82"/>
                <a:gd name="T21" fmla="*/ 133 h 141"/>
                <a:gd name="T22" fmla="*/ 36 w 82"/>
                <a:gd name="T23" fmla="*/ 103 h 141"/>
                <a:gd name="T24" fmla="*/ 56 w 82"/>
                <a:gd name="T25" fmla="*/ 101 h 141"/>
                <a:gd name="T26" fmla="*/ 66 w 82"/>
                <a:gd name="T27" fmla="*/ 94 h 141"/>
                <a:gd name="T28" fmla="*/ 75 w 82"/>
                <a:gd name="T29" fmla="*/ 94 h 141"/>
                <a:gd name="T30" fmla="*/ 80 w 82"/>
                <a:gd name="T31" fmla="*/ 89 h 141"/>
                <a:gd name="T32" fmla="*/ 81 w 82"/>
                <a:gd name="T33" fmla="*/ 61 h 141"/>
                <a:gd name="T34" fmla="*/ 79 w 82"/>
                <a:gd name="T35" fmla="*/ 54 h 141"/>
                <a:gd name="T36" fmla="*/ 60 w 82"/>
                <a:gd name="T37" fmla="*/ 30 h 141"/>
                <a:gd name="T38" fmla="*/ 33 w 82"/>
                <a:gd name="T39" fmla="*/ 0 h 141"/>
                <a:gd name="T40" fmla="*/ 20 w 82"/>
                <a:gd name="T41" fmla="*/ 17 h 141"/>
                <a:gd name="T42" fmla="*/ 17 w 82"/>
                <a:gd name="T43" fmla="*/ 38 h 141"/>
                <a:gd name="T44" fmla="*/ 16 w 82"/>
                <a:gd name="T45" fmla="*/ 49 h 141"/>
                <a:gd name="T46" fmla="*/ 1 w 82"/>
                <a:gd name="T47" fmla="*/ 51 h 141"/>
                <a:gd name="T48" fmla="*/ 19 w 82"/>
                <a:gd name="T49" fmla="*/ 70 h 141"/>
                <a:gd name="T50" fmla="*/ 3 w 82"/>
                <a:gd name="T51" fmla="*/ 83 h 141"/>
                <a:gd name="T52" fmla="*/ 2 w 82"/>
                <a:gd name="T53" fmla="*/ 85 h 141"/>
                <a:gd name="T54" fmla="*/ 26 w 82"/>
                <a:gd name="T55" fmla="*/ 94 h 141"/>
                <a:gd name="T56" fmla="*/ 34 w 82"/>
                <a:gd name="T57" fmla="*/ 122 h 141"/>
                <a:gd name="T58" fmla="*/ 0 w 82"/>
                <a:gd name="T59" fmla="*/ 131 h 141"/>
                <a:gd name="T60" fmla="*/ 26 w 82"/>
                <a:gd name="T61" fmla="*/ 139 h 141"/>
                <a:gd name="T62" fmla="*/ 39 w 82"/>
                <a:gd name="T63" fmla="*/ 140 h 141"/>
                <a:gd name="T64" fmla="*/ 54 w 82"/>
                <a:gd name="T65" fmla="*/ 137 h 141"/>
                <a:gd name="T66" fmla="*/ 55 w 82"/>
                <a:gd name="T67" fmla="*/ 1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2" h="141">
                  <a:moveTo>
                    <a:pt x="54" y="68"/>
                  </a:moveTo>
                  <a:cubicBezTo>
                    <a:pt x="51" y="68"/>
                    <a:pt x="27" y="53"/>
                    <a:pt x="21" y="51"/>
                  </a:cubicBezTo>
                  <a:cubicBezTo>
                    <a:pt x="28" y="25"/>
                    <a:pt x="28" y="25"/>
                    <a:pt x="28" y="25"/>
                  </a:cubicBezTo>
                  <a:cubicBezTo>
                    <a:pt x="29" y="19"/>
                    <a:pt x="29" y="19"/>
                    <a:pt x="29" y="19"/>
                  </a:cubicBezTo>
                  <a:cubicBezTo>
                    <a:pt x="37" y="21"/>
                    <a:pt x="48" y="33"/>
                    <a:pt x="52" y="38"/>
                  </a:cubicBezTo>
                  <a:cubicBezTo>
                    <a:pt x="63" y="54"/>
                    <a:pt x="60" y="50"/>
                    <a:pt x="63" y="66"/>
                  </a:cubicBezTo>
                  <a:cubicBezTo>
                    <a:pt x="59" y="67"/>
                    <a:pt x="58" y="68"/>
                    <a:pt x="54" y="68"/>
                  </a:cubicBezTo>
                  <a:close/>
                  <a:moveTo>
                    <a:pt x="34" y="84"/>
                  </a:moveTo>
                  <a:cubicBezTo>
                    <a:pt x="48" y="85"/>
                    <a:pt x="59" y="85"/>
                    <a:pt x="49" y="79"/>
                  </a:cubicBezTo>
                  <a:cubicBezTo>
                    <a:pt x="28" y="68"/>
                    <a:pt x="23" y="70"/>
                    <a:pt x="34" y="84"/>
                  </a:cubicBezTo>
                  <a:close/>
                  <a:moveTo>
                    <a:pt x="55" y="133"/>
                  </a:moveTo>
                  <a:cubicBezTo>
                    <a:pt x="53" y="129"/>
                    <a:pt x="36" y="106"/>
                    <a:pt x="36" y="103"/>
                  </a:cubicBezTo>
                  <a:cubicBezTo>
                    <a:pt x="37" y="96"/>
                    <a:pt x="47" y="100"/>
                    <a:pt x="56" y="101"/>
                  </a:cubicBezTo>
                  <a:cubicBezTo>
                    <a:pt x="66" y="94"/>
                    <a:pt x="66" y="94"/>
                    <a:pt x="66" y="94"/>
                  </a:cubicBezTo>
                  <a:cubicBezTo>
                    <a:pt x="75" y="94"/>
                    <a:pt x="75" y="94"/>
                    <a:pt x="75" y="94"/>
                  </a:cubicBezTo>
                  <a:cubicBezTo>
                    <a:pt x="75" y="94"/>
                    <a:pt x="80" y="89"/>
                    <a:pt x="80" y="89"/>
                  </a:cubicBezTo>
                  <a:cubicBezTo>
                    <a:pt x="77" y="89"/>
                    <a:pt x="77" y="74"/>
                    <a:pt x="81" y="61"/>
                  </a:cubicBezTo>
                  <a:cubicBezTo>
                    <a:pt x="82" y="57"/>
                    <a:pt x="78" y="55"/>
                    <a:pt x="79" y="54"/>
                  </a:cubicBezTo>
                  <a:cubicBezTo>
                    <a:pt x="76" y="48"/>
                    <a:pt x="65" y="35"/>
                    <a:pt x="60" y="3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25" y="3"/>
                    <a:pt x="22" y="7"/>
                    <a:pt x="20" y="17"/>
                  </a:cubicBezTo>
                  <a:cubicBezTo>
                    <a:pt x="17" y="38"/>
                    <a:pt x="17" y="38"/>
                    <a:pt x="17" y="38"/>
                  </a:cubicBezTo>
                  <a:cubicBezTo>
                    <a:pt x="16" y="43"/>
                    <a:pt x="17" y="44"/>
                    <a:pt x="16" y="49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3" y="62"/>
                    <a:pt x="14" y="56"/>
                    <a:pt x="19" y="70"/>
                  </a:cubicBezTo>
                  <a:cubicBezTo>
                    <a:pt x="26" y="86"/>
                    <a:pt x="17" y="79"/>
                    <a:pt x="3" y="83"/>
                  </a:cubicBezTo>
                  <a:cubicBezTo>
                    <a:pt x="2" y="85"/>
                    <a:pt x="2" y="85"/>
                    <a:pt x="2" y="85"/>
                  </a:cubicBezTo>
                  <a:cubicBezTo>
                    <a:pt x="26" y="94"/>
                    <a:pt x="26" y="94"/>
                    <a:pt x="26" y="94"/>
                  </a:cubicBezTo>
                  <a:cubicBezTo>
                    <a:pt x="34" y="122"/>
                    <a:pt x="34" y="122"/>
                    <a:pt x="34" y="122"/>
                  </a:cubicBezTo>
                  <a:cubicBezTo>
                    <a:pt x="25" y="124"/>
                    <a:pt x="2" y="122"/>
                    <a:pt x="0" y="131"/>
                  </a:cubicBezTo>
                  <a:cubicBezTo>
                    <a:pt x="8" y="134"/>
                    <a:pt x="16" y="138"/>
                    <a:pt x="26" y="139"/>
                  </a:cubicBezTo>
                  <a:cubicBezTo>
                    <a:pt x="39" y="140"/>
                    <a:pt x="39" y="140"/>
                    <a:pt x="39" y="140"/>
                  </a:cubicBezTo>
                  <a:cubicBezTo>
                    <a:pt x="44" y="141"/>
                    <a:pt x="50" y="139"/>
                    <a:pt x="54" y="137"/>
                  </a:cubicBezTo>
                  <a:lnTo>
                    <a:pt x="55" y="1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5" name="任意多边形: 形状 94">
              <a:extLst>
                <a:ext uri="{FF2B5EF4-FFF2-40B4-BE49-F238E27FC236}">
                  <a16:creationId xmlns:a16="http://schemas.microsoft.com/office/drawing/2014/main" id="{BC6829CE-3E6B-4E59-8AA6-E27D11CFE7B0}"/>
                </a:ext>
              </a:extLst>
            </p:cNvPr>
            <p:cNvSpPr/>
            <p:nvPr/>
          </p:nvSpPr>
          <p:spPr bwMode="auto">
            <a:xfrm>
              <a:off x="2441576" y="2978150"/>
              <a:ext cx="169863" cy="138113"/>
            </a:xfrm>
            <a:custGeom>
              <a:avLst/>
              <a:gdLst>
                <a:gd name="T0" fmla="*/ 103 w 218"/>
                <a:gd name="T1" fmla="*/ 176 h 178"/>
                <a:gd name="T2" fmla="*/ 73 w 218"/>
                <a:gd name="T3" fmla="*/ 154 h 178"/>
                <a:gd name="T4" fmla="*/ 83 w 218"/>
                <a:gd name="T5" fmla="*/ 146 h 178"/>
                <a:gd name="T6" fmla="*/ 96 w 218"/>
                <a:gd name="T7" fmla="*/ 155 h 178"/>
                <a:gd name="T8" fmla="*/ 97 w 218"/>
                <a:gd name="T9" fmla="*/ 132 h 178"/>
                <a:gd name="T10" fmla="*/ 105 w 218"/>
                <a:gd name="T11" fmla="*/ 96 h 178"/>
                <a:gd name="T12" fmla="*/ 160 w 218"/>
                <a:gd name="T13" fmla="*/ 125 h 178"/>
                <a:gd name="T14" fmla="*/ 216 w 218"/>
                <a:gd name="T15" fmla="*/ 154 h 178"/>
                <a:gd name="T16" fmla="*/ 210 w 218"/>
                <a:gd name="T17" fmla="*/ 142 h 178"/>
                <a:gd name="T18" fmla="*/ 136 w 218"/>
                <a:gd name="T19" fmla="*/ 52 h 178"/>
                <a:gd name="T20" fmla="*/ 119 w 218"/>
                <a:gd name="T21" fmla="*/ 10 h 178"/>
                <a:gd name="T22" fmla="*/ 97 w 218"/>
                <a:gd name="T23" fmla="*/ 26 h 178"/>
                <a:gd name="T24" fmla="*/ 91 w 218"/>
                <a:gd name="T25" fmla="*/ 42 h 178"/>
                <a:gd name="T26" fmla="*/ 69 w 218"/>
                <a:gd name="T27" fmla="*/ 0 h 178"/>
                <a:gd name="T28" fmla="*/ 49 w 218"/>
                <a:gd name="T29" fmla="*/ 70 h 178"/>
                <a:gd name="T30" fmla="*/ 64 w 218"/>
                <a:gd name="T31" fmla="*/ 127 h 178"/>
                <a:gd name="T32" fmla="*/ 62 w 218"/>
                <a:gd name="T33" fmla="*/ 148 h 178"/>
                <a:gd name="T34" fmla="*/ 44 w 218"/>
                <a:gd name="T35" fmla="*/ 133 h 178"/>
                <a:gd name="T36" fmla="*/ 52 w 218"/>
                <a:gd name="T37" fmla="*/ 132 h 178"/>
                <a:gd name="T38" fmla="*/ 44 w 218"/>
                <a:gd name="T39" fmla="*/ 100 h 178"/>
                <a:gd name="T40" fmla="*/ 25 w 218"/>
                <a:gd name="T41" fmla="*/ 72 h 178"/>
                <a:gd name="T42" fmla="*/ 10 w 218"/>
                <a:gd name="T43" fmla="*/ 75 h 178"/>
                <a:gd name="T44" fmla="*/ 6 w 218"/>
                <a:gd name="T45" fmla="*/ 97 h 178"/>
                <a:gd name="T46" fmla="*/ 14 w 218"/>
                <a:gd name="T47" fmla="*/ 93 h 178"/>
                <a:gd name="T48" fmla="*/ 18 w 218"/>
                <a:gd name="T49" fmla="*/ 107 h 178"/>
                <a:gd name="T50" fmla="*/ 42 w 218"/>
                <a:gd name="T51" fmla="*/ 148 h 178"/>
                <a:gd name="T52" fmla="*/ 98 w 218"/>
                <a:gd name="T53" fmla="*/ 178 h 178"/>
                <a:gd name="T54" fmla="*/ 105 w 218"/>
                <a:gd name="T55" fmla="*/ 44 h 178"/>
                <a:gd name="T56" fmla="*/ 120 w 218"/>
                <a:gd name="T57" fmla="*/ 67 h 178"/>
                <a:gd name="T58" fmla="*/ 105 w 218"/>
                <a:gd name="T59" fmla="*/ 86 h 178"/>
                <a:gd name="T60" fmla="*/ 102 w 218"/>
                <a:gd name="T61" fmla="*/ 90 h 178"/>
                <a:gd name="T62" fmla="*/ 66 w 218"/>
                <a:gd name="T63" fmla="*/ 62 h 178"/>
                <a:gd name="T64" fmla="*/ 85 w 218"/>
                <a:gd name="T65" fmla="*/ 124 h 178"/>
                <a:gd name="T66" fmla="*/ 66 w 218"/>
                <a:gd name="T67" fmla="*/ 62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18" h="178">
                  <a:moveTo>
                    <a:pt x="98" y="178"/>
                  </a:moveTo>
                  <a:cubicBezTo>
                    <a:pt x="103" y="176"/>
                    <a:pt x="103" y="176"/>
                    <a:pt x="103" y="176"/>
                  </a:cubicBezTo>
                  <a:cubicBezTo>
                    <a:pt x="105" y="174"/>
                    <a:pt x="101" y="169"/>
                    <a:pt x="98" y="167"/>
                  </a:cubicBezTo>
                  <a:cubicBezTo>
                    <a:pt x="73" y="154"/>
                    <a:pt x="73" y="154"/>
                    <a:pt x="73" y="154"/>
                  </a:cubicBezTo>
                  <a:cubicBezTo>
                    <a:pt x="79" y="145"/>
                    <a:pt x="79" y="145"/>
                    <a:pt x="79" y="145"/>
                  </a:cubicBezTo>
                  <a:cubicBezTo>
                    <a:pt x="83" y="146"/>
                    <a:pt x="83" y="146"/>
                    <a:pt x="83" y="146"/>
                  </a:cubicBezTo>
                  <a:cubicBezTo>
                    <a:pt x="86" y="148"/>
                    <a:pt x="86" y="149"/>
                    <a:pt x="90" y="151"/>
                  </a:cubicBezTo>
                  <a:cubicBezTo>
                    <a:pt x="96" y="155"/>
                    <a:pt x="96" y="155"/>
                    <a:pt x="96" y="155"/>
                  </a:cubicBezTo>
                  <a:cubicBezTo>
                    <a:pt x="98" y="155"/>
                    <a:pt x="98" y="155"/>
                    <a:pt x="98" y="155"/>
                  </a:cubicBezTo>
                  <a:cubicBezTo>
                    <a:pt x="97" y="132"/>
                    <a:pt x="97" y="132"/>
                    <a:pt x="97" y="132"/>
                  </a:cubicBezTo>
                  <a:cubicBezTo>
                    <a:pt x="110" y="124"/>
                    <a:pt x="110" y="124"/>
                    <a:pt x="110" y="124"/>
                  </a:cubicBezTo>
                  <a:cubicBezTo>
                    <a:pt x="109" y="115"/>
                    <a:pt x="101" y="105"/>
                    <a:pt x="105" y="96"/>
                  </a:cubicBezTo>
                  <a:cubicBezTo>
                    <a:pt x="114" y="101"/>
                    <a:pt x="121" y="101"/>
                    <a:pt x="131" y="107"/>
                  </a:cubicBezTo>
                  <a:cubicBezTo>
                    <a:pt x="141" y="113"/>
                    <a:pt x="150" y="119"/>
                    <a:pt x="160" y="125"/>
                  </a:cubicBezTo>
                  <a:cubicBezTo>
                    <a:pt x="170" y="131"/>
                    <a:pt x="179" y="137"/>
                    <a:pt x="189" y="143"/>
                  </a:cubicBezTo>
                  <a:cubicBezTo>
                    <a:pt x="195" y="146"/>
                    <a:pt x="212" y="160"/>
                    <a:pt x="216" y="154"/>
                  </a:cubicBezTo>
                  <a:cubicBezTo>
                    <a:pt x="218" y="151"/>
                    <a:pt x="216" y="150"/>
                    <a:pt x="216" y="146"/>
                  </a:cubicBezTo>
                  <a:cubicBezTo>
                    <a:pt x="210" y="142"/>
                    <a:pt x="210" y="142"/>
                    <a:pt x="210" y="142"/>
                  </a:cubicBezTo>
                  <a:cubicBezTo>
                    <a:pt x="209" y="122"/>
                    <a:pt x="172" y="109"/>
                    <a:pt x="155" y="93"/>
                  </a:cubicBezTo>
                  <a:cubicBezTo>
                    <a:pt x="134" y="80"/>
                    <a:pt x="138" y="69"/>
                    <a:pt x="136" y="52"/>
                  </a:cubicBezTo>
                  <a:cubicBezTo>
                    <a:pt x="136" y="46"/>
                    <a:pt x="125" y="14"/>
                    <a:pt x="120" y="10"/>
                  </a:cubicBezTo>
                  <a:cubicBezTo>
                    <a:pt x="119" y="10"/>
                    <a:pt x="119" y="10"/>
                    <a:pt x="119" y="10"/>
                  </a:cubicBezTo>
                  <a:cubicBezTo>
                    <a:pt x="116" y="8"/>
                    <a:pt x="107" y="10"/>
                    <a:pt x="105" y="13"/>
                  </a:cubicBezTo>
                  <a:cubicBezTo>
                    <a:pt x="97" y="26"/>
                    <a:pt x="97" y="26"/>
                    <a:pt x="97" y="26"/>
                  </a:cubicBezTo>
                  <a:cubicBezTo>
                    <a:pt x="93" y="32"/>
                    <a:pt x="96" y="34"/>
                    <a:pt x="92" y="41"/>
                  </a:cubicBezTo>
                  <a:cubicBezTo>
                    <a:pt x="91" y="42"/>
                    <a:pt x="91" y="42"/>
                    <a:pt x="91" y="42"/>
                  </a:cubicBezTo>
                  <a:cubicBezTo>
                    <a:pt x="90" y="44"/>
                    <a:pt x="88" y="45"/>
                    <a:pt x="86" y="44"/>
                  </a:cubicBezTo>
                  <a:cubicBezTo>
                    <a:pt x="74" y="36"/>
                    <a:pt x="82" y="13"/>
                    <a:pt x="69" y="0"/>
                  </a:cubicBezTo>
                  <a:cubicBezTo>
                    <a:pt x="65" y="2"/>
                    <a:pt x="58" y="4"/>
                    <a:pt x="55" y="9"/>
                  </a:cubicBezTo>
                  <a:cubicBezTo>
                    <a:pt x="45" y="26"/>
                    <a:pt x="46" y="56"/>
                    <a:pt x="49" y="70"/>
                  </a:cubicBezTo>
                  <a:cubicBezTo>
                    <a:pt x="51" y="76"/>
                    <a:pt x="56" y="93"/>
                    <a:pt x="59" y="97"/>
                  </a:cubicBezTo>
                  <a:cubicBezTo>
                    <a:pt x="66" y="108"/>
                    <a:pt x="72" y="113"/>
                    <a:pt x="64" y="127"/>
                  </a:cubicBezTo>
                  <a:cubicBezTo>
                    <a:pt x="66" y="145"/>
                    <a:pt x="66" y="145"/>
                    <a:pt x="66" y="145"/>
                  </a:cubicBezTo>
                  <a:cubicBezTo>
                    <a:pt x="62" y="148"/>
                    <a:pt x="62" y="148"/>
                    <a:pt x="62" y="148"/>
                  </a:cubicBezTo>
                  <a:cubicBezTo>
                    <a:pt x="46" y="137"/>
                    <a:pt x="46" y="137"/>
                    <a:pt x="46" y="137"/>
                  </a:cubicBezTo>
                  <a:cubicBezTo>
                    <a:pt x="42" y="135"/>
                    <a:pt x="44" y="135"/>
                    <a:pt x="44" y="133"/>
                  </a:cubicBezTo>
                  <a:cubicBezTo>
                    <a:pt x="47" y="135"/>
                    <a:pt x="49" y="137"/>
                    <a:pt x="52" y="133"/>
                  </a:cubicBezTo>
                  <a:cubicBezTo>
                    <a:pt x="52" y="132"/>
                    <a:pt x="52" y="132"/>
                    <a:pt x="52" y="132"/>
                  </a:cubicBezTo>
                  <a:cubicBezTo>
                    <a:pt x="55" y="128"/>
                    <a:pt x="54" y="101"/>
                    <a:pt x="52" y="97"/>
                  </a:cubicBezTo>
                  <a:cubicBezTo>
                    <a:pt x="49" y="97"/>
                    <a:pt x="46" y="97"/>
                    <a:pt x="44" y="100"/>
                  </a:cubicBezTo>
                  <a:cubicBezTo>
                    <a:pt x="40" y="105"/>
                    <a:pt x="40" y="105"/>
                    <a:pt x="40" y="105"/>
                  </a:cubicBezTo>
                  <a:cubicBezTo>
                    <a:pt x="25" y="72"/>
                    <a:pt x="25" y="72"/>
                    <a:pt x="25" y="72"/>
                  </a:cubicBezTo>
                  <a:cubicBezTo>
                    <a:pt x="18" y="70"/>
                    <a:pt x="18" y="70"/>
                    <a:pt x="18" y="70"/>
                  </a:cubicBezTo>
                  <a:cubicBezTo>
                    <a:pt x="16" y="71"/>
                    <a:pt x="11" y="73"/>
                    <a:pt x="10" y="75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4" y="84"/>
                    <a:pt x="0" y="93"/>
                    <a:pt x="6" y="97"/>
                  </a:cubicBezTo>
                  <a:cubicBezTo>
                    <a:pt x="10" y="99"/>
                    <a:pt x="10" y="99"/>
                    <a:pt x="10" y="99"/>
                  </a:cubicBezTo>
                  <a:cubicBezTo>
                    <a:pt x="14" y="93"/>
                    <a:pt x="14" y="93"/>
                    <a:pt x="14" y="93"/>
                  </a:cubicBezTo>
                  <a:cubicBezTo>
                    <a:pt x="19" y="84"/>
                    <a:pt x="39" y="117"/>
                    <a:pt x="34" y="127"/>
                  </a:cubicBezTo>
                  <a:cubicBezTo>
                    <a:pt x="27" y="122"/>
                    <a:pt x="24" y="111"/>
                    <a:pt x="18" y="107"/>
                  </a:cubicBezTo>
                  <a:cubicBezTo>
                    <a:pt x="16" y="106"/>
                    <a:pt x="7" y="106"/>
                    <a:pt x="6" y="108"/>
                  </a:cubicBezTo>
                  <a:cubicBezTo>
                    <a:pt x="2" y="115"/>
                    <a:pt x="33" y="143"/>
                    <a:pt x="42" y="148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7" y="176"/>
                    <a:pt x="91" y="175"/>
                    <a:pt x="98" y="178"/>
                  </a:cubicBezTo>
                  <a:close/>
                  <a:moveTo>
                    <a:pt x="120" y="67"/>
                  </a:moveTo>
                  <a:cubicBezTo>
                    <a:pt x="111" y="66"/>
                    <a:pt x="101" y="56"/>
                    <a:pt x="105" y="44"/>
                  </a:cubicBezTo>
                  <a:cubicBezTo>
                    <a:pt x="106" y="38"/>
                    <a:pt x="111" y="34"/>
                    <a:pt x="113" y="40"/>
                  </a:cubicBezTo>
                  <a:cubicBezTo>
                    <a:pt x="117" y="49"/>
                    <a:pt x="121" y="63"/>
                    <a:pt x="120" y="67"/>
                  </a:cubicBezTo>
                  <a:close/>
                  <a:moveTo>
                    <a:pt x="99" y="85"/>
                  </a:moveTo>
                  <a:cubicBezTo>
                    <a:pt x="100" y="83"/>
                    <a:pt x="103" y="84"/>
                    <a:pt x="105" y="86"/>
                  </a:cubicBezTo>
                  <a:cubicBezTo>
                    <a:pt x="108" y="87"/>
                    <a:pt x="110" y="90"/>
                    <a:pt x="109" y="91"/>
                  </a:cubicBezTo>
                  <a:cubicBezTo>
                    <a:pt x="108" y="92"/>
                    <a:pt x="105" y="92"/>
                    <a:pt x="102" y="90"/>
                  </a:cubicBezTo>
                  <a:cubicBezTo>
                    <a:pt x="100" y="89"/>
                    <a:pt x="98" y="86"/>
                    <a:pt x="99" y="85"/>
                  </a:cubicBezTo>
                  <a:close/>
                  <a:moveTo>
                    <a:pt x="66" y="62"/>
                  </a:moveTo>
                  <a:cubicBezTo>
                    <a:pt x="76" y="84"/>
                    <a:pt x="76" y="105"/>
                    <a:pt x="89" y="123"/>
                  </a:cubicBezTo>
                  <a:cubicBezTo>
                    <a:pt x="91" y="128"/>
                    <a:pt x="90" y="128"/>
                    <a:pt x="85" y="124"/>
                  </a:cubicBezTo>
                  <a:cubicBezTo>
                    <a:pt x="76" y="111"/>
                    <a:pt x="66" y="98"/>
                    <a:pt x="61" y="81"/>
                  </a:cubicBezTo>
                  <a:cubicBezTo>
                    <a:pt x="56" y="66"/>
                    <a:pt x="60" y="53"/>
                    <a:pt x="66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6" name="任意多边形: 形状 95">
              <a:extLst>
                <a:ext uri="{FF2B5EF4-FFF2-40B4-BE49-F238E27FC236}">
                  <a16:creationId xmlns:a16="http://schemas.microsoft.com/office/drawing/2014/main" id="{34524E59-7BF5-4535-B492-1B1EB53C32EF}"/>
                </a:ext>
              </a:extLst>
            </p:cNvPr>
            <p:cNvSpPr/>
            <p:nvPr/>
          </p:nvSpPr>
          <p:spPr bwMode="auto">
            <a:xfrm>
              <a:off x="2586038" y="2813050"/>
              <a:ext cx="152400" cy="165100"/>
            </a:xfrm>
            <a:custGeom>
              <a:avLst/>
              <a:gdLst>
                <a:gd name="T0" fmla="*/ 78 w 198"/>
                <a:gd name="T1" fmla="*/ 197 h 213"/>
                <a:gd name="T2" fmla="*/ 98 w 198"/>
                <a:gd name="T3" fmla="*/ 209 h 213"/>
                <a:gd name="T4" fmla="*/ 108 w 198"/>
                <a:gd name="T5" fmla="*/ 210 h 213"/>
                <a:gd name="T6" fmla="*/ 110 w 198"/>
                <a:gd name="T7" fmla="*/ 205 h 213"/>
                <a:gd name="T8" fmla="*/ 109 w 198"/>
                <a:gd name="T9" fmla="*/ 170 h 213"/>
                <a:gd name="T10" fmla="*/ 116 w 198"/>
                <a:gd name="T11" fmla="*/ 77 h 213"/>
                <a:gd name="T12" fmla="*/ 126 w 198"/>
                <a:gd name="T13" fmla="*/ 131 h 213"/>
                <a:gd name="T14" fmla="*/ 180 w 198"/>
                <a:gd name="T15" fmla="*/ 129 h 213"/>
                <a:gd name="T16" fmla="*/ 193 w 198"/>
                <a:gd name="T17" fmla="*/ 102 h 213"/>
                <a:gd name="T18" fmla="*/ 178 w 198"/>
                <a:gd name="T19" fmla="*/ 103 h 213"/>
                <a:gd name="T20" fmla="*/ 154 w 198"/>
                <a:gd name="T21" fmla="*/ 126 h 213"/>
                <a:gd name="T22" fmla="*/ 133 w 198"/>
                <a:gd name="T23" fmla="*/ 110 h 213"/>
                <a:gd name="T24" fmla="*/ 127 w 198"/>
                <a:gd name="T25" fmla="*/ 62 h 213"/>
                <a:gd name="T26" fmla="*/ 109 w 198"/>
                <a:gd name="T27" fmla="*/ 74 h 213"/>
                <a:gd name="T28" fmla="*/ 92 w 198"/>
                <a:gd name="T29" fmla="*/ 132 h 213"/>
                <a:gd name="T30" fmla="*/ 83 w 198"/>
                <a:gd name="T31" fmla="*/ 157 h 213"/>
                <a:gd name="T32" fmla="*/ 75 w 198"/>
                <a:gd name="T33" fmla="*/ 181 h 213"/>
                <a:gd name="T34" fmla="*/ 81 w 198"/>
                <a:gd name="T35" fmla="*/ 100 h 213"/>
                <a:gd name="T36" fmla="*/ 63 w 198"/>
                <a:gd name="T37" fmla="*/ 107 h 213"/>
                <a:gd name="T38" fmla="*/ 86 w 198"/>
                <a:gd name="T39" fmla="*/ 0 h 213"/>
                <a:gd name="T40" fmla="*/ 72 w 198"/>
                <a:gd name="T41" fmla="*/ 17 h 213"/>
                <a:gd name="T42" fmla="*/ 55 w 198"/>
                <a:gd name="T43" fmla="*/ 29 h 213"/>
                <a:gd name="T44" fmla="*/ 21 w 198"/>
                <a:gd name="T45" fmla="*/ 96 h 213"/>
                <a:gd name="T46" fmla="*/ 40 w 198"/>
                <a:gd name="T47" fmla="*/ 99 h 213"/>
                <a:gd name="T48" fmla="*/ 57 w 198"/>
                <a:gd name="T49" fmla="*/ 34 h 213"/>
                <a:gd name="T50" fmla="*/ 61 w 198"/>
                <a:gd name="T51" fmla="*/ 96 h 213"/>
                <a:gd name="T52" fmla="*/ 49 w 198"/>
                <a:gd name="T53" fmla="*/ 146 h 213"/>
                <a:gd name="T54" fmla="*/ 44 w 198"/>
                <a:gd name="T55" fmla="*/ 192 h 213"/>
                <a:gd name="T56" fmla="*/ 60 w 198"/>
                <a:gd name="T57" fmla="*/ 172 h 213"/>
                <a:gd name="T58" fmla="*/ 87 w 198"/>
                <a:gd name="T59" fmla="*/ 147 h 213"/>
                <a:gd name="T60" fmla="*/ 89 w 198"/>
                <a:gd name="T61" fmla="*/ 149 h 213"/>
                <a:gd name="T62" fmla="*/ 87 w 198"/>
                <a:gd name="T63" fmla="*/ 147 h 213"/>
                <a:gd name="T64" fmla="*/ 109 w 198"/>
                <a:gd name="T65" fmla="*/ 196 h 213"/>
                <a:gd name="T66" fmla="*/ 106 w 198"/>
                <a:gd name="T67" fmla="*/ 198 h 213"/>
                <a:gd name="T68" fmla="*/ 52 w 198"/>
                <a:gd name="T69" fmla="*/ 162 h 213"/>
                <a:gd name="T70" fmla="*/ 58 w 198"/>
                <a:gd name="T71" fmla="*/ 137 h 213"/>
                <a:gd name="T72" fmla="*/ 52 w 198"/>
                <a:gd name="T73" fmla="*/ 162 h 213"/>
                <a:gd name="T74" fmla="*/ 72 w 198"/>
                <a:gd name="T75" fmla="*/ 115 h 213"/>
                <a:gd name="T76" fmla="*/ 67 w 198"/>
                <a:gd name="T77" fmla="*/ 131 h 213"/>
                <a:gd name="T78" fmla="*/ 2 w 198"/>
                <a:gd name="T79" fmla="*/ 91 h 213"/>
                <a:gd name="T80" fmla="*/ 16 w 198"/>
                <a:gd name="T81" fmla="*/ 145 h 213"/>
                <a:gd name="T82" fmla="*/ 13 w 198"/>
                <a:gd name="T83" fmla="*/ 101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98" h="213">
                  <a:moveTo>
                    <a:pt x="73" y="198"/>
                  </a:moveTo>
                  <a:cubicBezTo>
                    <a:pt x="76" y="198"/>
                    <a:pt x="75" y="200"/>
                    <a:pt x="78" y="197"/>
                  </a:cubicBezTo>
                  <a:cubicBezTo>
                    <a:pt x="83" y="193"/>
                    <a:pt x="83" y="176"/>
                    <a:pt x="89" y="170"/>
                  </a:cubicBezTo>
                  <a:cubicBezTo>
                    <a:pt x="95" y="178"/>
                    <a:pt x="91" y="202"/>
                    <a:pt x="98" y="209"/>
                  </a:cubicBezTo>
                  <a:cubicBezTo>
                    <a:pt x="100" y="211"/>
                    <a:pt x="102" y="211"/>
                    <a:pt x="106" y="213"/>
                  </a:cubicBezTo>
                  <a:cubicBezTo>
                    <a:pt x="106" y="213"/>
                    <a:pt x="106" y="212"/>
                    <a:pt x="108" y="210"/>
                  </a:cubicBezTo>
                  <a:cubicBezTo>
                    <a:pt x="107" y="208"/>
                    <a:pt x="107" y="208"/>
                    <a:pt x="107" y="208"/>
                  </a:cubicBezTo>
                  <a:cubicBezTo>
                    <a:pt x="110" y="205"/>
                    <a:pt x="110" y="205"/>
                    <a:pt x="110" y="205"/>
                  </a:cubicBezTo>
                  <a:cubicBezTo>
                    <a:pt x="115" y="201"/>
                    <a:pt x="123" y="209"/>
                    <a:pt x="127" y="202"/>
                  </a:cubicBezTo>
                  <a:cubicBezTo>
                    <a:pt x="126" y="192"/>
                    <a:pt x="118" y="183"/>
                    <a:pt x="109" y="170"/>
                  </a:cubicBezTo>
                  <a:cubicBezTo>
                    <a:pt x="99" y="158"/>
                    <a:pt x="98" y="150"/>
                    <a:pt x="99" y="138"/>
                  </a:cubicBezTo>
                  <a:cubicBezTo>
                    <a:pt x="100" y="132"/>
                    <a:pt x="113" y="80"/>
                    <a:pt x="116" y="77"/>
                  </a:cubicBezTo>
                  <a:cubicBezTo>
                    <a:pt x="120" y="84"/>
                    <a:pt x="121" y="94"/>
                    <a:pt x="119" y="101"/>
                  </a:cubicBezTo>
                  <a:cubicBezTo>
                    <a:pt x="117" y="111"/>
                    <a:pt x="115" y="120"/>
                    <a:pt x="126" y="131"/>
                  </a:cubicBezTo>
                  <a:cubicBezTo>
                    <a:pt x="143" y="149"/>
                    <a:pt x="145" y="148"/>
                    <a:pt x="162" y="144"/>
                  </a:cubicBezTo>
                  <a:cubicBezTo>
                    <a:pt x="180" y="129"/>
                    <a:pt x="180" y="129"/>
                    <a:pt x="180" y="129"/>
                  </a:cubicBezTo>
                  <a:cubicBezTo>
                    <a:pt x="186" y="124"/>
                    <a:pt x="186" y="124"/>
                    <a:pt x="186" y="124"/>
                  </a:cubicBezTo>
                  <a:cubicBezTo>
                    <a:pt x="192" y="118"/>
                    <a:pt x="198" y="107"/>
                    <a:pt x="193" y="102"/>
                  </a:cubicBezTo>
                  <a:cubicBezTo>
                    <a:pt x="191" y="99"/>
                    <a:pt x="191" y="99"/>
                    <a:pt x="191" y="99"/>
                  </a:cubicBezTo>
                  <a:cubicBezTo>
                    <a:pt x="187" y="95"/>
                    <a:pt x="182" y="99"/>
                    <a:pt x="178" y="103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0" y="110"/>
                    <a:pt x="158" y="124"/>
                    <a:pt x="154" y="126"/>
                  </a:cubicBezTo>
                  <a:cubicBezTo>
                    <a:pt x="146" y="130"/>
                    <a:pt x="137" y="120"/>
                    <a:pt x="136" y="113"/>
                  </a:cubicBezTo>
                  <a:cubicBezTo>
                    <a:pt x="133" y="110"/>
                    <a:pt x="133" y="110"/>
                    <a:pt x="133" y="110"/>
                  </a:cubicBezTo>
                  <a:cubicBezTo>
                    <a:pt x="136" y="98"/>
                    <a:pt x="130" y="96"/>
                    <a:pt x="129" y="85"/>
                  </a:cubicBezTo>
                  <a:cubicBezTo>
                    <a:pt x="129" y="81"/>
                    <a:pt x="131" y="65"/>
                    <a:pt x="127" y="62"/>
                  </a:cubicBezTo>
                  <a:cubicBezTo>
                    <a:pt x="125" y="59"/>
                    <a:pt x="125" y="59"/>
                    <a:pt x="125" y="59"/>
                  </a:cubicBezTo>
                  <a:cubicBezTo>
                    <a:pt x="115" y="64"/>
                    <a:pt x="113" y="60"/>
                    <a:pt x="109" y="74"/>
                  </a:cubicBezTo>
                  <a:cubicBezTo>
                    <a:pt x="106" y="80"/>
                    <a:pt x="104" y="87"/>
                    <a:pt x="102" y="93"/>
                  </a:cubicBezTo>
                  <a:cubicBezTo>
                    <a:pt x="100" y="102"/>
                    <a:pt x="98" y="127"/>
                    <a:pt x="92" y="132"/>
                  </a:cubicBezTo>
                  <a:cubicBezTo>
                    <a:pt x="90" y="134"/>
                    <a:pt x="84" y="131"/>
                    <a:pt x="81" y="129"/>
                  </a:cubicBezTo>
                  <a:cubicBezTo>
                    <a:pt x="73" y="138"/>
                    <a:pt x="75" y="147"/>
                    <a:pt x="83" y="157"/>
                  </a:cubicBezTo>
                  <a:cubicBezTo>
                    <a:pt x="83" y="166"/>
                    <a:pt x="81" y="174"/>
                    <a:pt x="77" y="181"/>
                  </a:cubicBezTo>
                  <a:cubicBezTo>
                    <a:pt x="75" y="181"/>
                    <a:pt x="75" y="181"/>
                    <a:pt x="75" y="181"/>
                  </a:cubicBezTo>
                  <a:cubicBezTo>
                    <a:pt x="68" y="172"/>
                    <a:pt x="70" y="144"/>
                    <a:pt x="73" y="134"/>
                  </a:cubicBezTo>
                  <a:cubicBezTo>
                    <a:pt x="82" y="125"/>
                    <a:pt x="88" y="108"/>
                    <a:pt x="81" y="100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63" y="107"/>
                    <a:pt x="63" y="107"/>
                    <a:pt x="63" y="107"/>
                  </a:cubicBezTo>
                  <a:cubicBezTo>
                    <a:pt x="60" y="88"/>
                    <a:pt x="94" y="7"/>
                    <a:pt x="90" y="3"/>
                  </a:cubicBezTo>
                  <a:cubicBezTo>
                    <a:pt x="88" y="1"/>
                    <a:pt x="89" y="2"/>
                    <a:pt x="86" y="0"/>
                  </a:cubicBezTo>
                  <a:cubicBezTo>
                    <a:pt x="83" y="2"/>
                    <a:pt x="83" y="2"/>
                    <a:pt x="80" y="4"/>
                  </a:cubicBezTo>
                  <a:cubicBezTo>
                    <a:pt x="76" y="8"/>
                    <a:pt x="77" y="12"/>
                    <a:pt x="72" y="17"/>
                  </a:cubicBezTo>
                  <a:cubicBezTo>
                    <a:pt x="68" y="21"/>
                    <a:pt x="64" y="21"/>
                    <a:pt x="59" y="26"/>
                  </a:cubicBezTo>
                  <a:cubicBezTo>
                    <a:pt x="55" y="29"/>
                    <a:pt x="55" y="29"/>
                    <a:pt x="55" y="29"/>
                  </a:cubicBezTo>
                  <a:cubicBezTo>
                    <a:pt x="36" y="48"/>
                    <a:pt x="38" y="82"/>
                    <a:pt x="32" y="88"/>
                  </a:cubicBezTo>
                  <a:cubicBezTo>
                    <a:pt x="28" y="91"/>
                    <a:pt x="26" y="91"/>
                    <a:pt x="21" y="96"/>
                  </a:cubicBezTo>
                  <a:cubicBezTo>
                    <a:pt x="19" y="98"/>
                    <a:pt x="19" y="98"/>
                    <a:pt x="19" y="99"/>
                  </a:cubicBezTo>
                  <a:cubicBezTo>
                    <a:pt x="22" y="100"/>
                    <a:pt x="37" y="102"/>
                    <a:pt x="40" y="99"/>
                  </a:cubicBezTo>
                  <a:cubicBezTo>
                    <a:pt x="47" y="94"/>
                    <a:pt x="31" y="64"/>
                    <a:pt x="55" y="36"/>
                  </a:cubicBezTo>
                  <a:cubicBezTo>
                    <a:pt x="57" y="34"/>
                    <a:pt x="57" y="34"/>
                    <a:pt x="57" y="34"/>
                  </a:cubicBezTo>
                  <a:cubicBezTo>
                    <a:pt x="63" y="28"/>
                    <a:pt x="65" y="33"/>
                    <a:pt x="74" y="26"/>
                  </a:cubicBezTo>
                  <a:cubicBezTo>
                    <a:pt x="78" y="32"/>
                    <a:pt x="64" y="86"/>
                    <a:pt x="61" y="96"/>
                  </a:cubicBezTo>
                  <a:cubicBezTo>
                    <a:pt x="58" y="108"/>
                    <a:pt x="55" y="118"/>
                    <a:pt x="53" y="130"/>
                  </a:cubicBezTo>
                  <a:cubicBezTo>
                    <a:pt x="52" y="135"/>
                    <a:pt x="51" y="140"/>
                    <a:pt x="49" y="146"/>
                  </a:cubicBezTo>
                  <a:cubicBezTo>
                    <a:pt x="47" y="153"/>
                    <a:pt x="45" y="160"/>
                    <a:pt x="46" y="165"/>
                  </a:cubicBezTo>
                  <a:cubicBezTo>
                    <a:pt x="38" y="172"/>
                    <a:pt x="38" y="185"/>
                    <a:pt x="44" y="192"/>
                  </a:cubicBezTo>
                  <a:cubicBezTo>
                    <a:pt x="47" y="194"/>
                    <a:pt x="50" y="197"/>
                    <a:pt x="52" y="192"/>
                  </a:cubicBezTo>
                  <a:cubicBezTo>
                    <a:pt x="60" y="172"/>
                    <a:pt x="60" y="172"/>
                    <a:pt x="60" y="172"/>
                  </a:cubicBezTo>
                  <a:cubicBezTo>
                    <a:pt x="65" y="179"/>
                    <a:pt x="59" y="184"/>
                    <a:pt x="73" y="198"/>
                  </a:cubicBezTo>
                  <a:close/>
                  <a:moveTo>
                    <a:pt x="87" y="147"/>
                  </a:moveTo>
                  <a:cubicBezTo>
                    <a:pt x="88" y="147"/>
                    <a:pt x="88" y="147"/>
                    <a:pt x="89" y="148"/>
                  </a:cubicBezTo>
                  <a:cubicBezTo>
                    <a:pt x="89" y="148"/>
                    <a:pt x="89" y="149"/>
                    <a:pt x="89" y="149"/>
                  </a:cubicBezTo>
                  <a:cubicBezTo>
                    <a:pt x="89" y="149"/>
                    <a:pt x="88" y="149"/>
                    <a:pt x="87" y="149"/>
                  </a:cubicBezTo>
                  <a:cubicBezTo>
                    <a:pt x="87" y="148"/>
                    <a:pt x="87" y="148"/>
                    <a:pt x="87" y="147"/>
                  </a:cubicBezTo>
                  <a:close/>
                  <a:moveTo>
                    <a:pt x="105" y="195"/>
                  </a:moveTo>
                  <a:cubicBezTo>
                    <a:pt x="106" y="194"/>
                    <a:pt x="108" y="195"/>
                    <a:pt x="109" y="196"/>
                  </a:cubicBezTo>
                  <a:cubicBezTo>
                    <a:pt x="110" y="197"/>
                    <a:pt x="110" y="198"/>
                    <a:pt x="109" y="199"/>
                  </a:cubicBezTo>
                  <a:cubicBezTo>
                    <a:pt x="109" y="200"/>
                    <a:pt x="107" y="199"/>
                    <a:pt x="106" y="198"/>
                  </a:cubicBezTo>
                  <a:cubicBezTo>
                    <a:pt x="105" y="197"/>
                    <a:pt x="105" y="196"/>
                    <a:pt x="105" y="195"/>
                  </a:cubicBezTo>
                  <a:close/>
                  <a:moveTo>
                    <a:pt x="52" y="162"/>
                  </a:moveTo>
                  <a:cubicBezTo>
                    <a:pt x="52" y="154"/>
                    <a:pt x="54" y="146"/>
                    <a:pt x="56" y="138"/>
                  </a:cubicBezTo>
                  <a:cubicBezTo>
                    <a:pt x="56" y="136"/>
                    <a:pt x="57" y="136"/>
                    <a:pt x="58" y="137"/>
                  </a:cubicBezTo>
                  <a:cubicBezTo>
                    <a:pt x="59" y="142"/>
                    <a:pt x="59" y="150"/>
                    <a:pt x="57" y="157"/>
                  </a:cubicBezTo>
                  <a:cubicBezTo>
                    <a:pt x="55" y="162"/>
                    <a:pt x="52" y="163"/>
                    <a:pt x="52" y="162"/>
                  </a:cubicBezTo>
                  <a:close/>
                  <a:moveTo>
                    <a:pt x="65" y="122"/>
                  </a:moveTo>
                  <a:cubicBezTo>
                    <a:pt x="66" y="117"/>
                    <a:pt x="69" y="115"/>
                    <a:pt x="72" y="115"/>
                  </a:cubicBezTo>
                  <a:cubicBezTo>
                    <a:pt x="74" y="116"/>
                    <a:pt x="75" y="120"/>
                    <a:pt x="73" y="124"/>
                  </a:cubicBezTo>
                  <a:cubicBezTo>
                    <a:pt x="72" y="128"/>
                    <a:pt x="69" y="131"/>
                    <a:pt x="67" y="131"/>
                  </a:cubicBezTo>
                  <a:cubicBezTo>
                    <a:pt x="65" y="130"/>
                    <a:pt x="64" y="126"/>
                    <a:pt x="65" y="122"/>
                  </a:cubicBezTo>
                  <a:close/>
                  <a:moveTo>
                    <a:pt x="2" y="91"/>
                  </a:moveTo>
                  <a:cubicBezTo>
                    <a:pt x="8" y="109"/>
                    <a:pt x="8" y="125"/>
                    <a:pt x="7" y="141"/>
                  </a:cubicBezTo>
                  <a:cubicBezTo>
                    <a:pt x="7" y="155"/>
                    <a:pt x="15" y="159"/>
                    <a:pt x="16" y="145"/>
                  </a:cubicBezTo>
                  <a:cubicBezTo>
                    <a:pt x="16" y="134"/>
                    <a:pt x="16" y="125"/>
                    <a:pt x="15" y="116"/>
                  </a:cubicBezTo>
                  <a:cubicBezTo>
                    <a:pt x="14" y="111"/>
                    <a:pt x="15" y="105"/>
                    <a:pt x="13" y="101"/>
                  </a:cubicBezTo>
                  <a:cubicBezTo>
                    <a:pt x="6" y="84"/>
                    <a:pt x="0" y="86"/>
                    <a:pt x="2" y="9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7" name="任意多边形: 形状 96">
              <a:extLst>
                <a:ext uri="{FF2B5EF4-FFF2-40B4-BE49-F238E27FC236}">
                  <a16:creationId xmlns:a16="http://schemas.microsoft.com/office/drawing/2014/main" id="{AB14E18A-B7E8-4C83-BD5A-4FCB19AD7C01}"/>
                </a:ext>
              </a:extLst>
            </p:cNvPr>
            <p:cNvSpPr/>
            <p:nvPr/>
          </p:nvSpPr>
          <p:spPr bwMode="auto">
            <a:xfrm>
              <a:off x="2919413" y="2616200"/>
              <a:ext cx="157163" cy="149225"/>
            </a:xfrm>
            <a:custGeom>
              <a:avLst/>
              <a:gdLst>
                <a:gd name="T0" fmla="*/ 116 w 202"/>
                <a:gd name="T1" fmla="*/ 176 h 193"/>
                <a:gd name="T2" fmla="*/ 105 w 202"/>
                <a:gd name="T3" fmla="*/ 161 h 193"/>
                <a:gd name="T4" fmla="*/ 119 w 202"/>
                <a:gd name="T5" fmla="*/ 175 h 193"/>
                <a:gd name="T6" fmla="*/ 85 w 202"/>
                <a:gd name="T7" fmla="*/ 109 h 193"/>
                <a:gd name="T8" fmla="*/ 80 w 202"/>
                <a:gd name="T9" fmla="*/ 109 h 193"/>
                <a:gd name="T10" fmla="*/ 84 w 202"/>
                <a:gd name="T11" fmla="*/ 94 h 193"/>
                <a:gd name="T12" fmla="*/ 85 w 202"/>
                <a:gd name="T13" fmla="*/ 99 h 193"/>
                <a:gd name="T14" fmla="*/ 84 w 202"/>
                <a:gd name="T15" fmla="*/ 94 h 193"/>
                <a:gd name="T16" fmla="*/ 127 w 202"/>
                <a:gd name="T17" fmla="*/ 74 h 193"/>
                <a:gd name="T18" fmla="*/ 122 w 202"/>
                <a:gd name="T19" fmla="*/ 74 h 193"/>
                <a:gd name="T20" fmla="*/ 129 w 202"/>
                <a:gd name="T21" fmla="*/ 100 h 193"/>
                <a:gd name="T22" fmla="*/ 106 w 202"/>
                <a:gd name="T23" fmla="*/ 115 h 193"/>
                <a:gd name="T24" fmla="*/ 129 w 202"/>
                <a:gd name="T25" fmla="*/ 100 h 193"/>
                <a:gd name="T26" fmla="*/ 121 w 202"/>
                <a:gd name="T27" fmla="*/ 57 h 193"/>
                <a:gd name="T28" fmla="*/ 141 w 202"/>
                <a:gd name="T29" fmla="*/ 72 h 193"/>
                <a:gd name="T30" fmla="*/ 144 w 202"/>
                <a:gd name="T31" fmla="*/ 28 h 193"/>
                <a:gd name="T32" fmla="*/ 121 w 202"/>
                <a:gd name="T33" fmla="*/ 52 h 193"/>
                <a:gd name="T34" fmla="*/ 0 w 202"/>
                <a:gd name="T35" fmla="*/ 169 h 193"/>
                <a:gd name="T36" fmla="*/ 21 w 202"/>
                <a:gd name="T37" fmla="*/ 174 h 193"/>
                <a:gd name="T38" fmla="*/ 50 w 202"/>
                <a:gd name="T39" fmla="*/ 135 h 193"/>
                <a:gd name="T40" fmla="*/ 96 w 202"/>
                <a:gd name="T41" fmla="*/ 118 h 193"/>
                <a:gd name="T42" fmla="*/ 92 w 202"/>
                <a:gd name="T43" fmla="*/ 137 h 193"/>
                <a:gd name="T44" fmla="*/ 122 w 202"/>
                <a:gd name="T45" fmla="*/ 121 h 193"/>
                <a:gd name="T46" fmla="*/ 97 w 202"/>
                <a:gd name="T47" fmla="*/ 158 h 193"/>
                <a:gd name="T48" fmla="*/ 128 w 202"/>
                <a:gd name="T49" fmla="*/ 191 h 193"/>
                <a:gd name="T50" fmla="*/ 154 w 202"/>
                <a:gd name="T51" fmla="*/ 160 h 193"/>
                <a:gd name="T52" fmla="*/ 150 w 202"/>
                <a:gd name="T53" fmla="*/ 144 h 193"/>
                <a:gd name="T54" fmla="*/ 158 w 202"/>
                <a:gd name="T55" fmla="*/ 135 h 193"/>
                <a:gd name="T56" fmla="*/ 144 w 202"/>
                <a:gd name="T57" fmla="*/ 113 h 193"/>
                <a:gd name="T58" fmla="*/ 138 w 202"/>
                <a:gd name="T59" fmla="*/ 103 h 193"/>
                <a:gd name="T60" fmla="*/ 200 w 202"/>
                <a:gd name="T61" fmla="*/ 82 h 193"/>
                <a:gd name="T62" fmla="*/ 186 w 202"/>
                <a:gd name="T63" fmla="*/ 71 h 193"/>
                <a:gd name="T64" fmla="*/ 162 w 202"/>
                <a:gd name="T65" fmla="*/ 31 h 193"/>
                <a:gd name="T66" fmla="*/ 121 w 202"/>
                <a:gd name="T67" fmla="*/ 13 h 193"/>
                <a:gd name="T68" fmla="*/ 102 w 202"/>
                <a:gd name="T69" fmla="*/ 10 h 193"/>
                <a:gd name="T70" fmla="*/ 103 w 202"/>
                <a:gd name="T71" fmla="*/ 40 h 193"/>
                <a:gd name="T72" fmla="*/ 105 w 202"/>
                <a:gd name="T73" fmla="*/ 66 h 193"/>
                <a:gd name="T74" fmla="*/ 101 w 202"/>
                <a:gd name="T75" fmla="*/ 91 h 193"/>
                <a:gd name="T76" fmla="*/ 105 w 202"/>
                <a:gd name="T77" fmla="*/ 99 h 193"/>
                <a:gd name="T78" fmla="*/ 96 w 202"/>
                <a:gd name="T79" fmla="*/ 103 h 193"/>
                <a:gd name="T80" fmla="*/ 77 w 202"/>
                <a:gd name="T81" fmla="*/ 40 h 193"/>
                <a:gd name="T82" fmla="*/ 76 w 202"/>
                <a:gd name="T83" fmla="*/ 67 h 193"/>
                <a:gd name="T84" fmla="*/ 72 w 202"/>
                <a:gd name="T85" fmla="*/ 95 h 193"/>
                <a:gd name="T86" fmla="*/ 37 w 202"/>
                <a:gd name="T87" fmla="*/ 72 h 193"/>
                <a:gd name="T88" fmla="*/ 68 w 202"/>
                <a:gd name="T89" fmla="*/ 109 h 193"/>
                <a:gd name="T90" fmla="*/ 50 w 202"/>
                <a:gd name="T91" fmla="*/ 125 h 193"/>
                <a:gd name="T92" fmla="*/ 49 w 202"/>
                <a:gd name="T93" fmla="*/ 107 h 193"/>
                <a:gd name="T94" fmla="*/ 44 w 202"/>
                <a:gd name="T95" fmla="*/ 104 h 193"/>
                <a:gd name="T96" fmla="*/ 16 w 202"/>
                <a:gd name="T97" fmla="*/ 131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02" h="193">
                  <a:moveTo>
                    <a:pt x="119" y="175"/>
                  </a:moveTo>
                  <a:cubicBezTo>
                    <a:pt x="116" y="176"/>
                    <a:pt x="116" y="176"/>
                    <a:pt x="116" y="176"/>
                  </a:cubicBezTo>
                  <a:cubicBezTo>
                    <a:pt x="112" y="177"/>
                    <a:pt x="107" y="171"/>
                    <a:pt x="106" y="166"/>
                  </a:cubicBezTo>
                  <a:cubicBezTo>
                    <a:pt x="105" y="161"/>
                    <a:pt x="105" y="161"/>
                    <a:pt x="105" y="161"/>
                  </a:cubicBezTo>
                  <a:cubicBezTo>
                    <a:pt x="111" y="158"/>
                    <a:pt x="119" y="156"/>
                    <a:pt x="127" y="154"/>
                  </a:cubicBezTo>
                  <a:cubicBezTo>
                    <a:pt x="128" y="162"/>
                    <a:pt x="126" y="174"/>
                    <a:pt x="119" y="175"/>
                  </a:cubicBezTo>
                  <a:close/>
                  <a:moveTo>
                    <a:pt x="82" y="106"/>
                  </a:moveTo>
                  <a:cubicBezTo>
                    <a:pt x="84" y="106"/>
                    <a:pt x="85" y="107"/>
                    <a:pt x="85" y="109"/>
                  </a:cubicBezTo>
                  <a:cubicBezTo>
                    <a:pt x="86" y="110"/>
                    <a:pt x="85" y="112"/>
                    <a:pt x="83" y="112"/>
                  </a:cubicBezTo>
                  <a:cubicBezTo>
                    <a:pt x="82" y="112"/>
                    <a:pt x="80" y="111"/>
                    <a:pt x="80" y="109"/>
                  </a:cubicBezTo>
                  <a:cubicBezTo>
                    <a:pt x="80" y="108"/>
                    <a:pt x="81" y="106"/>
                    <a:pt x="82" y="106"/>
                  </a:cubicBezTo>
                  <a:close/>
                  <a:moveTo>
                    <a:pt x="84" y="94"/>
                  </a:moveTo>
                  <a:cubicBezTo>
                    <a:pt x="84" y="94"/>
                    <a:pt x="85" y="95"/>
                    <a:pt x="85" y="96"/>
                  </a:cubicBezTo>
                  <a:cubicBezTo>
                    <a:pt x="85" y="98"/>
                    <a:pt x="85" y="99"/>
                    <a:pt x="85" y="99"/>
                  </a:cubicBezTo>
                  <a:cubicBezTo>
                    <a:pt x="84" y="99"/>
                    <a:pt x="83" y="98"/>
                    <a:pt x="83" y="97"/>
                  </a:cubicBezTo>
                  <a:cubicBezTo>
                    <a:pt x="83" y="96"/>
                    <a:pt x="83" y="94"/>
                    <a:pt x="84" y="94"/>
                  </a:cubicBezTo>
                  <a:close/>
                  <a:moveTo>
                    <a:pt x="124" y="66"/>
                  </a:moveTo>
                  <a:cubicBezTo>
                    <a:pt x="126" y="66"/>
                    <a:pt x="127" y="69"/>
                    <a:pt x="127" y="74"/>
                  </a:cubicBezTo>
                  <a:cubicBezTo>
                    <a:pt x="127" y="78"/>
                    <a:pt x="127" y="81"/>
                    <a:pt x="125" y="81"/>
                  </a:cubicBezTo>
                  <a:cubicBezTo>
                    <a:pt x="123" y="81"/>
                    <a:pt x="122" y="78"/>
                    <a:pt x="122" y="74"/>
                  </a:cubicBezTo>
                  <a:cubicBezTo>
                    <a:pt x="121" y="71"/>
                    <a:pt x="123" y="66"/>
                    <a:pt x="124" y="66"/>
                  </a:cubicBezTo>
                  <a:close/>
                  <a:moveTo>
                    <a:pt x="129" y="100"/>
                  </a:moveTo>
                  <a:cubicBezTo>
                    <a:pt x="130" y="100"/>
                    <a:pt x="130" y="102"/>
                    <a:pt x="127" y="103"/>
                  </a:cubicBezTo>
                  <a:cubicBezTo>
                    <a:pt x="118" y="106"/>
                    <a:pt x="114" y="110"/>
                    <a:pt x="106" y="115"/>
                  </a:cubicBezTo>
                  <a:cubicBezTo>
                    <a:pt x="102" y="118"/>
                    <a:pt x="98" y="114"/>
                    <a:pt x="106" y="108"/>
                  </a:cubicBezTo>
                  <a:cubicBezTo>
                    <a:pt x="112" y="103"/>
                    <a:pt x="120" y="101"/>
                    <a:pt x="129" y="100"/>
                  </a:cubicBezTo>
                  <a:close/>
                  <a:moveTo>
                    <a:pt x="121" y="52"/>
                  </a:moveTo>
                  <a:cubicBezTo>
                    <a:pt x="121" y="57"/>
                    <a:pt x="121" y="57"/>
                    <a:pt x="121" y="57"/>
                  </a:cubicBezTo>
                  <a:cubicBezTo>
                    <a:pt x="133" y="56"/>
                    <a:pt x="133" y="56"/>
                    <a:pt x="133" y="56"/>
                  </a:cubicBezTo>
                  <a:cubicBezTo>
                    <a:pt x="141" y="54"/>
                    <a:pt x="140" y="67"/>
                    <a:pt x="141" y="72"/>
                  </a:cubicBezTo>
                  <a:cubicBezTo>
                    <a:pt x="147" y="66"/>
                    <a:pt x="150" y="44"/>
                    <a:pt x="150" y="33"/>
                  </a:cubicBezTo>
                  <a:cubicBezTo>
                    <a:pt x="148" y="30"/>
                    <a:pt x="148" y="28"/>
                    <a:pt x="144" y="28"/>
                  </a:cubicBezTo>
                  <a:cubicBezTo>
                    <a:pt x="141" y="29"/>
                    <a:pt x="141" y="29"/>
                    <a:pt x="141" y="29"/>
                  </a:cubicBezTo>
                  <a:cubicBezTo>
                    <a:pt x="133" y="30"/>
                    <a:pt x="120" y="45"/>
                    <a:pt x="121" y="52"/>
                  </a:cubicBezTo>
                  <a:close/>
                  <a:moveTo>
                    <a:pt x="1" y="161"/>
                  </a:moveTo>
                  <a:cubicBezTo>
                    <a:pt x="0" y="165"/>
                    <a:pt x="0" y="165"/>
                    <a:pt x="0" y="169"/>
                  </a:cubicBezTo>
                  <a:cubicBezTo>
                    <a:pt x="2" y="177"/>
                    <a:pt x="2" y="177"/>
                    <a:pt x="2" y="177"/>
                  </a:cubicBezTo>
                  <a:cubicBezTo>
                    <a:pt x="3" y="185"/>
                    <a:pt x="18" y="176"/>
                    <a:pt x="21" y="174"/>
                  </a:cubicBezTo>
                  <a:cubicBezTo>
                    <a:pt x="20" y="157"/>
                    <a:pt x="20" y="157"/>
                    <a:pt x="20" y="157"/>
                  </a:cubicBezTo>
                  <a:cubicBezTo>
                    <a:pt x="28" y="150"/>
                    <a:pt x="38" y="139"/>
                    <a:pt x="50" y="135"/>
                  </a:cubicBezTo>
                  <a:cubicBezTo>
                    <a:pt x="58" y="132"/>
                    <a:pt x="89" y="119"/>
                    <a:pt x="89" y="119"/>
                  </a:cubicBezTo>
                  <a:cubicBezTo>
                    <a:pt x="96" y="118"/>
                    <a:pt x="96" y="118"/>
                    <a:pt x="96" y="118"/>
                  </a:cubicBezTo>
                  <a:cubicBezTo>
                    <a:pt x="96" y="124"/>
                    <a:pt x="91" y="128"/>
                    <a:pt x="92" y="135"/>
                  </a:cubicBezTo>
                  <a:cubicBezTo>
                    <a:pt x="92" y="137"/>
                    <a:pt x="92" y="137"/>
                    <a:pt x="92" y="137"/>
                  </a:cubicBezTo>
                  <a:cubicBezTo>
                    <a:pt x="93" y="143"/>
                    <a:pt x="99" y="138"/>
                    <a:pt x="106" y="137"/>
                  </a:cubicBezTo>
                  <a:cubicBezTo>
                    <a:pt x="110" y="129"/>
                    <a:pt x="112" y="125"/>
                    <a:pt x="122" y="121"/>
                  </a:cubicBezTo>
                  <a:cubicBezTo>
                    <a:pt x="124" y="131"/>
                    <a:pt x="124" y="131"/>
                    <a:pt x="124" y="131"/>
                  </a:cubicBezTo>
                  <a:cubicBezTo>
                    <a:pt x="126" y="143"/>
                    <a:pt x="95" y="143"/>
                    <a:pt x="97" y="158"/>
                  </a:cubicBezTo>
                  <a:cubicBezTo>
                    <a:pt x="100" y="175"/>
                    <a:pt x="112" y="193"/>
                    <a:pt x="127" y="191"/>
                  </a:cubicBezTo>
                  <a:cubicBezTo>
                    <a:pt x="128" y="191"/>
                    <a:pt x="128" y="191"/>
                    <a:pt x="128" y="191"/>
                  </a:cubicBezTo>
                  <a:cubicBezTo>
                    <a:pt x="136" y="190"/>
                    <a:pt x="145" y="186"/>
                    <a:pt x="148" y="180"/>
                  </a:cubicBezTo>
                  <a:cubicBezTo>
                    <a:pt x="149" y="178"/>
                    <a:pt x="154" y="162"/>
                    <a:pt x="154" y="160"/>
                  </a:cubicBezTo>
                  <a:cubicBezTo>
                    <a:pt x="150" y="150"/>
                    <a:pt x="150" y="150"/>
                    <a:pt x="150" y="150"/>
                  </a:cubicBezTo>
                  <a:cubicBezTo>
                    <a:pt x="150" y="144"/>
                    <a:pt x="150" y="144"/>
                    <a:pt x="150" y="144"/>
                  </a:cubicBezTo>
                  <a:cubicBezTo>
                    <a:pt x="158" y="140"/>
                    <a:pt x="158" y="140"/>
                    <a:pt x="158" y="140"/>
                  </a:cubicBezTo>
                  <a:cubicBezTo>
                    <a:pt x="158" y="135"/>
                    <a:pt x="158" y="135"/>
                    <a:pt x="158" y="135"/>
                  </a:cubicBezTo>
                  <a:cubicBezTo>
                    <a:pt x="151" y="127"/>
                    <a:pt x="153" y="130"/>
                    <a:pt x="141" y="129"/>
                  </a:cubicBezTo>
                  <a:cubicBezTo>
                    <a:pt x="140" y="118"/>
                    <a:pt x="145" y="119"/>
                    <a:pt x="144" y="113"/>
                  </a:cubicBezTo>
                  <a:cubicBezTo>
                    <a:pt x="143" y="111"/>
                    <a:pt x="143" y="111"/>
                    <a:pt x="143" y="111"/>
                  </a:cubicBezTo>
                  <a:cubicBezTo>
                    <a:pt x="143" y="106"/>
                    <a:pt x="141" y="109"/>
                    <a:pt x="138" y="103"/>
                  </a:cubicBezTo>
                  <a:cubicBezTo>
                    <a:pt x="152" y="101"/>
                    <a:pt x="170" y="87"/>
                    <a:pt x="185" y="85"/>
                  </a:cubicBezTo>
                  <a:cubicBezTo>
                    <a:pt x="200" y="82"/>
                    <a:pt x="200" y="82"/>
                    <a:pt x="200" y="82"/>
                  </a:cubicBezTo>
                  <a:cubicBezTo>
                    <a:pt x="201" y="78"/>
                    <a:pt x="202" y="77"/>
                    <a:pt x="202" y="75"/>
                  </a:cubicBezTo>
                  <a:cubicBezTo>
                    <a:pt x="201" y="71"/>
                    <a:pt x="194" y="69"/>
                    <a:pt x="186" y="71"/>
                  </a:cubicBezTo>
                  <a:cubicBezTo>
                    <a:pt x="174" y="74"/>
                    <a:pt x="161" y="75"/>
                    <a:pt x="154" y="78"/>
                  </a:cubicBezTo>
                  <a:cubicBezTo>
                    <a:pt x="153" y="67"/>
                    <a:pt x="163" y="44"/>
                    <a:pt x="162" y="31"/>
                  </a:cubicBezTo>
                  <a:cubicBezTo>
                    <a:pt x="157" y="0"/>
                    <a:pt x="122" y="34"/>
                    <a:pt x="118" y="37"/>
                  </a:cubicBezTo>
                  <a:cubicBezTo>
                    <a:pt x="121" y="29"/>
                    <a:pt x="122" y="21"/>
                    <a:pt x="121" y="13"/>
                  </a:cubicBezTo>
                  <a:cubicBezTo>
                    <a:pt x="117" y="9"/>
                    <a:pt x="114" y="6"/>
                    <a:pt x="107" y="7"/>
                  </a:cubicBezTo>
                  <a:cubicBezTo>
                    <a:pt x="105" y="7"/>
                    <a:pt x="106" y="8"/>
                    <a:pt x="102" y="10"/>
                  </a:cubicBezTo>
                  <a:cubicBezTo>
                    <a:pt x="104" y="19"/>
                    <a:pt x="106" y="14"/>
                    <a:pt x="107" y="20"/>
                  </a:cubicBezTo>
                  <a:cubicBezTo>
                    <a:pt x="108" y="27"/>
                    <a:pt x="102" y="32"/>
                    <a:pt x="103" y="40"/>
                  </a:cubicBezTo>
                  <a:cubicBezTo>
                    <a:pt x="104" y="46"/>
                    <a:pt x="104" y="46"/>
                    <a:pt x="104" y="46"/>
                  </a:cubicBezTo>
                  <a:cubicBezTo>
                    <a:pt x="106" y="59"/>
                    <a:pt x="110" y="54"/>
                    <a:pt x="105" y="66"/>
                  </a:cubicBezTo>
                  <a:cubicBezTo>
                    <a:pt x="102" y="72"/>
                    <a:pt x="101" y="79"/>
                    <a:pt x="99" y="85"/>
                  </a:cubicBezTo>
                  <a:cubicBezTo>
                    <a:pt x="100" y="88"/>
                    <a:pt x="100" y="88"/>
                    <a:pt x="101" y="91"/>
                  </a:cubicBezTo>
                  <a:cubicBezTo>
                    <a:pt x="101" y="95"/>
                    <a:pt x="101" y="95"/>
                    <a:pt x="101" y="99"/>
                  </a:cubicBezTo>
                  <a:cubicBezTo>
                    <a:pt x="105" y="99"/>
                    <a:pt x="105" y="99"/>
                    <a:pt x="105" y="99"/>
                  </a:cubicBezTo>
                  <a:cubicBezTo>
                    <a:pt x="106" y="102"/>
                    <a:pt x="105" y="103"/>
                    <a:pt x="101" y="104"/>
                  </a:cubicBezTo>
                  <a:cubicBezTo>
                    <a:pt x="96" y="103"/>
                    <a:pt x="96" y="103"/>
                    <a:pt x="96" y="103"/>
                  </a:cubicBezTo>
                  <a:cubicBezTo>
                    <a:pt x="93" y="91"/>
                    <a:pt x="88" y="73"/>
                    <a:pt x="83" y="62"/>
                  </a:cubicBezTo>
                  <a:cubicBezTo>
                    <a:pt x="81" y="56"/>
                    <a:pt x="79" y="48"/>
                    <a:pt x="77" y="40"/>
                  </a:cubicBezTo>
                  <a:cubicBezTo>
                    <a:pt x="74" y="31"/>
                    <a:pt x="77" y="22"/>
                    <a:pt x="69" y="22"/>
                  </a:cubicBezTo>
                  <a:cubicBezTo>
                    <a:pt x="69" y="37"/>
                    <a:pt x="72" y="53"/>
                    <a:pt x="76" y="67"/>
                  </a:cubicBezTo>
                  <a:cubicBezTo>
                    <a:pt x="77" y="73"/>
                    <a:pt x="78" y="79"/>
                    <a:pt x="80" y="85"/>
                  </a:cubicBezTo>
                  <a:cubicBezTo>
                    <a:pt x="79" y="88"/>
                    <a:pt x="76" y="95"/>
                    <a:pt x="72" y="95"/>
                  </a:cubicBezTo>
                  <a:cubicBezTo>
                    <a:pt x="69" y="96"/>
                    <a:pt x="53" y="62"/>
                    <a:pt x="46" y="63"/>
                  </a:cubicBezTo>
                  <a:cubicBezTo>
                    <a:pt x="39" y="64"/>
                    <a:pt x="38" y="67"/>
                    <a:pt x="37" y="72"/>
                  </a:cubicBezTo>
                  <a:cubicBezTo>
                    <a:pt x="48" y="74"/>
                    <a:pt x="53" y="81"/>
                    <a:pt x="59" y="90"/>
                  </a:cubicBezTo>
                  <a:cubicBezTo>
                    <a:pt x="60" y="93"/>
                    <a:pt x="65" y="103"/>
                    <a:pt x="68" y="109"/>
                  </a:cubicBezTo>
                  <a:cubicBezTo>
                    <a:pt x="70" y="111"/>
                    <a:pt x="73" y="115"/>
                    <a:pt x="73" y="117"/>
                  </a:cubicBezTo>
                  <a:cubicBezTo>
                    <a:pt x="68" y="120"/>
                    <a:pt x="58" y="122"/>
                    <a:pt x="50" y="125"/>
                  </a:cubicBezTo>
                  <a:cubicBezTo>
                    <a:pt x="39" y="129"/>
                    <a:pt x="37" y="134"/>
                    <a:pt x="30" y="137"/>
                  </a:cubicBezTo>
                  <a:cubicBezTo>
                    <a:pt x="31" y="124"/>
                    <a:pt x="34" y="110"/>
                    <a:pt x="49" y="107"/>
                  </a:cubicBezTo>
                  <a:cubicBezTo>
                    <a:pt x="58" y="106"/>
                    <a:pt x="58" y="106"/>
                    <a:pt x="58" y="106"/>
                  </a:cubicBezTo>
                  <a:cubicBezTo>
                    <a:pt x="55" y="102"/>
                    <a:pt x="50" y="103"/>
                    <a:pt x="44" y="104"/>
                  </a:cubicBezTo>
                  <a:cubicBezTo>
                    <a:pt x="34" y="105"/>
                    <a:pt x="32" y="109"/>
                    <a:pt x="25" y="117"/>
                  </a:cubicBezTo>
                  <a:cubicBezTo>
                    <a:pt x="21" y="123"/>
                    <a:pt x="20" y="126"/>
                    <a:pt x="16" y="131"/>
                  </a:cubicBezTo>
                  <a:cubicBezTo>
                    <a:pt x="9" y="142"/>
                    <a:pt x="5" y="149"/>
                    <a:pt x="1" y="1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8" name="任意多边形: 形状 97">
              <a:extLst>
                <a:ext uri="{FF2B5EF4-FFF2-40B4-BE49-F238E27FC236}">
                  <a16:creationId xmlns:a16="http://schemas.microsoft.com/office/drawing/2014/main" id="{9509673D-3177-4073-B2F3-26A2D53F8713}"/>
                </a:ext>
              </a:extLst>
            </p:cNvPr>
            <p:cNvSpPr/>
            <p:nvPr/>
          </p:nvSpPr>
          <p:spPr bwMode="auto">
            <a:xfrm>
              <a:off x="3011488" y="4102100"/>
              <a:ext cx="293688" cy="95250"/>
            </a:xfrm>
            <a:custGeom>
              <a:avLst/>
              <a:gdLst>
                <a:gd name="T0" fmla="*/ 0 w 380"/>
                <a:gd name="T1" fmla="*/ 44 h 124"/>
                <a:gd name="T2" fmla="*/ 27 w 380"/>
                <a:gd name="T3" fmla="*/ 29 h 124"/>
                <a:gd name="T4" fmla="*/ 27 w 380"/>
                <a:gd name="T5" fmla="*/ 122 h 124"/>
                <a:gd name="T6" fmla="*/ 53 w 380"/>
                <a:gd name="T7" fmla="*/ 122 h 124"/>
                <a:gd name="T8" fmla="*/ 53 w 380"/>
                <a:gd name="T9" fmla="*/ 3 h 124"/>
                <a:gd name="T10" fmla="*/ 29 w 380"/>
                <a:gd name="T11" fmla="*/ 3 h 124"/>
                <a:gd name="T12" fmla="*/ 0 w 380"/>
                <a:gd name="T13" fmla="*/ 20 h 124"/>
                <a:gd name="T14" fmla="*/ 0 w 380"/>
                <a:gd name="T15" fmla="*/ 44 h 124"/>
                <a:gd name="T16" fmla="*/ 92 w 380"/>
                <a:gd name="T17" fmla="*/ 92 h 124"/>
                <a:gd name="T18" fmla="*/ 131 w 380"/>
                <a:gd name="T19" fmla="*/ 123 h 124"/>
                <a:gd name="T20" fmla="*/ 165 w 380"/>
                <a:gd name="T21" fmla="*/ 107 h 124"/>
                <a:gd name="T22" fmla="*/ 174 w 380"/>
                <a:gd name="T23" fmla="*/ 53 h 124"/>
                <a:gd name="T24" fmla="*/ 132 w 380"/>
                <a:gd name="T25" fmla="*/ 0 h 124"/>
                <a:gd name="T26" fmla="*/ 90 w 380"/>
                <a:gd name="T27" fmla="*/ 41 h 124"/>
                <a:gd name="T28" fmla="*/ 125 w 380"/>
                <a:gd name="T29" fmla="*/ 77 h 124"/>
                <a:gd name="T30" fmla="*/ 148 w 380"/>
                <a:gd name="T31" fmla="*/ 69 h 124"/>
                <a:gd name="T32" fmla="*/ 130 w 380"/>
                <a:gd name="T33" fmla="*/ 107 h 124"/>
                <a:gd name="T34" fmla="*/ 118 w 380"/>
                <a:gd name="T35" fmla="*/ 92 h 124"/>
                <a:gd name="T36" fmla="*/ 92 w 380"/>
                <a:gd name="T37" fmla="*/ 92 h 124"/>
                <a:gd name="T38" fmla="*/ 116 w 380"/>
                <a:gd name="T39" fmla="*/ 39 h 124"/>
                <a:gd name="T40" fmla="*/ 133 w 380"/>
                <a:gd name="T41" fmla="*/ 18 h 124"/>
                <a:gd name="T42" fmla="*/ 148 w 380"/>
                <a:gd name="T43" fmla="*/ 39 h 124"/>
                <a:gd name="T44" fmla="*/ 133 w 380"/>
                <a:gd name="T45" fmla="*/ 59 h 124"/>
                <a:gd name="T46" fmla="*/ 116 w 380"/>
                <a:gd name="T47" fmla="*/ 39 h 124"/>
                <a:gd name="T48" fmla="*/ 194 w 380"/>
                <a:gd name="T49" fmla="*/ 89 h 124"/>
                <a:gd name="T50" fmla="*/ 233 w 380"/>
                <a:gd name="T51" fmla="*/ 123 h 124"/>
                <a:gd name="T52" fmla="*/ 275 w 380"/>
                <a:gd name="T53" fmla="*/ 92 h 124"/>
                <a:gd name="T54" fmla="*/ 252 w 380"/>
                <a:gd name="T55" fmla="*/ 60 h 124"/>
                <a:gd name="T56" fmla="*/ 252 w 380"/>
                <a:gd name="T57" fmla="*/ 60 h 124"/>
                <a:gd name="T58" fmla="*/ 274 w 380"/>
                <a:gd name="T59" fmla="*/ 31 h 124"/>
                <a:gd name="T60" fmla="*/ 234 w 380"/>
                <a:gd name="T61" fmla="*/ 0 h 124"/>
                <a:gd name="T62" fmla="*/ 195 w 380"/>
                <a:gd name="T63" fmla="*/ 34 h 124"/>
                <a:gd name="T64" fmla="*/ 221 w 380"/>
                <a:gd name="T65" fmla="*/ 34 h 124"/>
                <a:gd name="T66" fmla="*/ 234 w 380"/>
                <a:gd name="T67" fmla="*/ 18 h 124"/>
                <a:gd name="T68" fmla="*/ 249 w 380"/>
                <a:gd name="T69" fmla="*/ 34 h 124"/>
                <a:gd name="T70" fmla="*/ 221 w 380"/>
                <a:gd name="T71" fmla="*/ 53 h 124"/>
                <a:gd name="T72" fmla="*/ 221 w 380"/>
                <a:gd name="T73" fmla="*/ 69 h 124"/>
                <a:gd name="T74" fmla="*/ 249 w 380"/>
                <a:gd name="T75" fmla="*/ 89 h 124"/>
                <a:gd name="T76" fmla="*/ 234 w 380"/>
                <a:gd name="T77" fmla="*/ 107 h 124"/>
                <a:gd name="T78" fmla="*/ 219 w 380"/>
                <a:gd name="T79" fmla="*/ 89 h 124"/>
                <a:gd name="T80" fmla="*/ 194 w 380"/>
                <a:gd name="T81" fmla="*/ 89 h 124"/>
                <a:gd name="T82" fmla="*/ 296 w 380"/>
                <a:gd name="T83" fmla="*/ 122 h 124"/>
                <a:gd name="T84" fmla="*/ 379 w 380"/>
                <a:gd name="T85" fmla="*/ 122 h 124"/>
                <a:gd name="T86" fmla="*/ 379 w 380"/>
                <a:gd name="T87" fmla="*/ 104 h 124"/>
                <a:gd name="T88" fmla="*/ 322 w 380"/>
                <a:gd name="T89" fmla="*/ 104 h 124"/>
                <a:gd name="T90" fmla="*/ 322 w 380"/>
                <a:gd name="T91" fmla="*/ 104 h 124"/>
                <a:gd name="T92" fmla="*/ 340 w 380"/>
                <a:gd name="T93" fmla="*/ 87 h 124"/>
                <a:gd name="T94" fmla="*/ 379 w 380"/>
                <a:gd name="T95" fmla="*/ 34 h 124"/>
                <a:gd name="T96" fmla="*/ 339 w 380"/>
                <a:gd name="T97" fmla="*/ 0 h 124"/>
                <a:gd name="T98" fmla="*/ 298 w 380"/>
                <a:gd name="T99" fmla="*/ 36 h 124"/>
                <a:gd name="T100" fmla="*/ 324 w 380"/>
                <a:gd name="T101" fmla="*/ 36 h 124"/>
                <a:gd name="T102" fmla="*/ 339 w 380"/>
                <a:gd name="T103" fmla="*/ 18 h 124"/>
                <a:gd name="T104" fmla="*/ 353 w 380"/>
                <a:gd name="T105" fmla="*/ 33 h 124"/>
                <a:gd name="T106" fmla="*/ 310 w 380"/>
                <a:gd name="T107" fmla="*/ 85 h 124"/>
                <a:gd name="T108" fmla="*/ 296 w 380"/>
                <a:gd name="T109" fmla="*/ 98 h 124"/>
                <a:gd name="T110" fmla="*/ 296 w 380"/>
                <a:gd name="T111" fmla="*/ 122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80" h="124">
                  <a:moveTo>
                    <a:pt x="0" y="44"/>
                  </a:moveTo>
                  <a:cubicBezTo>
                    <a:pt x="10" y="40"/>
                    <a:pt x="19" y="35"/>
                    <a:pt x="27" y="29"/>
                  </a:cubicBezTo>
                  <a:cubicBezTo>
                    <a:pt x="27" y="122"/>
                    <a:pt x="27" y="122"/>
                    <a:pt x="27" y="122"/>
                  </a:cubicBezTo>
                  <a:cubicBezTo>
                    <a:pt x="53" y="122"/>
                    <a:pt x="53" y="122"/>
                    <a:pt x="53" y="122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29" y="3"/>
                    <a:pt x="29" y="3"/>
                    <a:pt x="29" y="3"/>
                  </a:cubicBezTo>
                  <a:cubicBezTo>
                    <a:pt x="20" y="10"/>
                    <a:pt x="10" y="16"/>
                    <a:pt x="0" y="20"/>
                  </a:cubicBezTo>
                  <a:cubicBezTo>
                    <a:pt x="0" y="44"/>
                    <a:pt x="0" y="44"/>
                    <a:pt x="0" y="44"/>
                  </a:cubicBezTo>
                  <a:close/>
                  <a:moveTo>
                    <a:pt x="92" y="92"/>
                  </a:moveTo>
                  <a:cubicBezTo>
                    <a:pt x="93" y="113"/>
                    <a:pt x="105" y="124"/>
                    <a:pt x="131" y="123"/>
                  </a:cubicBezTo>
                  <a:cubicBezTo>
                    <a:pt x="146" y="123"/>
                    <a:pt x="157" y="118"/>
                    <a:pt x="165" y="107"/>
                  </a:cubicBezTo>
                  <a:cubicBezTo>
                    <a:pt x="171" y="97"/>
                    <a:pt x="174" y="79"/>
                    <a:pt x="174" y="53"/>
                  </a:cubicBezTo>
                  <a:cubicBezTo>
                    <a:pt x="174" y="18"/>
                    <a:pt x="160" y="0"/>
                    <a:pt x="132" y="0"/>
                  </a:cubicBezTo>
                  <a:cubicBezTo>
                    <a:pt x="106" y="2"/>
                    <a:pt x="92" y="16"/>
                    <a:pt x="90" y="41"/>
                  </a:cubicBezTo>
                  <a:cubicBezTo>
                    <a:pt x="92" y="63"/>
                    <a:pt x="104" y="75"/>
                    <a:pt x="125" y="77"/>
                  </a:cubicBezTo>
                  <a:cubicBezTo>
                    <a:pt x="134" y="77"/>
                    <a:pt x="141" y="75"/>
                    <a:pt x="148" y="69"/>
                  </a:cubicBezTo>
                  <a:cubicBezTo>
                    <a:pt x="149" y="94"/>
                    <a:pt x="143" y="107"/>
                    <a:pt x="130" y="107"/>
                  </a:cubicBezTo>
                  <a:cubicBezTo>
                    <a:pt x="124" y="107"/>
                    <a:pt x="120" y="102"/>
                    <a:pt x="118" y="92"/>
                  </a:cubicBezTo>
                  <a:cubicBezTo>
                    <a:pt x="92" y="92"/>
                    <a:pt x="92" y="92"/>
                    <a:pt x="92" y="92"/>
                  </a:cubicBezTo>
                  <a:close/>
                  <a:moveTo>
                    <a:pt x="116" y="39"/>
                  </a:moveTo>
                  <a:cubicBezTo>
                    <a:pt x="116" y="25"/>
                    <a:pt x="122" y="18"/>
                    <a:pt x="133" y="18"/>
                  </a:cubicBezTo>
                  <a:cubicBezTo>
                    <a:pt x="143" y="18"/>
                    <a:pt x="148" y="25"/>
                    <a:pt x="148" y="39"/>
                  </a:cubicBezTo>
                  <a:cubicBezTo>
                    <a:pt x="148" y="52"/>
                    <a:pt x="143" y="59"/>
                    <a:pt x="133" y="59"/>
                  </a:cubicBezTo>
                  <a:cubicBezTo>
                    <a:pt x="122" y="59"/>
                    <a:pt x="116" y="53"/>
                    <a:pt x="116" y="39"/>
                  </a:cubicBezTo>
                  <a:close/>
                  <a:moveTo>
                    <a:pt x="194" y="89"/>
                  </a:moveTo>
                  <a:cubicBezTo>
                    <a:pt x="194" y="112"/>
                    <a:pt x="207" y="123"/>
                    <a:pt x="233" y="123"/>
                  </a:cubicBezTo>
                  <a:cubicBezTo>
                    <a:pt x="259" y="121"/>
                    <a:pt x="272" y="111"/>
                    <a:pt x="275" y="92"/>
                  </a:cubicBezTo>
                  <a:cubicBezTo>
                    <a:pt x="275" y="75"/>
                    <a:pt x="267" y="65"/>
                    <a:pt x="252" y="60"/>
                  </a:cubicBezTo>
                  <a:cubicBezTo>
                    <a:pt x="252" y="60"/>
                    <a:pt x="252" y="60"/>
                    <a:pt x="252" y="60"/>
                  </a:cubicBezTo>
                  <a:cubicBezTo>
                    <a:pt x="266" y="56"/>
                    <a:pt x="273" y="47"/>
                    <a:pt x="274" y="31"/>
                  </a:cubicBezTo>
                  <a:cubicBezTo>
                    <a:pt x="272" y="13"/>
                    <a:pt x="259" y="3"/>
                    <a:pt x="234" y="0"/>
                  </a:cubicBezTo>
                  <a:cubicBezTo>
                    <a:pt x="209" y="1"/>
                    <a:pt x="196" y="12"/>
                    <a:pt x="195" y="34"/>
                  </a:cubicBezTo>
                  <a:cubicBezTo>
                    <a:pt x="221" y="34"/>
                    <a:pt x="221" y="34"/>
                    <a:pt x="221" y="34"/>
                  </a:cubicBezTo>
                  <a:cubicBezTo>
                    <a:pt x="222" y="25"/>
                    <a:pt x="227" y="19"/>
                    <a:pt x="234" y="18"/>
                  </a:cubicBezTo>
                  <a:cubicBezTo>
                    <a:pt x="244" y="18"/>
                    <a:pt x="248" y="24"/>
                    <a:pt x="249" y="34"/>
                  </a:cubicBezTo>
                  <a:cubicBezTo>
                    <a:pt x="249" y="46"/>
                    <a:pt x="240" y="52"/>
                    <a:pt x="221" y="53"/>
                  </a:cubicBezTo>
                  <a:cubicBezTo>
                    <a:pt x="221" y="69"/>
                    <a:pt x="221" y="69"/>
                    <a:pt x="221" y="69"/>
                  </a:cubicBezTo>
                  <a:cubicBezTo>
                    <a:pt x="239" y="69"/>
                    <a:pt x="248" y="75"/>
                    <a:pt x="249" y="89"/>
                  </a:cubicBezTo>
                  <a:cubicBezTo>
                    <a:pt x="248" y="100"/>
                    <a:pt x="243" y="106"/>
                    <a:pt x="234" y="107"/>
                  </a:cubicBezTo>
                  <a:cubicBezTo>
                    <a:pt x="225" y="106"/>
                    <a:pt x="220" y="100"/>
                    <a:pt x="219" y="89"/>
                  </a:cubicBezTo>
                  <a:cubicBezTo>
                    <a:pt x="194" y="89"/>
                    <a:pt x="194" y="89"/>
                    <a:pt x="194" y="89"/>
                  </a:cubicBezTo>
                  <a:close/>
                  <a:moveTo>
                    <a:pt x="296" y="122"/>
                  </a:moveTo>
                  <a:cubicBezTo>
                    <a:pt x="379" y="122"/>
                    <a:pt x="379" y="122"/>
                    <a:pt x="379" y="122"/>
                  </a:cubicBezTo>
                  <a:cubicBezTo>
                    <a:pt x="379" y="104"/>
                    <a:pt x="379" y="104"/>
                    <a:pt x="379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2" y="104"/>
                    <a:pt x="322" y="104"/>
                    <a:pt x="322" y="104"/>
                  </a:cubicBezTo>
                  <a:cubicBezTo>
                    <a:pt x="325" y="101"/>
                    <a:pt x="331" y="95"/>
                    <a:pt x="340" y="87"/>
                  </a:cubicBezTo>
                  <a:cubicBezTo>
                    <a:pt x="367" y="66"/>
                    <a:pt x="380" y="48"/>
                    <a:pt x="379" y="34"/>
                  </a:cubicBezTo>
                  <a:cubicBezTo>
                    <a:pt x="378" y="13"/>
                    <a:pt x="364" y="2"/>
                    <a:pt x="339" y="0"/>
                  </a:cubicBezTo>
                  <a:cubicBezTo>
                    <a:pt x="312" y="1"/>
                    <a:pt x="299" y="13"/>
                    <a:pt x="298" y="36"/>
                  </a:cubicBezTo>
                  <a:cubicBezTo>
                    <a:pt x="324" y="36"/>
                    <a:pt x="324" y="36"/>
                    <a:pt x="324" y="36"/>
                  </a:cubicBezTo>
                  <a:cubicBezTo>
                    <a:pt x="325" y="25"/>
                    <a:pt x="330" y="19"/>
                    <a:pt x="339" y="18"/>
                  </a:cubicBezTo>
                  <a:cubicBezTo>
                    <a:pt x="347" y="18"/>
                    <a:pt x="352" y="23"/>
                    <a:pt x="353" y="33"/>
                  </a:cubicBezTo>
                  <a:cubicBezTo>
                    <a:pt x="353" y="43"/>
                    <a:pt x="339" y="60"/>
                    <a:pt x="310" y="85"/>
                  </a:cubicBezTo>
                  <a:cubicBezTo>
                    <a:pt x="303" y="91"/>
                    <a:pt x="298" y="95"/>
                    <a:pt x="296" y="98"/>
                  </a:cubicBezTo>
                  <a:lnTo>
                    <a:pt x="296" y="1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9" name="任意多边形: 形状 98">
              <a:extLst>
                <a:ext uri="{FF2B5EF4-FFF2-40B4-BE49-F238E27FC236}">
                  <a16:creationId xmlns:a16="http://schemas.microsoft.com/office/drawing/2014/main" id="{CE0F2384-36B9-4670-8378-3BA34019FBCE}"/>
                </a:ext>
              </a:extLst>
            </p:cNvPr>
            <p:cNvSpPr/>
            <p:nvPr/>
          </p:nvSpPr>
          <p:spPr bwMode="auto">
            <a:xfrm>
              <a:off x="2246313" y="2511425"/>
              <a:ext cx="1822450" cy="1835150"/>
            </a:xfrm>
            <a:custGeom>
              <a:avLst/>
              <a:gdLst>
                <a:gd name="T0" fmla="*/ 1288 w 2348"/>
                <a:gd name="T1" fmla="*/ 1573 h 2365"/>
                <a:gd name="T2" fmla="*/ 1403 w 2348"/>
                <a:gd name="T3" fmla="*/ 1374 h 2365"/>
                <a:gd name="T4" fmla="*/ 1322 w 2348"/>
                <a:gd name="T5" fmla="*/ 725 h 2365"/>
                <a:gd name="T6" fmla="*/ 958 w 2348"/>
                <a:gd name="T7" fmla="*/ 1374 h 2365"/>
                <a:gd name="T8" fmla="*/ 1072 w 2348"/>
                <a:gd name="T9" fmla="*/ 1575 h 2365"/>
                <a:gd name="T10" fmla="*/ 1245 w 2348"/>
                <a:gd name="T11" fmla="*/ 1925 h 2365"/>
                <a:gd name="T12" fmla="*/ 1389 w 2348"/>
                <a:gd name="T13" fmla="*/ 1953 h 2365"/>
                <a:gd name="T14" fmla="*/ 958 w 2348"/>
                <a:gd name="T15" fmla="*/ 1893 h 2365"/>
                <a:gd name="T16" fmla="*/ 1270 w 2348"/>
                <a:gd name="T17" fmla="*/ 1937 h 2365"/>
                <a:gd name="T18" fmla="*/ 1415 w 2348"/>
                <a:gd name="T19" fmla="*/ 1829 h 2365"/>
                <a:gd name="T20" fmla="*/ 1194 w 2348"/>
                <a:gd name="T21" fmla="*/ 1876 h 2365"/>
                <a:gd name="T22" fmla="*/ 1098 w 2348"/>
                <a:gd name="T23" fmla="*/ 1796 h 2365"/>
                <a:gd name="T24" fmla="*/ 1200 w 2348"/>
                <a:gd name="T25" fmla="*/ 1803 h 2365"/>
                <a:gd name="T26" fmla="*/ 756 w 2348"/>
                <a:gd name="T27" fmla="*/ 1820 h 2365"/>
                <a:gd name="T28" fmla="*/ 446 w 2348"/>
                <a:gd name="T29" fmla="*/ 1811 h 2365"/>
                <a:gd name="T30" fmla="*/ 518 w 2348"/>
                <a:gd name="T31" fmla="*/ 1811 h 2365"/>
                <a:gd name="T32" fmla="*/ 582 w 2348"/>
                <a:gd name="T33" fmla="*/ 1766 h 2365"/>
                <a:gd name="T34" fmla="*/ 639 w 2348"/>
                <a:gd name="T35" fmla="*/ 1766 h 2365"/>
                <a:gd name="T36" fmla="*/ 704 w 2348"/>
                <a:gd name="T37" fmla="*/ 1811 h 2365"/>
                <a:gd name="T38" fmla="*/ 781 w 2348"/>
                <a:gd name="T39" fmla="*/ 1811 h 2365"/>
                <a:gd name="T40" fmla="*/ 1179 w 2348"/>
                <a:gd name="T41" fmla="*/ 377 h 2365"/>
                <a:gd name="T42" fmla="*/ 316 w 2348"/>
                <a:gd name="T43" fmla="*/ 1522 h 2365"/>
                <a:gd name="T44" fmla="*/ 2003 w 2348"/>
                <a:gd name="T45" fmla="*/ 1581 h 2365"/>
                <a:gd name="T46" fmla="*/ 1546 w 2348"/>
                <a:gd name="T47" fmla="*/ 1766 h 2365"/>
                <a:gd name="T48" fmla="*/ 1611 w 2348"/>
                <a:gd name="T49" fmla="*/ 1811 h 2365"/>
                <a:gd name="T50" fmla="*/ 1688 w 2348"/>
                <a:gd name="T51" fmla="*/ 1811 h 2365"/>
                <a:gd name="T52" fmla="*/ 1760 w 2348"/>
                <a:gd name="T53" fmla="*/ 1811 h 2365"/>
                <a:gd name="T54" fmla="*/ 1824 w 2348"/>
                <a:gd name="T55" fmla="*/ 1766 h 2365"/>
                <a:gd name="T56" fmla="*/ 1881 w 2348"/>
                <a:gd name="T57" fmla="*/ 1687 h 2365"/>
                <a:gd name="T58" fmla="*/ 1946 w 2348"/>
                <a:gd name="T59" fmla="*/ 1811 h 2365"/>
                <a:gd name="T60" fmla="*/ 1121 w 2348"/>
                <a:gd name="T61" fmla="*/ 1909 h 2365"/>
                <a:gd name="T62" fmla="*/ 951 w 2348"/>
                <a:gd name="T63" fmla="*/ 1832 h 2365"/>
                <a:gd name="T64" fmla="*/ 1121 w 2348"/>
                <a:gd name="T65" fmla="*/ 1856 h 2365"/>
                <a:gd name="T66" fmla="*/ 1121 w 2348"/>
                <a:gd name="T67" fmla="*/ 1803 h 2365"/>
                <a:gd name="T68" fmla="*/ 2082 w 2348"/>
                <a:gd name="T69" fmla="*/ 1622 h 2365"/>
                <a:gd name="T70" fmla="*/ 358 w 2348"/>
                <a:gd name="T71" fmla="*/ 1731 h 2365"/>
                <a:gd name="T72" fmla="*/ 917 w 2348"/>
                <a:gd name="T73" fmla="*/ 1797 h 2365"/>
                <a:gd name="T74" fmla="*/ 1452 w 2348"/>
                <a:gd name="T75" fmla="*/ 1259 h 2365"/>
                <a:gd name="T76" fmla="*/ 1911 w 2348"/>
                <a:gd name="T77" fmla="*/ 1358 h 2365"/>
                <a:gd name="T78" fmla="*/ 1830 w 2348"/>
                <a:gd name="T79" fmla="*/ 1126 h 2365"/>
                <a:gd name="T80" fmla="*/ 1162 w 2348"/>
                <a:gd name="T81" fmla="*/ 439 h 2365"/>
                <a:gd name="T82" fmla="*/ 677 w 2348"/>
                <a:gd name="T83" fmla="*/ 1183 h 2365"/>
                <a:gd name="T84" fmla="*/ 1195 w 2348"/>
                <a:gd name="T85" fmla="*/ 503 h 2365"/>
                <a:gd name="T86" fmla="*/ 386 w 2348"/>
                <a:gd name="T87" fmla="*/ 1302 h 2365"/>
                <a:gd name="T88" fmla="*/ 525 w 2348"/>
                <a:gd name="T89" fmla="*/ 1544 h 2365"/>
                <a:gd name="T90" fmla="*/ 1318 w 2348"/>
                <a:gd name="T91" fmla="*/ 1534 h 2365"/>
                <a:gd name="T92" fmla="*/ 1318 w 2348"/>
                <a:gd name="T93" fmla="*/ 1588 h 2365"/>
                <a:gd name="T94" fmla="*/ 1365 w 2348"/>
                <a:gd name="T95" fmla="*/ 1649 h 2365"/>
                <a:gd name="T96" fmla="*/ 1365 w 2348"/>
                <a:gd name="T97" fmla="*/ 1721 h 2365"/>
                <a:gd name="T98" fmla="*/ 1518 w 2348"/>
                <a:gd name="T99" fmla="*/ 1547 h 2365"/>
                <a:gd name="T100" fmla="*/ 1471 w 2348"/>
                <a:gd name="T101" fmla="*/ 1605 h 2365"/>
                <a:gd name="T102" fmla="*/ 1471 w 2348"/>
                <a:gd name="T103" fmla="*/ 1661 h 2365"/>
                <a:gd name="T104" fmla="*/ 1518 w 2348"/>
                <a:gd name="T105" fmla="*/ 1721 h 2365"/>
                <a:gd name="T106" fmla="*/ 997 w 2348"/>
                <a:gd name="T107" fmla="*/ 1541 h 2365"/>
                <a:gd name="T108" fmla="*/ 1043 w 2348"/>
                <a:gd name="T109" fmla="*/ 1600 h 2365"/>
                <a:gd name="T110" fmla="*/ 1043 w 2348"/>
                <a:gd name="T111" fmla="*/ 1667 h 2365"/>
                <a:gd name="T112" fmla="*/ 997 w 2348"/>
                <a:gd name="T113" fmla="*/ 1726 h 2365"/>
                <a:gd name="T114" fmla="*/ 844 w 2348"/>
                <a:gd name="T115" fmla="*/ 1541 h 2365"/>
                <a:gd name="T116" fmla="*/ 844 w 2348"/>
                <a:gd name="T117" fmla="*/ 1612 h 2365"/>
                <a:gd name="T118" fmla="*/ 891 w 2348"/>
                <a:gd name="T119" fmla="*/ 1673 h 2365"/>
                <a:gd name="T120" fmla="*/ 891 w 2348"/>
                <a:gd name="T121" fmla="*/ 1738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48" h="2365">
                  <a:moveTo>
                    <a:pt x="842" y="1508"/>
                  </a:moveTo>
                  <a:cubicBezTo>
                    <a:pt x="916" y="1508"/>
                    <a:pt x="916" y="1508"/>
                    <a:pt x="916" y="1508"/>
                  </a:cubicBezTo>
                  <a:cubicBezTo>
                    <a:pt x="916" y="1529"/>
                    <a:pt x="916" y="1529"/>
                    <a:pt x="916" y="1529"/>
                  </a:cubicBezTo>
                  <a:cubicBezTo>
                    <a:pt x="971" y="1529"/>
                    <a:pt x="971" y="1529"/>
                    <a:pt x="971" y="1529"/>
                  </a:cubicBezTo>
                  <a:cubicBezTo>
                    <a:pt x="971" y="1508"/>
                    <a:pt x="971" y="1508"/>
                    <a:pt x="971" y="1508"/>
                  </a:cubicBezTo>
                  <a:cubicBezTo>
                    <a:pt x="1053" y="1508"/>
                    <a:pt x="1053" y="1508"/>
                    <a:pt x="1053" y="1508"/>
                  </a:cubicBezTo>
                  <a:cubicBezTo>
                    <a:pt x="1053" y="1797"/>
                    <a:pt x="1053" y="1797"/>
                    <a:pt x="1053" y="1797"/>
                  </a:cubicBezTo>
                  <a:cubicBezTo>
                    <a:pt x="1067" y="1797"/>
                    <a:pt x="1067" y="1797"/>
                    <a:pt x="1067" y="1797"/>
                  </a:cubicBezTo>
                  <a:cubicBezTo>
                    <a:pt x="1067" y="1580"/>
                    <a:pt x="1067" y="1580"/>
                    <a:pt x="1067" y="1580"/>
                  </a:cubicBezTo>
                  <a:cubicBezTo>
                    <a:pt x="1100" y="1545"/>
                    <a:pt x="1139" y="1518"/>
                    <a:pt x="1188" y="1518"/>
                  </a:cubicBezTo>
                  <a:cubicBezTo>
                    <a:pt x="1230" y="1519"/>
                    <a:pt x="1266" y="1548"/>
                    <a:pt x="1297" y="1583"/>
                  </a:cubicBezTo>
                  <a:cubicBezTo>
                    <a:pt x="1297" y="1797"/>
                    <a:pt x="1297" y="1797"/>
                    <a:pt x="1297" y="1797"/>
                  </a:cubicBezTo>
                  <a:cubicBezTo>
                    <a:pt x="1309" y="1797"/>
                    <a:pt x="1309" y="1797"/>
                    <a:pt x="1309" y="1797"/>
                  </a:cubicBezTo>
                  <a:cubicBezTo>
                    <a:pt x="1309" y="1508"/>
                    <a:pt x="1309" y="1508"/>
                    <a:pt x="1309" y="1508"/>
                  </a:cubicBezTo>
                  <a:cubicBezTo>
                    <a:pt x="1390" y="1508"/>
                    <a:pt x="1390" y="1508"/>
                    <a:pt x="1390" y="1508"/>
                  </a:cubicBezTo>
                  <a:cubicBezTo>
                    <a:pt x="1390" y="1529"/>
                    <a:pt x="1390" y="1529"/>
                    <a:pt x="1390" y="1529"/>
                  </a:cubicBezTo>
                  <a:cubicBezTo>
                    <a:pt x="1445" y="1529"/>
                    <a:pt x="1445" y="1529"/>
                    <a:pt x="1445" y="1529"/>
                  </a:cubicBezTo>
                  <a:cubicBezTo>
                    <a:pt x="1445" y="1508"/>
                    <a:pt x="1445" y="1508"/>
                    <a:pt x="1445" y="1508"/>
                  </a:cubicBezTo>
                  <a:cubicBezTo>
                    <a:pt x="1519" y="1508"/>
                    <a:pt x="1519" y="1508"/>
                    <a:pt x="1519" y="1508"/>
                  </a:cubicBezTo>
                  <a:cubicBezTo>
                    <a:pt x="1519" y="1487"/>
                    <a:pt x="1519" y="1487"/>
                    <a:pt x="1519" y="1487"/>
                  </a:cubicBezTo>
                  <a:cubicBezTo>
                    <a:pt x="1307" y="1487"/>
                    <a:pt x="1307" y="1487"/>
                    <a:pt x="1307" y="1487"/>
                  </a:cubicBezTo>
                  <a:cubicBezTo>
                    <a:pt x="1398" y="1399"/>
                    <a:pt x="1398" y="1399"/>
                    <a:pt x="1398" y="1399"/>
                  </a:cubicBezTo>
                  <a:cubicBezTo>
                    <a:pt x="1294" y="1399"/>
                    <a:pt x="1294" y="1399"/>
                    <a:pt x="1294" y="1399"/>
                  </a:cubicBezTo>
                  <a:cubicBezTo>
                    <a:pt x="1294" y="1576"/>
                    <a:pt x="1294" y="1576"/>
                    <a:pt x="1294" y="1576"/>
                  </a:cubicBezTo>
                  <a:cubicBezTo>
                    <a:pt x="1290" y="1576"/>
                    <a:pt x="1290" y="1576"/>
                    <a:pt x="1290" y="1576"/>
                  </a:cubicBezTo>
                  <a:cubicBezTo>
                    <a:pt x="1290" y="1575"/>
                    <a:pt x="1289" y="1574"/>
                    <a:pt x="1288" y="1573"/>
                  </a:cubicBezTo>
                  <a:cubicBezTo>
                    <a:pt x="1288" y="1485"/>
                    <a:pt x="1288" y="1485"/>
                    <a:pt x="1288" y="1485"/>
                  </a:cubicBezTo>
                  <a:cubicBezTo>
                    <a:pt x="1266" y="1485"/>
                    <a:pt x="1266" y="1485"/>
                    <a:pt x="1266" y="1485"/>
                  </a:cubicBezTo>
                  <a:cubicBezTo>
                    <a:pt x="1266" y="1552"/>
                    <a:pt x="1266" y="1552"/>
                    <a:pt x="1266" y="1552"/>
                  </a:cubicBezTo>
                  <a:cubicBezTo>
                    <a:pt x="1263" y="1550"/>
                    <a:pt x="1261" y="1548"/>
                    <a:pt x="1259" y="1546"/>
                  </a:cubicBezTo>
                  <a:cubicBezTo>
                    <a:pt x="1259" y="1485"/>
                    <a:pt x="1259" y="1485"/>
                    <a:pt x="1259" y="1485"/>
                  </a:cubicBezTo>
                  <a:cubicBezTo>
                    <a:pt x="1253" y="1485"/>
                    <a:pt x="1253" y="1485"/>
                    <a:pt x="1253" y="1485"/>
                  </a:cubicBezTo>
                  <a:cubicBezTo>
                    <a:pt x="1253" y="1542"/>
                    <a:pt x="1253" y="1542"/>
                    <a:pt x="1253" y="1542"/>
                  </a:cubicBezTo>
                  <a:cubicBezTo>
                    <a:pt x="1251" y="1541"/>
                    <a:pt x="1250" y="1540"/>
                    <a:pt x="1248" y="1538"/>
                  </a:cubicBezTo>
                  <a:cubicBezTo>
                    <a:pt x="1248" y="1485"/>
                    <a:pt x="1248" y="1485"/>
                    <a:pt x="1248" y="1485"/>
                  </a:cubicBezTo>
                  <a:cubicBezTo>
                    <a:pt x="1241" y="1485"/>
                    <a:pt x="1241" y="1485"/>
                    <a:pt x="1241" y="1485"/>
                  </a:cubicBezTo>
                  <a:cubicBezTo>
                    <a:pt x="1241" y="1534"/>
                    <a:pt x="1241" y="1534"/>
                    <a:pt x="1241" y="1534"/>
                  </a:cubicBezTo>
                  <a:cubicBezTo>
                    <a:pt x="1239" y="1533"/>
                    <a:pt x="1237" y="1532"/>
                    <a:pt x="1235" y="1531"/>
                  </a:cubicBezTo>
                  <a:cubicBezTo>
                    <a:pt x="1235" y="1399"/>
                    <a:pt x="1235" y="1399"/>
                    <a:pt x="1235" y="1399"/>
                  </a:cubicBezTo>
                  <a:cubicBezTo>
                    <a:pt x="1221" y="1399"/>
                    <a:pt x="1221" y="1399"/>
                    <a:pt x="1221" y="1399"/>
                  </a:cubicBezTo>
                  <a:cubicBezTo>
                    <a:pt x="1221" y="1524"/>
                    <a:pt x="1221" y="1524"/>
                    <a:pt x="1221" y="1524"/>
                  </a:cubicBezTo>
                  <a:cubicBezTo>
                    <a:pt x="1219" y="1523"/>
                    <a:pt x="1216" y="1523"/>
                    <a:pt x="1214" y="1522"/>
                  </a:cubicBezTo>
                  <a:cubicBezTo>
                    <a:pt x="1214" y="1382"/>
                    <a:pt x="1214" y="1382"/>
                    <a:pt x="1214" y="1382"/>
                  </a:cubicBezTo>
                  <a:cubicBezTo>
                    <a:pt x="1403" y="1382"/>
                    <a:pt x="1403" y="1382"/>
                    <a:pt x="1403" y="1382"/>
                  </a:cubicBezTo>
                  <a:cubicBezTo>
                    <a:pt x="1403" y="1377"/>
                    <a:pt x="1403" y="1377"/>
                    <a:pt x="1403" y="1377"/>
                  </a:cubicBezTo>
                  <a:cubicBezTo>
                    <a:pt x="1207" y="1377"/>
                    <a:pt x="1207" y="1377"/>
                    <a:pt x="1207" y="1377"/>
                  </a:cubicBezTo>
                  <a:cubicBezTo>
                    <a:pt x="1206" y="1520"/>
                    <a:pt x="1206" y="1520"/>
                    <a:pt x="1206" y="1520"/>
                  </a:cubicBezTo>
                  <a:cubicBezTo>
                    <a:pt x="1204" y="1519"/>
                    <a:pt x="1203" y="1519"/>
                    <a:pt x="1201" y="1519"/>
                  </a:cubicBezTo>
                  <a:cubicBezTo>
                    <a:pt x="1201" y="1370"/>
                    <a:pt x="1201" y="1370"/>
                    <a:pt x="1201" y="1370"/>
                  </a:cubicBezTo>
                  <a:cubicBezTo>
                    <a:pt x="1207" y="1370"/>
                    <a:pt x="1207" y="1370"/>
                    <a:pt x="1207" y="1370"/>
                  </a:cubicBezTo>
                  <a:cubicBezTo>
                    <a:pt x="1207" y="1374"/>
                    <a:pt x="1207" y="1374"/>
                    <a:pt x="1207" y="1374"/>
                  </a:cubicBezTo>
                  <a:cubicBezTo>
                    <a:pt x="1403" y="1374"/>
                    <a:pt x="1403" y="1374"/>
                    <a:pt x="1403" y="1374"/>
                  </a:cubicBezTo>
                  <a:cubicBezTo>
                    <a:pt x="1403" y="1369"/>
                    <a:pt x="1403" y="1369"/>
                    <a:pt x="1403" y="1369"/>
                  </a:cubicBezTo>
                  <a:cubicBezTo>
                    <a:pt x="1406" y="1369"/>
                    <a:pt x="1406" y="1369"/>
                    <a:pt x="1406" y="1369"/>
                  </a:cubicBezTo>
                  <a:cubicBezTo>
                    <a:pt x="1428" y="1418"/>
                    <a:pt x="1455" y="1438"/>
                    <a:pt x="1489" y="1438"/>
                  </a:cubicBezTo>
                  <a:cubicBezTo>
                    <a:pt x="1496" y="1438"/>
                    <a:pt x="1503" y="1437"/>
                    <a:pt x="1510" y="1436"/>
                  </a:cubicBezTo>
                  <a:cubicBezTo>
                    <a:pt x="1511" y="1393"/>
                    <a:pt x="1490" y="1347"/>
                    <a:pt x="1460" y="1316"/>
                  </a:cubicBezTo>
                  <a:cubicBezTo>
                    <a:pt x="1446" y="1338"/>
                    <a:pt x="1430" y="1354"/>
                    <a:pt x="1414" y="1363"/>
                  </a:cubicBezTo>
                  <a:cubicBezTo>
                    <a:pt x="1259" y="1363"/>
                    <a:pt x="1103" y="1363"/>
                    <a:pt x="948" y="1363"/>
                  </a:cubicBezTo>
                  <a:cubicBezTo>
                    <a:pt x="905" y="1335"/>
                    <a:pt x="891" y="1300"/>
                    <a:pt x="875" y="1267"/>
                  </a:cubicBezTo>
                  <a:cubicBezTo>
                    <a:pt x="926" y="1305"/>
                    <a:pt x="1021" y="1279"/>
                    <a:pt x="1004" y="1194"/>
                  </a:cubicBezTo>
                  <a:cubicBezTo>
                    <a:pt x="1012" y="1194"/>
                    <a:pt x="1020" y="1194"/>
                    <a:pt x="1028" y="1194"/>
                  </a:cubicBezTo>
                  <a:cubicBezTo>
                    <a:pt x="1031" y="1200"/>
                    <a:pt x="1035" y="1205"/>
                    <a:pt x="1038" y="1211"/>
                  </a:cubicBezTo>
                  <a:cubicBezTo>
                    <a:pt x="1045" y="1211"/>
                    <a:pt x="1051" y="1211"/>
                    <a:pt x="1058" y="1211"/>
                  </a:cubicBezTo>
                  <a:cubicBezTo>
                    <a:pt x="1061" y="1218"/>
                    <a:pt x="1064" y="1226"/>
                    <a:pt x="1067" y="1233"/>
                  </a:cubicBezTo>
                  <a:cubicBezTo>
                    <a:pt x="1144" y="1233"/>
                    <a:pt x="1221" y="1233"/>
                    <a:pt x="1297" y="1233"/>
                  </a:cubicBezTo>
                  <a:cubicBezTo>
                    <a:pt x="1301" y="1227"/>
                    <a:pt x="1305" y="1220"/>
                    <a:pt x="1308" y="1214"/>
                  </a:cubicBezTo>
                  <a:cubicBezTo>
                    <a:pt x="1314" y="1214"/>
                    <a:pt x="1321" y="1214"/>
                    <a:pt x="1327" y="1214"/>
                  </a:cubicBezTo>
                  <a:cubicBezTo>
                    <a:pt x="1328" y="1208"/>
                    <a:pt x="1330" y="1201"/>
                    <a:pt x="1332" y="1195"/>
                  </a:cubicBezTo>
                  <a:cubicBezTo>
                    <a:pt x="1344" y="1195"/>
                    <a:pt x="1356" y="1195"/>
                    <a:pt x="1369" y="1195"/>
                  </a:cubicBezTo>
                  <a:cubicBezTo>
                    <a:pt x="1361" y="1262"/>
                    <a:pt x="1394" y="1286"/>
                    <a:pt x="1437" y="1283"/>
                  </a:cubicBezTo>
                  <a:cubicBezTo>
                    <a:pt x="1433" y="1169"/>
                    <a:pt x="1423" y="1060"/>
                    <a:pt x="1407" y="956"/>
                  </a:cubicBezTo>
                  <a:cubicBezTo>
                    <a:pt x="1407" y="916"/>
                    <a:pt x="1394" y="893"/>
                    <a:pt x="1364" y="856"/>
                  </a:cubicBezTo>
                  <a:cubicBezTo>
                    <a:pt x="1363" y="857"/>
                    <a:pt x="1362" y="857"/>
                    <a:pt x="1362" y="857"/>
                  </a:cubicBezTo>
                  <a:cubicBezTo>
                    <a:pt x="1365" y="887"/>
                    <a:pt x="1369" y="918"/>
                    <a:pt x="1372" y="948"/>
                  </a:cubicBezTo>
                  <a:cubicBezTo>
                    <a:pt x="1365" y="957"/>
                    <a:pt x="1359" y="958"/>
                    <a:pt x="1354" y="950"/>
                  </a:cubicBezTo>
                  <a:cubicBezTo>
                    <a:pt x="1350" y="910"/>
                    <a:pt x="1346" y="869"/>
                    <a:pt x="1343" y="828"/>
                  </a:cubicBezTo>
                  <a:cubicBezTo>
                    <a:pt x="1339" y="792"/>
                    <a:pt x="1330" y="759"/>
                    <a:pt x="1322" y="725"/>
                  </a:cubicBezTo>
                  <a:cubicBezTo>
                    <a:pt x="1307" y="700"/>
                    <a:pt x="1294" y="688"/>
                    <a:pt x="1281" y="674"/>
                  </a:cubicBezTo>
                  <a:cubicBezTo>
                    <a:pt x="1283" y="697"/>
                    <a:pt x="1284" y="719"/>
                    <a:pt x="1286" y="742"/>
                  </a:cubicBezTo>
                  <a:cubicBezTo>
                    <a:pt x="1281" y="742"/>
                    <a:pt x="1277" y="742"/>
                    <a:pt x="1272" y="742"/>
                  </a:cubicBezTo>
                  <a:cubicBezTo>
                    <a:pt x="1267" y="695"/>
                    <a:pt x="1263" y="647"/>
                    <a:pt x="1259" y="600"/>
                  </a:cubicBezTo>
                  <a:cubicBezTo>
                    <a:pt x="1251" y="568"/>
                    <a:pt x="1244" y="546"/>
                    <a:pt x="1227" y="547"/>
                  </a:cubicBezTo>
                  <a:cubicBezTo>
                    <a:pt x="1154" y="559"/>
                    <a:pt x="1120" y="584"/>
                    <a:pt x="1071" y="604"/>
                  </a:cubicBezTo>
                  <a:cubicBezTo>
                    <a:pt x="1040" y="618"/>
                    <a:pt x="1015" y="639"/>
                    <a:pt x="997" y="672"/>
                  </a:cubicBezTo>
                  <a:cubicBezTo>
                    <a:pt x="994" y="702"/>
                    <a:pt x="991" y="732"/>
                    <a:pt x="988" y="763"/>
                  </a:cubicBezTo>
                  <a:cubicBezTo>
                    <a:pt x="979" y="784"/>
                    <a:pt x="969" y="806"/>
                    <a:pt x="959" y="827"/>
                  </a:cubicBezTo>
                  <a:cubicBezTo>
                    <a:pt x="958" y="879"/>
                    <a:pt x="957" y="931"/>
                    <a:pt x="956" y="983"/>
                  </a:cubicBezTo>
                  <a:cubicBezTo>
                    <a:pt x="951" y="984"/>
                    <a:pt x="946" y="985"/>
                    <a:pt x="941" y="986"/>
                  </a:cubicBezTo>
                  <a:cubicBezTo>
                    <a:pt x="942" y="937"/>
                    <a:pt x="943" y="888"/>
                    <a:pt x="944" y="839"/>
                  </a:cubicBezTo>
                  <a:cubicBezTo>
                    <a:pt x="944" y="812"/>
                    <a:pt x="955" y="785"/>
                    <a:pt x="972" y="759"/>
                  </a:cubicBezTo>
                  <a:cubicBezTo>
                    <a:pt x="973" y="745"/>
                    <a:pt x="975" y="731"/>
                    <a:pt x="977" y="718"/>
                  </a:cubicBezTo>
                  <a:cubicBezTo>
                    <a:pt x="974" y="718"/>
                    <a:pt x="971" y="718"/>
                    <a:pt x="968" y="718"/>
                  </a:cubicBezTo>
                  <a:cubicBezTo>
                    <a:pt x="955" y="728"/>
                    <a:pt x="946" y="739"/>
                    <a:pt x="940" y="749"/>
                  </a:cubicBezTo>
                  <a:cubicBezTo>
                    <a:pt x="934" y="778"/>
                    <a:pt x="927" y="807"/>
                    <a:pt x="925" y="836"/>
                  </a:cubicBezTo>
                  <a:cubicBezTo>
                    <a:pt x="931" y="914"/>
                    <a:pt x="887" y="1024"/>
                    <a:pt x="911" y="1120"/>
                  </a:cubicBezTo>
                  <a:cubicBezTo>
                    <a:pt x="894" y="1120"/>
                    <a:pt x="894" y="1120"/>
                    <a:pt x="894" y="1120"/>
                  </a:cubicBezTo>
                  <a:cubicBezTo>
                    <a:pt x="879" y="1061"/>
                    <a:pt x="892" y="966"/>
                    <a:pt x="909" y="857"/>
                  </a:cubicBezTo>
                  <a:cubicBezTo>
                    <a:pt x="884" y="875"/>
                    <a:pt x="864" y="911"/>
                    <a:pt x="864" y="988"/>
                  </a:cubicBezTo>
                  <a:cubicBezTo>
                    <a:pt x="843" y="1435"/>
                    <a:pt x="843" y="1435"/>
                    <a:pt x="843" y="1435"/>
                  </a:cubicBezTo>
                  <a:cubicBezTo>
                    <a:pt x="852" y="1437"/>
                    <a:pt x="861" y="1438"/>
                    <a:pt x="872" y="1438"/>
                  </a:cubicBezTo>
                  <a:cubicBezTo>
                    <a:pt x="905" y="1438"/>
                    <a:pt x="932" y="1418"/>
                    <a:pt x="955" y="1369"/>
                  </a:cubicBezTo>
                  <a:cubicBezTo>
                    <a:pt x="958" y="1369"/>
                    <a:pt x="958" y="1369"/>
                    <a:pt x="958" y="1369"/>
                  </a:cubicBezTo>
                  <a:cubicBezTo>
                    <a:pt x="958" y="1374"/>
                    <a:pt x="958" y="1374"/>
                    <a:pt x="958" y="1374"/>
                  </a:cubicBezTo>
                  <a:cubicBezTo>
                    <a:pt x="1154" y="1374"/>
                    <a:pt x="1154" y="1374"/>
                    <a:pt x="1154" y="1374"/>
                  </a:cubicBezTo>
                  <a:cubicBezTo>
                    <a:pt x="1154" y="1370"/>
                    <a:pt x="1154" y="1370"/>
                    <a:pt x="1154" y="1370"/>
                  </a:cubicBezTo>
                  <a:cubicBezTo>
                    <a:pt x="1160" y="1370"/>
                    <a:pt x="1160" y="1370"/>
                    <a:pt x="1160" y="1370"/>
                  </a:cubicBezTo>
                  <a:cubicBezTo>
                    <a:pt x="1160" y="1521"/>
                    <a:pt x="1160" y="1521"/>
                    <a:pt x="1160" y="1521"/>
                  </a:cubicBezTo>
                  <a:cubicBezTo>
                    <a:pt x="1158" y="1521"/>
                    <a:pt x="1156" y="1522"/>
                    <a:pt x="1154" y="1522"/>
                  </a:cubicBezTo>
                  <a:cubicBezTo>
                    <a:pt x="1154" y="1377"/>
                    <a:pt x="1154" y="1377"/>
                    <a:pt x="1154" y="1377"/>
                  </a:cubicBezTo>
                  <a:cubicBezTo>
                    <a:pt x="958" y="1377"/>
                    <a:pt x="958" y="1377"/>
                    <a:pt x="958" y="1377"/>
                  </a:cubicBezTo>
                  <a:cubicBezTo>
                    <a:pt x="958" y="1382"/>
                    <a:pt x="958" y="1382"/>
                    <a:pt x="958" y="1382"/>
                  </a:cubicBezTo>
                  <a:cubicBezTo>
                    <a:pt x="1146" y="1382"/>
                    <a:pt x="1146" y="1382"/>
                    <a:pt x="1146" y="1382"/>
                  </a:cubicBezTo>
                  <a:cubicBezTo>
                    <a:pt x="1146" y="1525"/>
                    <a:pt x="1146" y="1525"/>
                    <a:pt x="1146" y="1525"/>
                  </a:cubicBezTo>
                  <a:cubicBezTo>
                    <a:pt x="1144" y="1526"/>
                    <a:pt x="1142" y="1526"/>
                    <a:pt x="1140" y="1527"/>
                  </a:cubicBezTo>
                  <a:cubicBezTo>
                    <a:pt x="1140" y="1399"/>
                    <a:pt x="1140" y="1399"/>
                    <a:pt x="1140" y="1399"/>
                  </a:cubicBezTo>
                  <a:cubicBezTo>
                    <a:pt x="1125" y="1399"/>
                    <a:pt x="1125" y="1399"/>
                    <a:pt x="1125" y="1399"/>
                  </a:cubicBezTo>
                  <a:cubicBezTo>
                    <a:pt x="1125" y="1534"/>
                    <a:pt x="1125" y="1534"/>
                    <a:pt x="1125" y="1534"/>
                  </a:cubicBezTo>
                  <a:cubicBezTo>
                    <a:pt x="1123" y="1535"/>
                    <a:pt x="1121" y="1536"/>
                    <a:pt x="1119" y="1537"/>
                  </a:cubicBezTo>
                  <a:cubicBezTo>
                    <a:pt x="1119" y="1485"/>
                    <a:pt x="1119" y="1485"/>
                    <a:pt x="1119" y="1485"/>
                  </a:cubicBezTo>
                  <a:cubicBezTo>
                    <a:pt x="1113" y="1485"/>
                    <a:pt x="1113" y="1485"/>
                    <a:pt x="1113" y="1485"/>
                  </a:cubicBezTo>
                  <a:cubicBezTo>
                    <a:pt x="1113" y="1541"/>
                    <a:pt x="1113" y="1541"/>
                    <a:pt x="1113" y="1541"/>
                  </a:cubicBezTo>
                  <a:cubicBezTo>
                    <a:pt x="1111" y="1542"/>
                    <a:pt x="1109" y="1544"/>
                    <a:pt x="1107" y="1545"/>
                  </a:cubicBezTo>
                  <a:cubicBezTo>
                    <a:pt x="1107" y="1485"/>
                    <a:pt x="1107" y="1485"/>
                    <a:pt x="1107" y="1485"/>
                  </a:cubicBezTo>
                  <a:cubicBezTo>
                    <a:pt x="1101" y="1485"/>
                    <a:pt x="1101" y="1485"/>
                    <a:pt x="1101" y="1485"/>
                  </a:cubicBezTo>
                  <a:cubicBezTo>
                    <a:pt x="1101" y="1549"/>
                    <a:pt x="1101" y="1549"/>
                    <a:pt x="1101" y="1549"/>
                  </a:cubicBezTo>
                  <a:cubicBezTo>
                    <a:pt x="1099" y="1551"/>
                    <a:pt x="1097" y="1552"/>
                    <a:pt x="1095" y="1554"/>
                  </a:cubicBezTo>
                  <a:cubicBezTo>
                    <a:pt x="1095" y="1485"/>
                    <a:pt x="1095" y="1485"/>
                    <a:pt x="1095" y="1485"/>
                  </a:cubicBezTo>
                  <a:cubicBezTo>
                    <a:pt x="1072" y="1485"/>
                    <a:pt x="1072" y="1485"/>
                    <a:pt x="1072" y="1485"/>
                  </a:cubicBezTo>
                  <a:cubicBezTo>
                    <a:pt x="1072" y="1575"/>
                    <a:pt x="1072" y="1575"/>
                    <a:pt x="1072" y="1575"/>
                  </a:cubicBezTo>
                  <a:cubicBezTo>
                    <a:pt x="1072" y="1575"/>
                    <a:pt x="1072" y="1575"/>
                    <a:pt x="1071" y="1576"/>
                  </a:cubicBezTo>
                  <a:cubicBezTo>
                    <a:pt x="1067" y="1576"/>
                    <a:pt x="1067" y="1576"/>
                    <a:pt x="1067" y="1576"/>
                  </a:cubicBezTo>
                  <a:cubicBezTo>
                    <a:pt x="1067" y="1399"/>
                    <a:pt x="1067" y="1399"/>
                    <a:pt x="1067" y="1399"/>
                  </a:cubicBezTo>
                  <a:cubicBezTo>
                    <a:pt x="962" y="1399"/>
                    <a:pt x="962" y="1399"/>
                    <a:pt x="962" y="1399"/>
                  </a:cubicBezTo>
                  <a:cubicBezTo>
                    <a:pt x="1054" y="1487"/>
                    <a:pt x="1054" y="1487"/>
                    <a:pt x="1054" y="1487"/>
                  </a:cubicBezTo>
                  <a:cubicBezTo>
                    <a:pt x="842" y="1487"/>
                    <a:pt x="842" y="1487"/>
                    <a:pt x="842" y="1487"/>
                  </a:cubicBezTo>
                  <a:cubicBezTo>
                    <a:pt x="842" y="1508"/>
                    <a:pt x="842" y="1508"/>
                    <a:pt x="842" y="1508"/>
                  </a:cubicBezTo>
                  <a:close/>
                  <a:moveTo>
                    <a:pt x="1605" y="1820"/>
                  </a:moveTo>
                  <a:cubicBezTo>
                    <a:pt x="1415" y="1820"/>
                    <a:pt x="1415" y="1820"/>
                    <a:pt x="1415" y="1820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605" y="1829"/>
                    <a:pt x="1605" y="1829"/>
                    <a:pt x="1605" y="1829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245" y="1931"/>
                  </a:moveTo>
                  <a:cubicBezTo>
                    <a:pt x="1194" y="1931"/>
                    <a:pt x="1194" y="1931"/>
                    <a:pt x="1194" y="1931"/>
                  </a:cubicBezTo>
                  <a:cubicBezTo>
                    <a:pt x="1194" y="1953"/>
                    <a:pt x="1194" y="1953"/>
                    <a:pt x="1194" y="1953"/>
                  </a:cubicBezTo>
                  <a:cubicBezTo>
                    <a:pt x="1245" y="1953"/>
                    <a:pt x="1245" y="1953"/>
                    <a:pt x="1245" y="1953"/>
                  </a:cubicBezTo>
                  <a:cubicBezTo>
                    <a:pt x="1245" y="1931"/>
                    <a:pt x="1245" y="1931"/>
                    <a:pt x="1245" y="1931"/>
                  </a:cubicBezTo>
                  <a:close/>
                  <a:moveTo>
                    <a:pt x="1239" y="1937"/>
                  </a:moveTo>
                  <a:cubicBezTo>
                    <a:pt x="1239" y="1945"/>
                    <a:pt x="1239" y="1945"/>
                    <a:pt x="1239" y="1945"/>
                  </a:cubicBezTo>
                  <a:cubicBezTo>
                    <a:pt x="1200" y="1945"/>
                    <a:pt x="1200" y="1945"/>
                    <a:pt x="1200" y="1945"/>
                  </a:cubicBezTo>
                  <a:cubicBezTo>
                    <a:pt x="1200" y="1937"/>
                    <a:pt x="1200" y="1937"/>
                    <a:pt x="1200" y="1937"/>
                  </a:cubicBezTo>
                  <a:cubicBezTo>
                    <a:pt x="1239" y="1937"/>
                    <a:pt x="1239" y="1937"/>
                    <a:pt x="1239" y="1937"/>
                  </a:cubicBezTo>
                  <a:close/>
                  <a:moveTo>
                    <a:pt x="1245" y="1904"/>
                  </a:moveTo>
                  <a:cubicBezTo>
                    <a:pt x="1194" y="1904"/>
                    <a:pt x="1194" y="1904"/>
                    <a:pt x="1194" y="1904"/>
                  </a:cubicBezTo>
                  <a:cubicBezTo>
                    <a:pt x="1194" y="1925"/>
                    <a:pt x="1194" y="1925"/>
                    <a:pt x="1194" y="1925"/>
                  </a:cubicBezTo>
                  <a:cubicBezTo>
                    <a:pt x="1245" y="1925"/>
                    <a:pt x="1245" y="1925"/>
                    <a:pt x="1245" y="1925"/>
                  </a:cubicBezTo>
                  <a:cubicBezTo>
                    <a:pt x="1245" y="1904"/>
                    <a:pt x="1245" y="1904"/>
                    <a:pt x="1245" y="1904"/>
                  </a:cubicBezTo>
                  <a:close/>
                  <a:moveTo>
                    <a:pt x="1239" y="1909"/>
                  </a:moveTo>
                  <a:cubicBezTo>
                    <a:pt x="1239" y="1918"/>
                    <a:pt x="1239" y="1918"/>
                    <a:pt x="1239" y="1918"/>
                  </a:cubicBezTo>
                  <a:cubicBezTo>
                    <a:pt x="1200" y="1918"/>
                    <a:pt x="1200" y="1918"/>
                    <a:pt x="1200" y="1918"/>
                  </a:cubicBezTo>
                  <a:cubicBezTo>
                    <a:pt x="1200" y="1909"/>
                    <a:pt x="1200" y="1909"/>
                    <a:pt x="1200" y="1909"/>
                  </a:cubicBezTo>
                  <a:cubicBezTo>
                    <a:pt x="1239" y="1909"/>
                    <a:pt x="1239" y="1909"/>
                    <a:pt x="1239" y="1909"/>
                  </a:cubicBezTo>
                  <a:close/>
                  <a:moveTo>
                    <a:pt x="1264" y="1812"/>
                  </a:moveTo>
                  <a:cubicBezTo>
                    <a:pt x="1264" y="1812"/>
                    <a:pt x="1264" y="1812"/>
                    <a:pt x="1264" y="1812"/>
                  </a:cubicBezTo>
                  <a:cubicBezTo>
                    <a:pt x="1264" y="1838"/>
                    <a:pt x="1264" y="1838"/>
                    <a:pt x="1264" y="1838"/>
                  </a:cubicBezTo>
                  <a:cubicBezTo>
                    <a:pt x="1409" y="1838"/>
                    <a:pt x="1409" y="1838"/>
                    <a:pt x="1409" y="1838"/>
                  </a:cubicBezTo>
                  <a:cubicBezTo>
                    <a:pt x="1409" y="1845"/>
                    <a:pt x="1409" y="1845"/>
                    <a:pt x="1409" y="1845"/>
                  </a:cubicBezTo>
                  <a:cubicBezTo>
                    <a:pt x="1264" y="1845"/>
                    <a:pt x="1264" y="1845"/>
                    <a:pt x="1264" y="1845"/>
                  </a:cubicBezTo>
                  <a:cubicBezTo>
                    <a:pt x="1264" y="1866"/>
                    <a:pt x="1264" y="1866"/>
                    <a:pt x="1264" y="1866"/>
                  </a:cubicBezTo>
                  <a:cubicBezTo>
                    <a:pt x="1408" y="1866"/>
                    <a:pt x="1408" y="1866"/>
                    <a:pt x="1408" y="1866"/>
                  </a:cubicBezTo>
                  <a:cubicBezTo>
                    <a:pt x="1408" y="1872"/>
                    <a:pt x="1408" y="1872"/>
                    <a:pt x="1408" y="1872"/>
                  </a:cubicBezTo>
                  <a:cubicBezTo>
                    <a:pt x="1264" y="1872"/>
                    <a:pt x="1264" y="1872"/>
                    <a:pt x="1264" y="1872"/>
                  </a:cubicBezTo>
                  <a:cubicBezTo>
                    <a:pt x="1264" y="1893"/>
                    <a:pt x="1264" y="1893"/>
                    <a:pt x="1264" y="1893"/>
                  </a:cubicBezTo>
                  <a:cubicBezTo>
                    <a:pt x="1402" y="1893"/>
                    <a:pt x="1402" y="1893"/>
                    <a:pt x="1402" y="1893"/>
                  </a:cubicBezTo>
                  <a:cubicBezTo>
                    <a:pt x="1397" y="1897"/>
                    <a:pt x="1393" y="1902"/>
                    <a:pt x="1389" y="1906"/>
                  </a:cubicBezTo>
                  <a:cubicBezTo>
                    <a:pt x="1264" y="1906"/>
                    <a:pt x="1264" y="1906"/>
                    <a:pt x="1264" y="1906"/>
                  </a:cubicBezTo>
                  <a:cubicBezTo>
                    <a:pt x="1264" y="1924"/>
                    <a:pt x="1264" y="1924"/>
                    <a:pt x="1264" y="1924"/>
                  </a:cubicBezTo>
                  <a:cubicBezTo>
                    <a:pt x="1384" y="1924"/>
                    <a:pt x="1384" y="1924"/>
                    <a:pt x="1384" y="1924"/>
                  </a:cubicBezTo>
                  <a:cubicBezTo>
                    <a:pt x="1384" y="1931"/>
                    <a:pt x="1384" y="1931"/>
                    <a:pt x="1384" y="1931"/>
                  </a:cubicBezTo>
                  <a:cubicBezTo>
                    <a:pt x="1264" y="1931"/>
                    <a:pt x="1264" y="1931"/>
                    <a:pt x="1264" y="1931"/>
                  </a:cubicBezTo>
                  <a:cubicBezTo>
                    <a:pt x="1264" y="1953"/>
                    <a:pt x="1264" y="1953"/>
                    <a:pt x="1264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389" y="1953"/>
                    <a:pt x="1389" y="1953"/>
                    <a:pt x="1389" y="1953"/>
                  </a:cubicBezTo>
                  <a:cubicBezTo>
                    <a:pt x="1611" y="1953"/>
                    <a:pt x="1611" y="1953"/>
                    <a:pt x="1611" y="1953"/>
                  </a:cubicBezTo>
                  <a:cubicBezTo>
                    <a:pt x="1611" y="1908"/>
                    <a:pt x="1611" y="1908"/>
                    <a:pt x="1611" y="1908"/>
                  </a:cubicBezTo>
                  <a:cubicBezTo>
                    <a:pt x="1610" y="1900"/>
                    <a:pt x="1606" y="1893"/>
                    <a:pt x="1597" y="1888"/>
                  </a:cubicBezTo>
                  <a:cubicBezTo>
                    <a:pt x="1595" y="1834"/>
                    <a:pt x="1595" y="1834"/>
                    <a:pt x="1595" y="1834"/>
                  </a:cubicBezTo>
                  <a:cubicBezTo>
                    <a:pt x="1611" y="1834"/>
                    <a:pt x="1611" y="1834"/>
                    <a:pt x="1611" y="1834"/>
                  </a:cubicBezTo>
                  <a:cubicBezTo>
                    <a:pt x="1611" y="1816"/>
                    <a:pt x="1611" y="1816"/>
                    <a:pt x="1611" y="1816"/>
                  </a:cubicBezTo>
                  <a:cubicBezTo>
                    <a:pt x="2081" y="1821"/>
                    <a:pt x="2081" y="1821"/>
                    <a:pt x="2081" y="1821"/>
                  </a:cubicBezTo>
                  <a:cubicBezTo>
                    <a:pt x="1880" y="2109"/>
                    <a:pt x="1548" y="2298"/>
                    <a:pt x="1174" y="2298"/>
                  </a:cubicBezTo>
                  <a:cubicBezTo>
                    <a:pt x="799" y="2298"/>
                    <a:pt x="466" y="2109"/>
                    <a:pt x="266" y="1820"/>
                  </a:cubicBezTo>
                  <a:cubicBezTo>
                    <a:pt x="749" y="1820"/>
                    <a:pt x="749" y="1820"/>
                    <a:pt x="749" y="1820"/>
                  </a:cubicBezTo>
                  <a:cubicBezTo>
                    <a:pt x="749" y="1834"/>
                    <a:pt x="749" y="1834"/>
                    <a:pt x="749" y="1834"/>
                  </a:cubicBezTo>
                  <a:cubicBezTo>
                    <a:pt x="765" y="1834"/>
                    <a:pt x="765" y="1834"/>
                    <a:pt x="765" y="1834"/>
                  </a:cubicBezTo>
                  <a:cubicBezTo>
                    <a:pt x="764" y="1888"/>
                    <a:pt x="764" y="1888"/>
                    <a:pt x="764" y="1888"/>
                  </a:cubicBezTo>
                  <a:cubicBezTo>
                    <a:pt x="754" y="1893"/>
                    <a:pt x="751" y="1900"/>
                    <a:pt x="750" y="1908"/>
                  </a:cubicBezTo>
                  <a:cubicBezTo>
                    <a:pt x="749" y="1953"/>
                    <a:pt x="749" y="1953"/>
                    <a:pt x="749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971" y="1953"/>
                    <a:pt x="971" y="1953"/>
                    <a:pt x="971" y="1953"/>
                  </a:cubicBezTo>
                  <a:cubicBezTo>
                    <a:pt x="1096" y="1953"/>
                    <a:pt x="1096" y="1953"/>
                    <a:pt x="1096" y="1953"/>
                  </a:cubicBezTo>
                  <a:cubicBezTo>
                    <a:pt x="1096" y="1931"/>
                    <a:pt x="1096" y="1931"/>
                    <a:pt x="1096" y="1931"/>
                  </a:cubicBezTo>
                  <a:cubicBezTo>
                    <a:pt x="976" y="1931"/>
                    <a:pt x="976" y="1931"/>
                    <a:pt x="976" y="1931"/>
                  </a:cubicBezTo>
                  <a:cubicBezTo>
                    <a:pt x="976" y="1924"/>
                    <a:pt x="976" y="1924"/>
                    <a:pt x="976" y="1924"/>
                  </a:cubicBezTo>
                  <a:cubicBezTo>
                    <a:pt x="1096" y="1924"/>
                    <a:pt x="1096" y="1924"/>
                    <a:pt x="1096" y="1924"/>
                  </a:cubicBezTo>
                  <a:cubicBezTo>
                    <a:pt x="1096" y="1906"/>
                    <a:pt x="1096" y="1906"/>
                    <a:pt x="1096" y="1906"/>
                  </a:cubicBezTo>
                  <a:cubicBezTo>
                    <a:pt x="971" y="1906"/>
                    <a:pt x="971" y="1906"/>
                    <a:pt x="971" y="1906"/>
                  </a:cubicBezTo>
                  <a:cubicBezTo>
                    <a:pt x="967" y="1902"/>
                    <a:pt x="963" y="1897"/>
                    <a:pt x="958" y="1893"/>
                  </a:cubicBezTo>
                  <a:cubicBezTo>
                    <a:pt x="1096" y="1893"/>
                    <a:pt x="1096" y="1893"/>
                    <a:pt x="1096" y="1893"/>
                  </a:cubicBezTo>
                  <a:cubicBezTo>
                    <a:pt x="1096" y="1872"/>
                    <a:pt x="1096" y="1872"/>
                    <a:pt x="1096" y="1872"/>
                  </a:cubicBezTo>
                  <a:cubicBezTo>
                    <a:pt x="953" y="1872"/>
                    <a:pt x="953" y="1872"/>
                    <a:pt x="953" y="1872"/>
                  </a:cubicBezTo>
                  <a:cubicBezTo>
                    <a:pt x="952" y="1866"/>
                    <a:pt x="952" y="1866"/>
                    <a:pt x="952" y="1866"/>
                  </a:cubicBezTo>
                  <a:cubicBezTo>
                    <a:pt x="1096" y="1866"/>
                    <a:pt x="1096" y="1866"/>
                    <a:pt x="1096" y="1866"/>
                  </a:cubicBezTo>
                  <a:cubicBezTo>
                    <a:pt x="1096" y="1845"/>
                    <a:pt x="1096" y="1845"/>
                    <a:pt x="1096" y="1845"/>
                  </a:cubicBezTo>
                  <a:cubicBezTo>
                    <a:pt x="952" y="1845"/>
                    <a:pt x="952" y="1845"/>
                    <a:pt x="952" y="1845"/>
                  </a:cubicBezTo>
                  <a:cubicBezTo>
                    <a:pt x="951" y="1838"/>
                    <a:pt x="951" y="1838"/>
                    <a:pt x="951" y="1838"/>
                  </a:cubicBezTo>
                  <a:cubicBezTo>
                    <a:pt x="1096" y="1838"/>
                    <a:pt x="1096" y="1838"/>
                    <a:pt x="1096" y="1838"/>
                  </a:cubicBezTo>
                  <a:cubicBezTo>
                    <a:pt x="1096" y="1803"/>
                    <a:pt x="1096" y="1803"/>
                    <a:pt x="1096" y="1803"/>
                  </a:cubicBezTo>
                  <a:cubicBezTo>
                    <a:pt x="1116" y="1803"/>
                    <a:pt x="1116" y="1803"/>
                    <a:pt x="1116" y="1803"/>
                  </a:cubicBezTo>
                  <a:cubicBezTo>
                    <a:pt x="1116" y="1811"/>
                    <a:pt x="1116" y="1811"/>
                    <a:pt x="1116" y="1811"/>
                  </a:cubicBezTo>
                  <a:cubicBezTo>
                    <a:pt x="1116" y="1815"/>
                    <a:pt x="1116" y="1815"/>
                    <a:pt x="1116" y="1815"/>
                  </a:cubicBezTo>
                  <a:cubicBezTo>
                    <a:pt x="1116" y="1817"/>
                    <a:pt x="1116" y="1817"/>
                    <a:pt x="1116" y="1817"/>
                  </a:cubicBezTo>
                  <a:cubicBezTo>
                    <a:pt x="1166" y="1817"/>
                    <a:pt x="1166" y="1817"/>
                    <a:pt x="1166" y="1817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6"/>
                    <a:pt x="1166" y="1806"/>
                    <a:pt x="1166" y="1806"/>
                  </a:cubicBezTo>
                  <a:cubicBezTo>
                    <a:pt x="1166" y="1803"/>
                    <a:pt x="1166" y="1803"/>
                    <a:pt x="1166" y="1803"/>
                  </a:cubicBezTo>
                  <a:cubicBezTo>
                    <a:pt x="1194" y="1803"/>
                    <a:pt x="1194" y="1803"/>
                    <a:pt x="1194" y="1803"/>
                  </a:cubicBezTo>
                  <a:cubicBezTo>
                    <a:pt x="1194" y="1817"/>
                    <a:pt x="1194" y="1817"/>
                    <a:pt x="1194" y="1817"/>
                  </a:cubicBezTo>
                  <a:cubicBezTo>
                    <a:pt x="1245" y="1817"/>
                    <a:pt x="1245" y="1817"/>
                    <a:pt x="1245" y="1817"/>
                  </a:cubicBezTo>
                  <a:cubicBezTo>
                    <a:pt x="1245" y="1803"/>
                    <a:pt x="1245" y="1803"/>
                    <a:pt x="1245" y="1803"/>
                  </a:cubicBezTo>
                  <a:cubicBezTo>
                    <a:pt x="1264" y="1803"/>
                    <a:pt x="1264" y="1803"/>
                    <a:pt x="1264" y="1803"/>
                  </a:cubicBezTo>
                  <a:cubicBezTo>
                    <a:pt x="1264" y="1812"/>
                    <a:pt x="1264" y="1812"/>
                    <a:pt x="1264" y="1812"/>
                  </a:cubicBezTo>
                  <a:close/>
                  <a:moveTo>
                    <a:pt x="1384" y="1937"/>
                  </a:moveTo>
                  <a:cubicBezTo>
                    <a:pt x="1270" y="1937"/>
                    <a:pt x="1270" y="1937"/>
                    <a:pt x="1270" y="1937"/>
                  </a:cubicBezTo>
                  <a:cubicBezTo>
                    <a:pt x="1270" y="1945"/>
                    <a:pt x="1270" y="1945"/>
                    <a:pt x="1270" y="1945"/>
                  </a:cubicBezTo>
                  <a:cubicBezTo>
                    <a:pt x="1384" y="1945"/>
                    <a:pt x="1384" y="1945"/>
                    <a:pt x="1384" y="1945"/>
                  </a:cubicBezTo>
                  <a:cubicBezTo>
                    <a:pt x="1384" y="1937"/>
                    <a:pt x="1384" y="1937"/>
                    <a:pt x="1384" y="1937"/>
                  </a:cubicBezTo>
                  <a:close/>
                  <a:moveTo>
                    <a:pt x="1384" y="1911"/>
                  </a:moveTo>
                  <a:cubicBezTo>
                    <a:pt x="1269" y="1911"/>
                    <a:pt x="1269" y="1911"/>
                    <a:pt x="1269" y="1911"/>
                  </a:cubicBezTo>
                  <a:cubicBezTo>
                    <a:pt x="1269" y="1918"/>
                    <a:pt x="1269" y="1918"/>
                    <a:pt x="1269" y="1918"/>
                  </a:cubicBezTo>
                  <a:cubicBezTo>
                    <a:pt x="1384" y="1918"/>
                    <a:pt x="1384" y="1918"/>
                    <a:pt x="1384" y="1918"/>
                  </a:cubicBezTo>
                  <a:cubicBezTo>
                    <a:pt x="1384" y="1911"/>
                    <a:pt x="1384" y="1911"/>
                    <a:pt x="1384" y="1911"/>
                  </a:cubicBezTo>
                  <a:close/>
                  <a:moveTo>
                    <a:pt x="1408" y="1878"/>
                  </a:moveTo>
                  <a:cubicBezTo>
                    <a:pt x="1270" y="1878"/>
                    <a:pt x="1270" y="1878"/>
                    <a:pt x="1270" y="1878"/>
                  </a:cubicBezTo>
                  <a:cubicBezTo>
                    <a:pt x="1270" y="1887"/>
                    <a:pt x="1270" y="1887"/>
                    <a:pt x="1270" y="1887"/>
                  </a:cubicBezTo>
                  <a:cubicBezTo>
                    <a:pt x="1407" y="1887"/>
                    <a:pt x="1407" y="1887"/>
                    <a:pt x="1407" y="1887"/>
                  </a:cubicBezTo>
                  <a:cubicBezTo>
                    <a:pt x="1408" y="1878"/>
                    <a:pt x="1408" y="1878"/>
                    <a:pt x="1408" y="1878"/>
                  </a:cubicBezTo>
                  <a:close/>
                  <a:moveTo>
                    <a:pt x="1409" y="1852"/>
                  </a:moveTo>
                  <a:cubicBezTo>
                    <a:pt x="1270" y="1852"/>
                    <a:pt x="1270" y="1852"/>
                    <a:pt x="1270" y="1852"/>
                  </a:cubicBezTo>
                  <a:cubicBezTo>
                    <a:pt x="1270" y="1860"/>
                    <a:pt x="1270" y="1860"/>
                    <a:pt x="1270" y="1860"/>
                  </a:cubicBezTo>
                  <a:cubicBezTo>
                    <a:pt x="1408" y="1860"/>
                    <a:pt x="1408" y="1860"/>
                    <a:pt x="1408" y="1860"/>
                  </a:cubicBezTo>
                  <a:cubicBezTo>
                    <a:pt x="1409" y="1852"/>
                    <a:pt x="1409" y="1852"/>
                    <a:pt x="1409" y="1852"/>
                  </a:cubicBezTo>
                  <a:close/>
                  <a:moveTo>
                    <a:pt x="1410" y="1824"/>
                  </a:moveTo>
                  <a:cubicBezTo>
                    <a:pt x="1270" y="1824"/>
                    <a:pt x="1270" y="1824"/>
                    <a:pt x="1270" y="1824"/>
                  </a:cubicBezTo>
                  <a:cubicBezTo>
                    <a:pt x="1270" y="1832"/>
                    <a:pt x="1270" y="1832"/>
                    <a:pt x="1270" y="1832"/>
                  </a:cubicBezTo>
                  <a:cubicBezTo>
                    <a:pt x="1409" y="1832"/>
                    <a:pt x="1409" y="1832"/>
                    <a:pt x="1409" y="1832"/>
                  </a:cubicBezTo>
                  <a:cubicBezTo>
                    <a:pt x="1410" y="1824"/>
                    <a:pt x="1410" y="1824"/>
                    <a:pt x="1410" y="1824"/>
                  </a:cubicBezTo>
                  <a:close/>
                  <a:moveTo>
                    <a:pt x="1605" y="1820"/>
                  </a:moveTo>
                  <a:cubicBezTo>
                    <a:pt x="1605" y="1829"/>
                    <a:pt x="1605" y="1829"/>
                    <a:pt x="1605" y="1829"/>
                  </a:cubicBezTo>
                  <a:cubicBezTo>
                    <a:pt x="1415" y="1829"/>
                    <a:pt x="1415" y="1829"/>
                    <a:pt x="1415" y="1829"/>
                  </a:cubicBezTo>
                  <a:cubicBezTo>
                    <a:pt x="1415" y="1820"/>
                    <a:pt x="1415" y="1820"/>
                    <a:pt x="1415" y="1820"/>
                  </a:cubicBezTo>
                  <a:cubicBezTo>
                    <a:pt x="1605" y="1820"/>
                    <a:pt x="1605" y="1820"/>
                    <a:pt x="1605" y="1820"/>
                  </a:cubicBezTo>
                  <a:close/>
                  <a:moveTo>
                    <a:pt x="1589" y="1835"/>
                  </a:moveTo>
                  <a:cubicBezTo>
                    <a:pt x="1415" y="1835"/>
                    <a:pt x="1415" y="1835"/>
                    <a:pt x="1415" y="1835"/>
                  </a:cubicBezTo>
                  <a:cubicBezTo>
                    <a:pt x="1415" y="1887"/>
                    <a:pt x="1415" y="1887"/>
                    <a:pt x="1415" y="1887"/>
                  </a:cubicBezTo>
                  <a:cubicBezTo>
                    <a:pt x="1589" y="1887"/>
                    <a:pt x="1589" y="1887"/>
                    <a:pt x="1589" y="1887"/>
                  </a:cubicBezTo>
                  <a:cubicBezTo>
                    <a:pt x="1589" y="1835"/>
                    <a:pt x="1589" y="1835"/>
                    <a:pt x="1589" y="1835"/>
                  </a:cubicBezTo>
                  <a:close/>
                  <a:moveTo>
                    <a:pt x="1578" y="1893"/>
                  </a:moveTo>
                  <a:cubicBezTo>
                    <a:pt x="1419" y="1893"/>
                    <a:pt x="1419" y="1893"/>
                    <a:pt x="1419" y="1893"/>
                  </a:cubicBezTo>
                  <a:cubicBezTo>
                    <a:pt x="1404" y="1898"/>
                    <a:pt x="1397" y="1907"/>
                    <a:pt x="1391" y="1917"/>
                  </a:cubicBezTo>
                  <a:cubicBezTo>
                    <a:pt x="1391" y="1944"/>
                    <a:pt x="1391" y="1944"/>
                    <a:pt x="1391" y="1944"/>
                  </a:cubicBezTo>
                  <a:cubicBezTo>
                    <a:pt x="1604" y="1944"/>
                    <a:pt x="1604" y="1944"/>
                    <a:pt x="1604" y="1944"/>
                  </a:cubicBezTo>
                  <a:cubicBezTo>
                    <a:pt x="1604" y="1913"/>
                    <a:pt x="1604" y="1913"/>
                    <a:pt x="1604" y="1913"/>
                  </a:cubicBezTo>
                  <a:cubicBezTo>
                    <a:pt x="1603" y="1900"/>
                    <a:pt x="1595" y="1894"/>
                    <a:pt x="1578" y="1893"/>
                  </a:cubicBezTo>
                  <a:close/>
                  <a:moveTo>
                    <a:pt x="1245" y="1850"/>
                  </a:moveTo>
                  <a:cubicBezTo>
                    <a:pt x="1194" y="1850"/>
                    <a:pt x="1194" y="1850"/>
                    <a:pt x="1194" y="1850"/>
                  </a:cubicBezTo>
                  <a:cubicBezTo>
                    <a:pt x="1194" y="1871"/>
                    <a:pt x="1194" y="1871"/>
                    <a:pt x="1194" y="1871"/>
                  </a:cubicBezTo>
                  <a:cubicBezTo>
                    <a:pt x="1245" y="1871"/>
                    <a:pt x="1245" y="1871"/>
                    <a:pt x="1245" y="1871"/>
                  </a:cubicBezTo>
                  <a:cubicBezTo>
                    <a:pt x="1245" y="1850"/>
                    <a:pt x="1245" y="1850"/>
                    <a:pt x="1245" y="1850"/>
                  </a:cubicBezTo>
                  <a:close/>
                  <a:moveTo>
                    <a:pt x="1239" y="1856"/>
                  </a:moveTo>
                  <a:cubicBezTo>
                    <a:pt x="1200" y="1856"/>
                    <a:pt x="1200" y="1856"/>
                    <a:pt x="1200" y="1856"/>
                  </a:cubicBezTo>
                  <a:cubicBezTo>
                    <a:pt x="1200" y="1864"/>
                    <a:pt x="1200" y="1864"/>
                    <a:pt x="1200" y="1864"/>
                  </a:cubicBezTo>
                  <a:cubicBezTo>
                    <a:pt x="1239" y="1864"/>
                    <a:pt x="1239" y="1864"/>
                    <a:pt x="1239" y="1864"/>
                  </a:cubicBezTo>
                  <a:cubicBezTo>
                    <a:pt x="1239" y="1856"/>
                    <a:pt x="1239" y="1856"/>
                    <a:pt x="1239" y="1856"/>
                  </a:cubicBezTo>
                  <a:close/>
                  <a:moveTo>
                    <a:pt x="1245" y="1876"/>
                  </a:moveTo>
                  <a:cubicBezTo>
                    <a:pt x="1194" y="1876"/>
                    <a:pt x="1194" y="1876"/>
                    <a:pt x="1194" y="1876"/>
                  </a:cubicBezTo>
                  <a:cubicBezTo>
                    <a:pt x="1194" y="1897"/>
                    <a:pt x="1194" y="1897"/>
                    <a:pt x="1194" y="1897"/>
                  </a:cubicBezTo>
                  <a:cubicBezTo>
                    <a:pt x="1245" y="1897"/>
                    <a:pt x="1245" y="1897"/>
                    <a:pt x="1245" y="1897"/>
                  </a:cubicBezTo>
                  <a:cubicBezTo>
                    <a:pt x="1245" y="1876"/>
                    <a:pt x="1245" y="1876"/>
                    <a:pt x="1245" y="1876"/>
                  </a:cubicBezTo>
                  <a:close/>
                  <a:moveTo>
                    <a:pt x="1239" y="1881"/>
                  </a:moveTo>
                  <a:cubicBezTo>
                    <a:pt x="1200" y="1881"/>
                    <a:pt x="1200" y="1881"/>
                    <a:pt x="1200" y="1881"/>
                  </a:cubicBezTo>
                  <a:cubicBezTo>
                    <a:pt x="1200" y="1890"/>
                    <a:pt x="1200" y="1890"/>
                    <a:pt x="1200" y="1890"/>
                  </a:cubicBezTo>
                  <a:cubicBezTo>
                    <a:pt x="1239" y="1890"/>
                    <a:pt x="1239" y="1890"/>
                    <a:pt x="1239" y="1890"/>
                  </a:cubicBezTo>
                  <a:cubicBezTo>
                    <a:pt x="1239" y="1881"/>
                    <a:pt x="1239" y="1881"/>
                    <a:pt x="1239" y="1881"/>
                  </a:cubicBezTo>
                  <a:close/>
                  <a:moveTo>
                    <a:pt x="1245" y="1823"/>
                  </a:moveTo>
                  <a:cubicBezTo>
                    <a:pt x="1194" y="1823"/>
                    <a:pt x="1194" y="1823"/>
                    <a:pt x="1194" y="1823"/>
                  </a:cubicBezTo>
                  <a:cubicBezTo>
                    <a:pt x="1194" y="1844"/>
                    <a:pt x="1194" y="1844"/>
                    <a:pt x="1194" y="1844"/>
                  </a:cubicBezTo>
                  <a:cubicBezTo>
                    <a:pt x="1245" y="1844"/>
                    <a:pt x="1245" y="1844"/>
                    <a:pt x="1245" y="1844"/>
                  </a:cubicBezTo>
                  <a:cubicBezTo>
                    <a:pt x="1245" y="1823"/>
                    <a:pt x="1245" y="1823"/>
                    <a:pt x="1245" y="1823"/>
                  </a:cubicBezTo>
                  <a:close/>
                  <a:moveTo>
                    <a:pt x="1239" y="1828"/>
                  </a:moveTo>
                  <a:cubicBezTo>
                    <a:pt x="1200" y="1828"/>
                    <a:pt x="1200" y="1828"/>
                    <a:pt x="1200" y="1828"/>
                  </a:cubicBezTo>
                  <a:cubicBezTo>
                    <a:pt x="1200" y="1837"/>
                    <a:pt x="1200" y="1837"/>
                    <a:pt x="1200" y="1837"/>
                  </a:cubicBezTo>
                  <a:cubicBezTo>
                    <a:pt x="1239" y="1837"/>
                    <a:pt x="1239" y="1837"/>
                    <a:pt x="1239" y="1837"/>
                  </a:cubicBezTo>
                  <a:cubicBezTo>
                    <a:pt x="1239" y="1828"/>
                    <a:pt x="1239" y="1828"/>
                    <a:pt x="1239" y="1828"/>
                  </a:cubicBezTo>
                  <a:close/>
                  <a:moveTo>
                    <a:pt x="1245" y="1796"/>
                  </a:moveTo>
                  <a:cubicBezTo>
                    <a:pt x="1194" y="1796"/>
                    <a:pt x="1194" y="1796"/>
                    <a:pt x="1194" y="1796"/>
                  </a:cubicBezTo>
                  <a:cubicBezTo>
                    <a:pt x="1194" y="1796"/>
                    <a:pt x="1194" y="1796"/>
                    <a:pt x="1194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98" y="1796"/>
                    <a:pt x="1098" y="1796"/>
                    <a:pt x="1098" y="1796"/>
                  </a:cubicBezTo>
                  <a:cubicBezTo>
                    <a:pt x="1098" y="1589"/>
                    <a:pt x="1098" y="1589"/>
                    <a:pt x="1098" y="1589"/>
                  </a:cubicBezTo>
                  <a:cubicBezTo>
                    <a:pt x="1134" y="1560"/>
                    <a:pt x="1150" y="1555"/>
                    <a:pt x="1182" y="1555"/>
                  </a:cubicBezTo>
                  <a:cubicBezTo>
                    <a:pt x="1222" y="1555"/>
                    <a:pt x="1235" y="1564"/>
                    <a:pt x="1268" y="1596"/>
                  </a:cubicBezTo>
                  <a:cubicBezTo>
                    <a:pt x="1268" y="1796"/>
                    <a:pt x="1268" y="1796"/>
                    <a:pt x="1268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194" y="1796"/>
                  </a:moveTo>
                  <a:cubicBezTo>
                    <a:pt x="1194" y="1797"/>
                    <a:pt x="1194" y="1797"/>
                    <a:pt x="1194" y="1797"/>
                  </a:cubicBezTo>
                  <a:cubicBezTo>
                    <a:pt x="1166" y="1797"/>
                    <a:pt x="1166" y="1797"/>
                    <a:pt x="1166" y="1797"/>
                  </a:cubicBezTo>
                  <a:cubicBezTo>
                    <a:pt x="1166" y="1796"/>
                    <a:pt x="1166" y="1796"/>
                    <a:pt x="1166" y="1796"/>
                  </a:cubicBezTo>
                  <a:cubicBezTo>
                    <a:pt x="1194" y="1796"/>
                    <a:pt x="1194" y="1796"/>
                    <a:pt x="1194" y="1796"/>
                  </a:cubicBezTo>
                  <a:close/>
                  <a:moveTo>
                    <a:pt x="1245" y="1796"/>
                  </a:moveTo>
                  <a:cubicBezTo>
                    <a:pt x="1268" y="1796"/>
                    <a:pt x="1268" y="1796"/>
                    <a:pt x="1268" y="1796"/>
                  </a:cubicBezTo>
                  <a:cubicBezTo>
                    <a:pt x="1274" y="1796"/>
                    <a:pt x="1274" y="1796"/>
                    <a:pt x="1274" y="1796"/>
                  </a:cubicBezTo>
                  <a:cubicBezTo>
                    <a:pt x="1274" y="1592"/>
                    <a:pt x="1274" y="1592"/>
                    <a:pt x="1274" y="1592"/>
                  </a:cubicBezTo>
                  <a:cubicBezTo>
                    <a:pt x="1242" y="1561"/>
                    <a:pt x="1225" y="1547"/>
                    <a:pt x="1183" y="1548"/>
                  </a:cubicBezTo>
                  <a:cubicBezTo>
                    <a:pt x="1144" y="1548"/>
                    <a:pt x="1123" y="1557"/>
                    <a:pt x="1092" y="1586"/>
                  </a:cubicBezTo>
                  <a:cubicBezTo>
                    <a:pt x="1092" y="1797"/>
                    <a:pt x="1092" y="1797"/>
                    <a:pt x="1092" y="1797"/>
                  </a:cubicBezTo>
                  <a:cubicBezTo>
                    <a:pt x="1116" y="1797"/>
                    <a:pt x="1116" y="1797"/>
                    <a:pt x="1116" y="1797"/>
                  </a:cubicBezTo>
                  <a:cubicBezTo>
                    <a:pt x="1116" y="1796"/>
                    <a:pt x="1116" y="1796"/>
                    <a:pt x="1116" y="1796"/>
                  </a:cubicBezTo>
                  <a:cubicBezTo>
                    <a:pt x="1073" y="1796"/>
                    <a:pt x="1073" y="1796"/>
                    <a:pt x="1073" y="1796"/>
                  </a:cubicBezTo>
                  <a:cubicBezTo>
                    <a:pt x="1073" y="1584"/>
                    <a:pt x="1073" y="1584"/>
                    <a:pt x="1073" y="1584"/>
                  </a:cubicBezTo>
                  <a:cubicBezTo>
                    <a:pt x="1104" y="1551"/>
                    <a:pt x="1141" y="1525"/>
                    <a:pt x="1188" y="1524"/>
                  </a:cubicBezTo>
                  <a:cubicBezTo>
                    <a:pt x="1228" y="1526"/>
                    <a:pt x="1262" y="1553"/>
                    <a:pt x="1292" y="1587"/>
                  </a:cubicBezTo>
                  <a:cubicBezTo>
                    <a:pt x="1292" y="1796"/>
                    <a:pt x="1292" y="1796"/>
                    <a:pt x="1292" y="1796"/>
                  </a:cubicBezTo>
                  <a:cubicBezTo>
                    <a:pt x="1245" y="1796"/>
                    <a:pt x="1245" y="1796"/>
                    <a:pt x="1245" y="1796"/>
                  </a:cubicBezTo>
                  <a:close/>
                  <a:moveTo>
                    <a:pt x="1200" y="1803"/>
                  </a:moveTo>
                  <a:cubicBezTo>
                    <a:pt x="1200" y="1810"/>
                    <a:pt x="1200" y="1810"/>
                    <a:pt x="1200" y="1810"/>
                  </a:cubicBezTo>
                  <a:cubicBezTo>
                    <a:pt x="1239" y="1810"/>
                    <a:pt x="1239" y="1810"/>
                    <a:pt x="1239" y="1810"/>
                  </a:cubicBezTo>
                  <a:cubicBezTo>
                    <a:pt x="1239" y="1803"/>
                    <a:pt x="1239" y="1803"/>
                    <a:pt x="1239" y="1803"/>
                  </a:cubicBezTo>
                  <a:cubicBezTo>
                    <a:pt x="1200" y="1803"/>
                    <a:pt x="1200" y="1803"/>
                    <a:pt x="1200" y="1803"/>
                  </a:cubicBezTo>
                  <a:close/>
                  <a:moveTo>
                    <a:pt x="1270" y="1803"/>
                  </a:moveTo>
                  <a:cubicBezTo>
                    <a:pt x="1270" y="1811"/>
                    <a:pt x="1270" y="1811"/>
                    <a:pt x="1270" y="1811"/>
                  </a:cubicBezTo>
                  <a:cubicBezTo>
                    <a:pt x="1519" y="1811"/>
                    <a:pt x="1519" y="1811"/>
                    <a:pt x="1519" y="1811"/>
                  </a:cubicBezTo>
                  <a:cubicBezTo>
                    <a:pt x="1519" y="1803"/>
                    <a:pt x="1519" y="1803"/>
                    <a:pt x="1519" y="1803"/>
                  </a:cubicBezTo>
                  <a:cubicBezTo>
                    <a:pt x="1436" y="1803"/>
                    <a:pt x="1353" y="1803"/>
                    <a:pt x="1270" y="1803"/>
                  </a:cubicBezTo>
                  <a:close/>
                  <a:moveTo>
                    <a:pt x="1090" y="1811"/>
                  </a:moveTo>
                  <a:cubicBezTo>
                    <a:pt x="1090" y="1803"/>
                    <a:pt x="1090" y="1803"/>
                    <a:pt x="1090" y="1803"/>
                  </a:cubicBezTo>
                  <a:cubicBezTo>
                    <a:pt x="1067" y="1803"/>
                    <a:pt x="1067" y="1803"/>
                    <a:pt x="1067" y="1803"/>
                  </a:cubicBezTo>
                  <a:cubicBezTo>
                    <a:pt x="1053" y="1803"/>
                    <a:pt x="1053" y="1803"/>
                    <a:pt x="1053" y="1803"/>
                  </a:cubicBezTo>
                  <a:cubicBezTo>
                    <a:pt x="843" y="1803"/>
                    <a:pt x="843" y="1803"/>
                    <a:pt x="843" y="1803"/>
                  </a:cubicBezTo>
                  <a:cubicBezTo>
                    <a:pt x="843" y="1811"/>
                    <a:pt x="843" y="1811"/>
                    <a:pt x="843" y="1811"/>
                  </a:cubicBezTo>
                  <a:cubicBezTo>
                    <a:pt x="1090" y="1811"/>
                    <a:pt x="1090" y="1811"/>
                    <a:pt x="1090" y="1811"/>
                  </a:cubicBezTo>
                  <a:close/>
                  <a:moveTo>
                    <a:pt x="1174" y="0"/>
                  </a:moveTo>
                  <a:cubicBezTo>
                    <a:pt x="1820" y="0"/>
                    <a:pt x="2348" y="531"/>
                    <a:pt x="2348" y="1182"/>
                  </a:cubicBezTo>
                  <a:cubicBezTo>
                    <a:pt x="2348" y="1834"/>
                    <a:pt x="1820" y="2365"/>
                    <a:pt x="1174" y="2365"/>
                  </a:cubicBezTo>
                  <a:cubicBezTo>
                    <a:pt x="527" y="2365"/>
                    <a:pt x="0" y="1834"/>
                    <a:pt x="0" y="1182"/>
                  </a:cubicBezTo>
                  <a:cubicBezTo>
                    <a:pt x="0" y="531"/>
                    <a:pt x="527" y="0"/>
                    <a:pt x="1174" y="0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268" y="1811"/>
                  </a:moveTo>
                  <a:cubicBezTo>
                    <a:pt x="391" y="1811"/>
                    <a:pt x="391" y="1811"/>
                    <a:pt x="391" y="1811"/>
                  </a:cubicBezTo>
                  <a:cubicBezTo>
                    <a:pt x="391" y="1767"/>
                    <a:pt x="391" y="1767"/>
                    <a:pt x="391" y="1767"/>
                  </a:cubicBezTo>
                  <a:cubicBezTo>
                    <a:pt x="242" y="1767"/>
                    <a:pt x="242" y="1767"/>
                    <a:pt x="242" y="1767"/>
                  </a:cubicBezTo>
                  <a:cubicBezTo>
                    <a:pt x="268" y="1811"/>
                    <a:pt x="268" y="1811"/>
                    <a:pt x="268" y="1811"/>
                  </a:cubicBezTo>
                  <a:close/>
                  <a:moveTo>
                    <a:pt x="394" y="1811"/>
                  </a:moveTo>
                  <a:cubicBezTo>
                    <a:pt x="402" y="1811"/>
                    <a:pt x="402" y="1811"/>
                    <a:pt x="402" y="1811"/>
                  </a:cubicBezTo>
                  <a:cubicBezTo>
                    <a:pt x="402" y="1687"/>
                    <a:pt x="402" y="1687"/>
                    <a:pt x="402" y="1687"/>
                  </a:cubicBezTo>
                  <a:cubicBezTo>
                    <a:pt x="394" y="1687"/>
                    <a:pt x="394" y="1687"/>
                    <a:pt x="394" y="1687"/>
                  </a:cubicBezTo>
                  <a:cubicBezTo>
                    <a:pt x="394" y="1811"/>
                    <a:pt x="394" y="1811"/>
                    <a:pt x="394" y="1811"/>
                  </a:cubicBezTo>
                  <a:close/>
                  <a:moveTo>
                    <a:pt x="407" y="1811"/>
                  </a:moveTo>
                  <a:cubicBezTo>
                    <a:pt x="415" y="1811"/>
                    <a:pt x="415" y="1811"/>
                    <a:pt x="415" y="1811"/>
                  </a:cubicBezTo>
                  <a:cubicBezTo>
                    <a:pt x="415" y="1687"/>
                    <a:pt x="415" y="1687"/>
                    <a:pt x="415" y="1687"/>
                  </a:cubicBezTo>
                  <a:cubicBezTo>
                    <a:pt x="407" y="1687"/>
                    <a:pt x="407" y="1687"/>
                    <a:pt x="407" y="1687"/>
                  </a:cubicBezTo>
                  <a:cubicBezTo>
                    <a:pt x="407" y="1811"/>
                    <a:pt x="407" y="1811"/>
                    <a:pt x="407" y="1811"/>
                  </a:cubicBezTo>
                  <a:close/>
                  <a:moveTo>
                    <a:pt x="420" y="1811"/>
                  </a:moveTo>
                  <a:cubicBezTo>
                    <a:pt x="428" y="1811"/>
                    <a:pt x="428" y="1811"/>
                    <a:pt x="428" y="1811"/>
                  </a:cubicBezTo>
                  <a:cubicBezTo>
                    <a:pt x="428" y="1687"/>
                    <a:pt x="428" y="1687"/>
                    <a:pt x="428" y="1687"/>
                  </a:cubicBezTo>
                  <a:cubicBezTo>
                    <a:pt x="420" y="1687"/>
                    <a:pt x="420" y="1687"/>
                    <a:pt x="420" y="1687"/>
                  </a:cubicBezTo>
                  <a:cubicBezTo>
                    <a:pt x="420" y="1811"/>
                    <a:pt x="420" y="1811"/>
                    <a:pt x="420" y="1811"/>
                  </a:cubicBezTo>
                  <a:close/>
                  <a:moveTo>
                    <a:pt x="433" y="1811"/>
                  </a:moveTo>
                  <a:cubicBezTo>
                    <a:pt x="441" y="1811"/>
                    <a:pt x="441" y="1811"/>
                    <a:pt x="441" y="1811"/>
                  </a:cubicBezTo>
                  <a:cubicBezTo>
                    <a:pt x="441" y="1687"/>
                    <a:pt x="441" y="1687"/>
                    <a:pt x="441" y="1687"/>
                  </a:cubicBezTo>
                  <a:cubicBezTo>
                    <a:pt x="433" y="1687"/>
                    <a:pt x="433" y="1687"/>
                    <a:pt x="433" y="1687"/>
                  </a:cubicBezTo>
                  <a:cubicBezTo>
                    <a:pt x="433" y="1811"/>
                    <a:pt x="433" y="1811"/>
                    <a:pt x="433" y="1811"/>
                  </a:cubicBezTo>
                  <a:close/>
                  <a:moveTo>
                    <a:pt x="446" y="1811"/>
                  </a:moveTo>
                  <a:cubicBezTo>
                    <a:pt x="454" y="1811"/>
                    <a:pt x="454" y="1811"/>
                    <a:pt x="454" y="1811"/>
                  </a:cubicBezTo>
                  <a:cubicBezTo>
                    <a:pt x="454" y="1687"/>
                    <a:pt x="454" y="1687"/>
                    <a:pt x="454" y="1687"/>
                  </a:cubicBezTo>
                  <a:cubicBezTo>
                    <a:pt x="446" y="1687"/>
                    <a:pt x="446" y="1687"/>
                    <a:pt x="446" y="1687"/>
                  </a:cubicBezTo>
                  <a:cubicBezTo>
                    <a:pt x="446" y="1811"/>
                    <a:pt x="446" y="1811"/>
                    <a:pt x="446" y="1811"/>
                  </a:cubicBezTo>
                  <a:close/>
                  <a:moveTo>
                    <a:pt x="459" y="1811"/>
                  </a:moveTo>
                  <a:cubicBezTo>
                    <a:pt x="466" y="1811"/>
                    <a:pt x="466" y="1811"/>
                    <a:pt x="466" y="1811"/>
                  </a:cubicBezTo>
                  <a:cubicBezTo>
                    <a:pt x="466" y="1687"/>
                    <a:pt x="466" y="1687"/>
                    <a:pt x="466" y="1687"/>
                  </a:cubicBezTo>
                  <a:cubicBezTo>
                    <a:pt x="459" y="1687"/>
                    <a:pt x="459" y="1687"/>
                    <a:pt x="459" y="1687"/>
                  </a:cubicBezTo>
                  <a:cubicBezTo>
                    <a:pt x="459" y="1811"/>
                    <a:pt x="459" y="1811"/>
                    <a:pt x="459" y="1811"/>
                  </a:cubicBezTo>
                  <a:close/>
                  <a:moveTo>
                    <a:pt x="472" y="1811"/>
                  </a:moveTo>
                  <a:cubicBezTo>
                    <a:pt x="479" y="1811"/>
                    <a:pt x="479" y="1811"/>
                    <a:pt x="479" y="1811"/>
                  </a:cubicBezTo>
                  <a:cubicBezTo>
                    <a:pt x="479" y="1687"/>
                    <a:pt x="479" y="1687"/>
                    <a:pt x="479" y="1687"/>
                  </a:cubicBezTo>
                  <a:cubicBezTo>
                    <a:pt x="472" y="1687"/>
                    <a:pt x="472" y="1687"/>
                    <a:pt x="472" y="1687"/>
                  </a:cubicBezTo>
                  <a:cubicBezTo>
                    <a:pt x="472" y="1811"/>
                    <a:pt x="472" y="1811"/>
                    <a:pt x="472" y="1811"/>
                  </a:cubicBezTo>
                  <a:close/>
                  <a:moveTo>
                    <a:pt x="485" y="1811"/>
                  </a:moveTo>
                  <a:cubicBezTo>
                    <a:pt x="492" y="1811"/>
                    <a:pt x="492" y="1811"/>
                    <a:pt x="492" y="1811"/>
                  </a:cubicBezTo>
                  <a:cubicBezTo>
                    <a:pt x="492" y="1687"/>
                    <a:pt x="492" y="1687"/>
                    <a:pt x="492" y="1687"/>
                  </a:cubicBezTo>
                  <a:cubicBezTo>
                    <a:pt x="485" y="1687"/>
                    <a:pt x="485" y="1687"/>
                    <a:pt x="485" y="1687"/>
                  </a:cubicBezTo>
                  <a:cubicBezTo>
                    <a:pt x="485" y="1811"/>
                    <a:pt x="485" y="1811"/>
                    <a:pt x="485" y="1811"/>
                  </a:cubicBezTo>
                  <a:close/>
                  <a:moveTo>
                    <a:pt x="498" y="1811"/>
                  </a:moveTo>
                  <a:cubicBezTo>
                    <a:pt x="505" y="1811"/>
                    <a:pt x="505" y="1811"/>
                    <a:pt x="505" y="1811"/>
                  </a:cubicBezTo>
                  <a:cubicBezTo>
                    <a:pt x="505" y="1687"/>
                    <a:pt x="505" y="1687"/>
                    <a:pt x="505" y="1687"/>
                  </a:cubicBezTo>
                  <a:cubicBezTo>
                    <a:pt x="498" y="1687"/>
                    <a:pt x="498" y="1687"/>
                    <a:pt x="498" y="1687"/>
                  </a:cubicBezTo>
                  <a:cubicBezTo>
                    <a:pt x="498" y="1811"/>
                    <a:pt x="498" y="1811"/>
                    <a:pt x="498" y="1811"/>
                  </a:cubicBezTo>
                  <a:close/>
                  <a:moveTo>
                    <a:pt x="510" y="1811"/>
                  </a:moveTo>
                  <a:cubicBezTo>
                    <a:pt x="518" y="1811"/>
                    <a:pt x="518" y="1811"/>
                    <a:pt x="518" y="1811"/>
                  </a:cubicBezTo>
                  <a:cubicBezTo>
                    <a:pt x="518" y="1687"/>
                    <a:pt x="518" y="1687"/>
                    <a:pt x="518" y="1687"/>
                  </a:cubicBezTo>
                  <a:cubicBezTo>
                    <a:pt x="510" y="1687"/>
                    <a:pt x="510" y="1687"/>
                    <a:pt x="510" y="1687"/>
                  </a:cubicBezTo>
                  <a:cubicBezTo>
                    <a:pt x="510" y="1811"/>
                    <a:pt x="510" y="1811"/>
                    <a:pt x="510" y="1811"/>
                  </a:cubicBezTo>
                  <a:close/>
                  <a:moveTo>
                    <a:pt x="523" y="1811"/>
                  </a:moveTo>
                  <a:cubicBezTo>
                    <a:pt x="531" y="1811"/>
                    <a:pt x="531" y="1811"/>
                    <a:pt x="531" y="1811"/>
                  </a:cubicBezTo>
                  <a:cubicBezTo>
                    <a:pt x="531" y="1766"/>
                    <a:pt x="531" y="1766"/>
                    <a:pt x="531" y="1766"/>
                  </a:cubicBezTo>
                  <a:cubicBezTo>
                    <a:pt x="523" y="1766"/>
                    <a:pt x="523" y="1766"/>
                    <a:pt x="523" y="1766"/>
                  </a:cubicBezTo>
                  <a:cubicBezTo>
                    <a:pt x="523" y="1811"/>
                    <a:pt x="523" y="1811"/>
                    <a:pt x="523" y="1811"/>
                  </a:cubicBezTo>
                  <a:close/>
                  <a:moveTo>
                    <a:pt x="536" y="1811"/>
                  </a:moveTo>
                  <a:cubicBezTo>
                    <a:pt x="544" y="1811"/>
                    <a:pt x="544" y="1811"/>
                    <a:pt x="544" y="1811"/>
                  </a:cubicBezTo>
                  <a:cubicBezTo>
                    <a:pt x="544" y="1766"/>
                    <a:pt x="544" y="1766"/>
                    <a:pt x="544" y="1766"/>
                  </a:cubicBezTo>
                  <a:cubicBezTo>
                    <a:pt x="536" y="1766"/>
                    <a:pt x="536" y="1766"/>
                    <a:pt x="536" y="1766"/>
                  </a:cubicBezTo>
                  <a:cubicBezTo>
                    <a:pt x="536" y="1811"/>
                    <a:pt x="536" y="1811"/>
                    <a:pt x="536" y="1811"/>
                  </a:cubicBezTo>
                  <a:close/>
                  <a:moveTo>
                    <a:pt x="549" y="1811"/>
                  </a:moveTo>
                  <a:cubicBezTo>
                    <a:pt x="557" y="1811"/>
                    <a:pt x="557" y="1811"/>
                    <a:pt x="557" y="1811"/>
                  </a:cubicBezTo>
                  <a:cubicBezTo>
                    <a:pt x="557" y="1766"/>
                    <a:pt x="557" y="1766"/>
                    <a:pt x="557" y="1766"/>
                  </a:cubicBezTo>
                  <a:cubicBezTo>
                    <a:pt x="549" y="1766"/>
                    <a:pt x="549" y="1766"/>
                    <a:pt x="549" y="1766"/>
                  </a:cubicBezTo>
                  <a:cubicBezTo>
                    <a:pt x="549" y="1811"/>
                    <a:pt x="549" y="1811"/>
                    <a:pt x="549" y="1811"/>
                  </a:cubicBezTo>
                  <a:close/>
                  <a:moveTo>
                    <a:pt x="562" y="1811"/>
                  </a:moveTo>
                  <a:cubicBezTo>
                    <a:pt x="570" y="1811"/>
                    <a:pt x="570" y="1811"/>
                    <a:pt x="570" y="1811"/>
                  </a:cubicBezTo>
                  <a:cubicBezTo>
                    <a:pt x="570" y="1766"/>
                    <a:pt x="570" y="1766"/>
                    <a:pt x="570" y="1766"/>
                  </a:cubicBezTo>
                  <a:cubicBezTo>
                    <a:pt x="562" y="1766"/>
                    <a:pt x="562" y="1766"/>
                    <a:pt x="562" y="1766"/>
                  </a:cubicBezTo>
                  <a:cubicBezTo>
                    <a:pt x="562" y="1811"/>
                    <a:pt x="562" y="1811"/>
                    <a:pt x="562" y="1811"/>
                  </a:cubicBezTo>
                  <a:close/>
                  <a:moveTo>
                    <a:pt x="575" y="1811"/>
                  </a:moveTo>
                  <a:cubicBezTo>
                    <a:pt x="582" y="1811"/>
                    <a:pt x="582" y="1811"/>
                    <a:pt x="582" y="1811"/>
                  </a:cubicBezTo>
                  <a:cubicBezTo>
                    <a:pt x="582" y="1766"/>
                    <a:pt x="582" y="1766"/>
                    <a:pt x="582" y="1766"/>
                  </a:cubicBezTo>
                  <a:cubicBezTo>
                    <a:pt x="575" y="1766"/>
                    <a:pt x="575" y="1766"/>
                    <a:pt x="575" y="1766"/>
                  </a:cubicBezTo>
                  <a:cubicBezTo>
                    <a:pt x="575" y="1811"/>
                    <a:pt x="575" y="1811"/>
                    <a:pt x="575" y="1811"/>
                  </a:cubicBezTo>
                  <a:close/>
                  <a:moveTo>
                    <a:pt x="588" y="1811"/>
                  </a:moveTo>
                  <a:cubicBezTo>
                    <a:pt x="595" y="1811"/>
                    <a:pt x="595" y="1811"/>
                    <a:pt x="595" y="1811"/>
                  </a:cubicBezTo>
                  <a:cubicBezTo>
                    <a:pt x="595" y="1766"/>
                    <a:pt x="595" y="1766"/>
                    <a:pt x="595" y="1766"/>
                  </a:cubicBezTo>
                  <a:cubicBezTo>
                    <a:pt x="588" y="1766"/>
                    <a:pt x="588" y="1766"/>
                    <a:pt x="588" y="1766"/>
                  </a:cubicBezTo>
                  <a:cubicBezTo>
                    <a:pt x="588" y="1811"/>
                    <a:pt x="588" y="1811"/>
                    <a:pt x="588" y="1811"/>
                  </a:cubicBezTo>
                  <a:close/>
                  <a:moveTo>
                    <a:pt x="601" y="1811"/>
                  </a:moveTo>
                  <a:cubicBezTo>
                    <a:pt x="608" y="1811"/>
                    <a:pt x="608" y="1811"/>
                    <a:pt x="608" y="1811"/>
                  </a:cubicBezTo>
                  <a:cubicBezTo>
                    <a:pt x="608" y="1766"/>
                    <a:pt x="608" y="1766"/>
                    <a:pt x="608" y="1766"/>
                  </a:cubicBezTo>
                  <a:cubicBezTo>
                    <a:pt x="601" y="1766"/>
                    <a:pt x="601" y="1766"/>
                    <a:pt x="601" y="1766"/>
                  </a:cubicBezTo>
                  <a:cubicBezTo>
                    <a:pt x="601" y="1811"/>
                    <a:pt x="601" y="1811"/>
                    <a:pt x="601" y="1811"/>
                  </a:cubicBezTo>
                  <a:close/>
                  <a:moveTo>
                    <a:pt x="614" y="1811"/>
                  </a:moveTo>
                  <a:cubicBezTo>
                    <a:pt x="621" y="1811"/>
                    <a:pt x="621" y="1811"/>
                    <a:pt x="621" y="1811"/>
                  </a:cubicBezTo>
                  <a:cubicBezTo>
                    <a:pt x="621" y="1766"/>
                    <a:pt x="621" y="1766"/>
                    <a:pt x="621" y="1766"/>
                  </a:cubicBezTo>
                  <a:cubicBezTo>
                    <a:pt x="614" y="1766"/>
                    <a:pt x="614" y="1766"/>
                    <a:pt x="614" y="1766"/>
                  </a:cubicBezTo>
                  <a:cubicBezTo>
                    <a:pt x="614" y="1811"/>
                    <a:pt x="614" y="1811"/>
                    <a:pt x="614" y="1811"/>
                  </a:cubicBezTo>
                  <a:close/>
                  <a:moveTo>
                    <a:pt x="626" y="1811"/>
                  </a:moveTo>
                  <a:cubicBezTo>
                    <a:pt x="634" y="1811"/>
                    <a:pt x="634" y="1811"/>
                    <a:pt x="634" y="1811"/>
                  </a:cubicBezTo>
                  <a:cubicBezTo>
                    <a:pt x="634" y="1766"/>
                    <a:pt x="634" y="1766"/>
                    <a:pt x="634" y="1766"/>
                  </a:cubicBezTo>
                  <a:cubicBezTo>
                    <a:pt x="626" y="1766"/>
                    <a:pt x="626" y="1766"/>
                    <a:pt x="626" y="1766"/>
                  </a:cubicBezTo>
                  <a:cubicBezTo>
                    <a:pt x="626" y="1811"/>
                    <a:pt x="626" y="1811"/>
                    <a:pt x="626" y="1811"/>
                  </a:cubicBezTo>
                  <a:close/>
                  <a:moveTo>
                    <a:pt x="639" y="1811"/>
                  </a:moveTo>
                  <a:cubicBezTo>
                    <a:pt x="647" y="1811"/>
                    <a:pt x="647" y="1811"/>
                    <a:pt x="647" y="1811"/>
                  </a:cubicBezTo>
                  <a:cubicBezTo>
                    <a:pt x="647" y="1766"/>
                    <a:pt x="647" y="1766"/>
                    <a:pt x="647" y="1766"/>
                  </a:cubicBezTo>
                  <a:cubicBezTo>
                    <a:pt x="639" y="1766"/>
                    <a:pt x="639" y="1766"/>
                    <a:pt x="639" y="1766"/>
                  </a:cubicBezTo>
                  <a:cubicBezTo>
                    <a:pt x="639" y="1811"/>
                    <a:pt x="639" y="1811"/>
                    <a:pt x="639" y="1811"/>
                  </a:cubicBezTo>
                  <a:close/>
                  <a:moveTo>
                    <a:pt x="652" y="1811"/>
                  </a:moveTo>
                  <a:cubicBezTo>
                    <a:pt x="660" y="1811"/>
                    <a:pt x="660" y="1811"/>
                    <a:pt x="660" y="1811"/>
                  </a:cubicBezTo>
                  <a:cubicBezTo>
                    <a:pt x="660" y="1766"/>
                    <a:pt x="660" y="1766"/>
                    <a:pt x="660" y="1766"/>
                  </a:cubicBezTo>
                  <a:cubicBezTo>
                    <a:pt x="652" y="1766"/>
                    <a:pt x="652" y="1766"/>
                    <a:pt x="652" y="1766"/>
                  </a:cubicBezTo>
                  <a:cubicBezTo>
                    <a:pt x="652" y="1811"/>
                    <a:pt x="652" y="1811"/>
                    <a:pt x="652" y="1811"/>
                  </a:cubicBezTo>
                  <a:close/>
                  <a:moveTo>
                    <a:pt x="665" y="1811"/>
                  </a:moveTo>
                  <a:cubicBezTo>
                    <a:pt x="673" y="1811"/>
                    <a:pt x="673" y="1811"/>
                    <a:pt x="673" y="1811"/>
                  </a:cubicBezTo>
                  <a:cubicBezTo>
                    <a:pt x="673" y="1766"/>
                    <a:pt x="673" y="1766"/>
                    <a:pt x="673" y="1766"/>
                  </a:cubicBezTo>
                  <a:cubicBezTo>
                    <a:pt x="665" y="1766"/>
                    <a:pt x="665" y="1766"/>
                    <a:pt x="665" y="1766"/>
                  </a:cubicBezTo>
                  <a:cubicBezTo>
                    <a:pt x="665" y="1811"/>
                    <a:pt x="665" y="1811"/>
                    <a:pt x="665" y="1811"/>
                  </a:cubicBezTo>
                  <a:close/>
                  <a:moveTo>
                    <a:pt x="678" y="1811"/>
                  </a:moveTo>
                  <a:cubicBezTo>
                    <a:pt x="685" y="1811"/>
                    <a:pt x="685" y="1811"/>
                    <a:pt x="685" y="1811"/>
                  </a:cubicBezTo>
                  <a:cubicBezTo>
                    <a:pt x="685" y="1766"/>
                    <a:pt x="685" y="1766"/>
                    <a:pt x="685" y="1766"/>
                  </a:cubicBezTo>
                  <a:cubicBezTo>
                    <a:pt x="678" y="1766"/>
                    <a:pt x="678" y="1766"/>
                    <a:pt x="678" y="1766"/>
                  </a:cubicBezTo>
                  <a:cubicBezTo>
                    <a:pt x="678" y="1811"/>
                    <a:pt x="678" y="1811"/>
                    <a:pt x="678" y="1811"/>
                  </a:cubicBezTo>
                  <a:close/>
                  <a:moveTo>
                    <a:pt x="691" y="1811"/>
                  </a:moveTo>
                  <a:cubicBezTo>
                    <a:pt x="698" y="1811"/>
                    <a:pt x="698" y="1811"/>
                    <a:pt x="698" y="1811"/>
                  </a:cubicBezTo>
                  <a:cubicBezTo>
                    <a:pt x="698" y="1766"/>
                    <a:pt x="698" y="1766"/>
                    <a:pt x="698" y="1766"/>
                  </a:cubicBezTo>
                  <a:cubicBezTo>
                    <a:pt x="691" y="1766"/>
                    <a:pt x="691" y="1766"/>
                    <a:pt x="691" y="1766"/>
                  </a:cubicBezTo>
                  <a:cubicBezTo>
                    <a:pt x="691" y="1811"/>
                    <a:pt x="691" y="1811"/>
                    <a:pt x="691" y="1811"/>
                  </a:cubicBezTo>
                  <a:close/>
                  <a:moveTo>
                    <a:pt x="704" y="1811"/>
                  </a:moveTo>
                  <a:cubicBezTo>
                    <a:pt x="711" y="1811"/>
                    <a:pt x="711" y="1811"/>
                    <a:pt x="711" y="1811"/>
                  </a:cubicBezTo>
                  <a:cubicBezTo>
                    <a:pt x="711" y="1766"/>
                    <a:pt x="711" y="1766"/>
                    <a:pt x="711" y="1766"/>
                  </a:cubicBezTo>
                  <a:cubicBezTo>
                    <a:pt x="704" y="1766"/>
                    <a:pt x="704" y="1766"/>
                    <a:pt x="704" y="1766"/>
                  </a:cubicBezTo>
                  <a:cubicBezTo>
                    <a:pt x="704" y="1811"/>
                    <a:pt x="704" y="1811"/>
                    <a:pt x="704" y="1811"/>
                  </a:cubicBezTo>
                  <a:close/>
                  <a:moveTo>
                    <a:pt x="717" y="1811"/>
                  </a:moveTo>
                  <a:cubicBezTo>
                    <a:pt x="724" y="1811"/>
                    <a:pt x="724" y="1811"/>
                    <a:pt x="724" y="1811"/>
                  </a:cubicBezTo>
                  <a:cubicBezTo>
                    <a:pt x="724" y="1766"/>
                    <a:pt x="724" y="1766"/>
                    <a:pt x="724" y="1766"/>
                  </a:cubicBezTo>
                  <a:cubicBezTo>
                    <a:pt x="717" y="1766"/>
                    <a:pt x="717" y="1766"/>
                    <a:pt x="717" y="1766"/>
                  </a:cubicBezTo>
                  <a:cubicBezTo>
                    <a:pt x="717" y="1811"/>
                    <a:pt x="717" y="1811"/>
                    <a:pt x="717" y="1811"/>
                  </a:cubicBezTo>
                  <a:close/>
                  <a:moveTo>
                    <a:pt x="730" y="1811"/>
                  </a:moveTo>
                  <a:cubicBezTo>
                    <a:pt x="737" y="1811"/>
                    <a:pt x="737" y="1811"/>
                    <a:pt x="737" y="1811"/>
                  </a:cubicBezTo>
                  <a:cubicBezTo>
                    <a:pt x="737" y="1766"/>
                    <a:pt x="737" y="1766"/>
                    <a:pt x="737" y="1766"/>
                  </a:cubicBezTo>
                  <a:cubicBezTo>
                    <a:pt x="730" y="1766"/>
                    <a:pt x="730" y="1766"/>
                    <a:pt x="730" y="1766"/>
                  </a:cubicBezTo>
                  <a:cubicBezTo>
                    <a:pt x="730" y="1811"/>
                    <a:pt x="730" y="1811"/>
                    <a:pt x="730" y="1811"/>
                  </a:cubicBezTo>
                  <a:close/>
                  <a:moveTo>
                    <a:pt x="742" y="1811"/>
                  </a:moveTo>
                  <a:cubicBezTo>
                    <a:pt x="750" y="1811"/>
                    <a:pt x="750" y="1811"/>
                    <a:pt x="750" y="1811"/>
                  </a:cubicBezTo>
                  <a:cubicBezTo>
                    <a:pt x="750" y="1766"/>
                    <a:pt x="750" y="1766"/>
                    <a:pt x="750" y="1766"/>
                  </a:cubicBezTo>
                  <a:cubicBezTo>
                    <a:pt x="742" y="1766"/>
                    <a:pt x="742" y="1766"/>
                    <a:pt x="742" y="1766"/>
                  </a:cubicBezTo>
                  <a:cubicBezTo>
                    <a:pt x="742" y="1811"/>
                    <a:pt x="742" y="1811"/>
                    <a:pt x="742" y="1811"/>
                  </a:cubicBezTo>
                  <a:close/>
                  <a:moveTo>
                    <a:pt x="755" y="1811"/>
                  </a:moveTo>
                  <a:cubicBezTo>
                    <a:pt x="763" y="1811"/>
                    <a:pt x="763" y="1811"/>
                    <a:pt x="763" y="1811"/>
                  </a:cubicBezTo>
                  <a:cubicBezTo>
                    <a:pt x="763" y="1766"/>
                    <a:pt x="763" y="1766"/>
                    <a:pt x="763" y="1766"/>
                  </a:cubicBezTo>
                  <a:cubicBezTo>
                    <a:pt x="755" y="1766"/>
                    <a:pt x="755" y="1766"/>
                    <a:pt x="755" y="1766"/>
                  </a:cubicBezTo>
                  <a:cubicBezTo>
                    <a:pt x="755" y="1811"/>
                    <a:pt x="755" y="1811"/>
                    <a:pt x="755" y="1811"/>
                  </a:cubicBezTo>
                  <a:close/>
                  <a:moveTo>
                    <a:pt x="768" y="1811"/>
                  </a:moveTo>
                  <a:cubicBezTo>
                    <a:pt x="776" y="1811"/>
                    <a:pt x="776" y="1811"/>
                    <a:pt x="776" y="1811"/>
                  </a:cubicBezTo>
                  <a:cubicBezTo>
                    <a:pt x="776" y="1766"/>
                    <a:pt x="776" y="1766"/>
                    <a:pt x="776" y="1766"/>
                  </a:cubicBezTo>
                  <a:cubicBezTo>
                    <a:pt x="768" y="1766"/>
                    <a:pt x="768" y="1766"/>
                    <a:pt x="768" y="1766"/>
                  </a:cubicBezTo>
                  <a:cubicBezTo>
                    <a:pt x="768" y="1811"/>
                    <a:pt x="768" y="1811"/>
                    <a:pt x="768" y="1811"/>
                  </a:cubicBezTo>
                  <a:close/>
                  <a:moveTo>
                    <a:pt x="781" y="1811"/>
                  </a:moveTo>
                  <a:cubicBezTo>
                    <a:pt x="789" y="1811"/>
                    <a:pt x="789" y="1811"/>
                    <a:pt x="789" y="1811"/>
                  </a:cubicBezTo>
                  <a:cubicBezTo>
                    <a:pt x="789" y="1766"/>
                    <a:pt x="789" y="1766"/>
                    <a:pt x="789" y="1766"/>
                  </a:cubicBezTo>
                  <a:cubicBezTo>
                    <a:pt x="781" y="1766"/>
                    <a:pt x="781" y="1766"/>
                    <a:pt x="781" y="1766"/>
                  </a:cubicBezTo>
                  <a:cubicBezTo>
                    <a:pt x="781" y="1811"/>
                    <a:pt x="781" y="1811"/>
                    <a:pt x="781" y="1811"/>
                  </a:cubicBezTo>
                  <a:close/>
                  <a:moveTo>
                    <a:pt x="794" y="1811"/>
                  </a:moveTo>
                  <a:cubicBezTo>
                    <a:pt x="801" y="1811"/>
                    <a:pt x="801" y="1811"/>
                    <a:pt x="801" y="1811"/>
                  </a:cubicBezTo>
                  <a:cubicBezTo>
                    <a:pt x="801" y="1766"/>
                    <a:pt x="801" y="1766"/>
                    <a:pt x="801" y="1766"/>
                  </a:cubicBezTo>
                  <a:cubicBezTo>
                    <a:pt x="794" y="1766"/>
                    <a:pt x="794" y="1766"/>
                    <a:pt x="794" y="1766"/>
                  </a:cubicBezTo>
                  <a:cubicBezTo>
                    <a:pt x="794" y="1811"/>
                    <a:pt x="794" y="1811"/>
                    <a:pt x="794" y="1811"/>
                  </a:cubicBezTo>
                  <a:close/>
                  <a:moveTo>
                    <a:pt x="807" y="1811"/>
                  </a:moveTo>
                  <a:cubicBezTo>
                    <a:pt x="814" y="1811"/>
                    <a:pt x="814" y="1811"/>
                    <a:pt x="814" y="1811"/>
                  </a:cubicBezTo>
                  <a:cubicBezTo>
                    <a:pt x="814" y="1766"/>
                    <a:pt x="814" y="1766"/>
                    <a:pt x="814" y="1766"/>
                  </a:cubicBezTo>
                  <a:cubicBezTo>
                    <a:pt x="807" y="1766"/>
                    <a:pt x="807" y="1766"/>
                    <a:pt x="807" y="1766"/>
                  </a:cubicBezTo>
                  <a:cubicBezTo>
                    <a:pt x="807" y="1811"/>
                    <a:pt x="807" y="1811"/>
                    <a:pt x="807" y="1811"/>
                  </a:cubicBezTo>
                  <a:close/>
                  <a:moveTo>
                    <a:pt x="820" y="1811"/>
                  </a:moveTo>
                  <a:cubicBezTo>
                    <a:pt x="827" y="1811"/>
                    <a:pt x="827" y="1811"/>
                    <a:pt x="827" y="1811"/>
                  </a:cubicBezTo>
                  <a:cubicBezTo>
                    <a:pt x="827" y="1766"/>
                    <a:pt x="827" y="1766"/>
                    <a:pt x="827" y="1766"/>
                  </a:cubicBezTo>
                  <a:cubicBezTo>
                    <a:pt x="820" y="1766"/>
                    <a:pt x="820" y="1766"/>
                    <a:pt x="820" y="1766"/>
                  </a:cubicBezTo>
                  <a:cubicBezTo>
                    <a:pt x="820" y="1811"/>
                    <a:pt x="820" y="1811"/>
                    <a:pt x="820" y="1811"/>
                  </a:cubicBezTo>
                  <a:close/>
                  <a:moveTo>
                    <a:pt x="1527" y="1756"/>
                  </a:moveTo>
                  <a:cubicBezTo>
                    <a:pt x="1527" y="1632"/>
                    <a:pt x="1527" y="1632"/>
                    <a:pt x="1527" y="1632"/>
                  </a:cubicBezTo>
                  <a:cubicBezTo>
                    <a:pt x="1836" y="1632"/>
                    <a:pt x="1836" y="1632"/>
                    <a:pt x="1836" y="1632"/>
                  </a:cubicBezTo>
                  <a:cubicBezTo>
                    <a:pt x="1870" y="1630"/>
                    <a:pt x="1899" y="1616"/>
                    <a:pt x="1912" y="1583"/>
                  </a:cubicBezTo>
                  <a:cubicBezTo>
                    <a:pt x="1916" y="1577"/>
                    <a:pt x="1916" y="1577"/>
                    <a:pt x="1916" y="1577"/>
                  </a:cubicBezTo>
                  <a:cubicBezTo>
                    <a:pt x="1973" y="1464"/>
                    <a:pt x="2005" y="1337"/>
                    <a:pt x="2005" y="1203"/>
                  </a:cubicBezTo>
                  <a:cubicBezTo>
                    <a:pt x="2005" y="748"/>
                    <a:pt x="1634" y="377"/>
                    <a:pt x="1179" y="377"/>
                  </a:cubicBezTo>
                  <a:cubicBezTo>
                    <a:pt x="724" y="377"/>
                    <a:pt x="352" y="748"/>
                    <a:pt x="352" y="1203"/>
                  </a:cubicBezTo>
                  <a:cubicBezTo>
                    <a:pt x="352" y="1349"/>
                    <a:pt x="390" y="1485"/>
                    <a:pt x="456" y="1604"/>
                  </a:cubicBezTo>
                  <a:cubicBezTo>
                    <a:pt x="474" y="1619"/>
                    <a:pt x="506" y="1631"/>
                    <a:pt x="527" y="1632"/>
                  </a:cubicBezTo>
                  <a:cubicBezTo>
                    <a:pt x="834" y="1632"/>
                    <a:pt x="834" y="1632"/>
                    <a:pt x="834" y="1632"/>
                  </a:cubicBezTo>
                  <a:cubicBezTo>
                    <a:pt x="834" y="1756"/>
                    <a:pt x="834" y="1756"/>
                    <a:pt x="834" y="1756"/>
                  </a:cubicBezTo>
                  <a:cubicBezTo>
                    <a:pt x="777" y="1756"/>
                    <a:pt x="777" y="1756"/>
                    <a:pt x="777" y="1756"/>
                  </a:cubicBezTo>
                  <a:cubicBezTo>
                    <a:pt x="777" y="1658"/>
                    <a:pt x="777" y="1658"/>
                    <a:pt x="777" y="1658"/>
                  </a:cubicBezTo>
                  <a:cubicBezTo>
                    <a:pt x="753" y="1657"/>
                    <a:pt x="732" y="1659"/>
                    <a:pt x="708" y="1658"/>
                  </a:cubicBezTo>
                  <a:cubicBezTo>
                    <a:pt x="708" y="1756"/>
                    <a:pt x="708" y="1756"/>
                    <a:pt x="708" y="1756"/>
                  </a:cubicBezTo>
                  <a:cubicBezTo>
                    <a:pt x="649" y="1756"/>
                    <a:pt x="649" y="1756"/>
                    <a:pt x="649" y="1756"/>
                  </a:cubicBezTo>
                  <a:cubicBezTo>
                    <a:pt x="649" y="1658"/>
                    <a:pt x="649" y="1658"/>
                    <a:pt x="649" y="1658"/>
                  </a:cubicBezTo>
                  <a:cubicBezTo>
                    <a:pt x="600" y="1658"/>
                    <a:pt x="600" y="1658"/>
                    <a:pt x="600" y="1658"/>
                  </a:cubicBezTo>
                  <a:cubicBezTo>
                    <a:pt x="579" y="1658"/>
                    <a:pt x="579" y="1658"/>
                    <a:pt x="579" y="1658"/>
                  </a:cubicBezTo>
                  <a:cubicBezTo>
                    <a:pt x="579" y="1756"/>
                    <a:pt x="579" y="1756"/>
                    <a:pt x="579" y="1756"/>
                  </a:cubicBezTo>
                  <a:cubicBezTo>
                    <a:pt x="522" y="1756"/>
                    <a:pt x="522" y="1756"/>
                    <a:pt x="522" y="1756"/>
                  </a:cubicBezTo>
                  <a:cubicBezTo>
                    <a:pt x="522" y="1637"/>
                    <a:pt x="522" y="1637"/>
                    <a:pt x="522" y="1637"/>
                  </a:cubicBezTo>
                  <a:cubicBezTo>
                    <a:pt x="518" y="1637"/>
                    <a:pt x="518" y="1637"/>
                    <a:pt x="518" y="1637"/>
                  </a:cubicBezTo>
                  <a:cubicBezTo>
                    <a:pt x="518" y="1655"/>
                    <a:pt x="518" y="1655"/>
                    <a:pt x="518" y="1655"/>
                  </a:cubicBezTo>
                  <a:cubicBezTo>
                    <a:pt x="371" y="1655"/>
                    <a:pt x="371" y="1655"/>
                    <a:pt x="371" y="1655"/>
                  </a:cubicBezTo>
                  <a:cubicBezTo>
                    <a:pt x="371" y="1613"/>
                    <a:pt x="371" y="1613"/>
                    <a:pt x="371" y="1613"/>
                  </a:cubicBezTo>
                  <a:cubicBezTo>
                    <a:pt x="357" y="1615"/>
                    <a:pt x="357" y="1615"/>
                    <a:pt x="357" y="1615"/>
                  </a:cubicBezTo>
                  <a:cubicBezTo>
                    <a:pt x="357" y="1581"/>
                    <a:pt x="357" y="1581"/>
                    <a:pt x="357" y="1581"/>
                  </a:cubicBezTo>
                  <a:cubicBezTo>
                    <a:pt x="380" y="1581"/>
                    <a:pt x="380" y="1581"/>
                    <a:pt x="380" y="1581"/>
                  </a:cubicBezTo>
                  <a:cubicBezTo>
                    <a:pt x="394" y="1581"/>
                    <a:pt x="401" y="1564"/>
                    <a:pt x="408" y="1554"/>
                  </a:cubicBezTo>
                  <a:cubicBezTo>
                    <a:pt x="394" y="1560"/>
                    <a:pt x="380" y="1562"/>
                    <a:pt x="366" y="1560"/>
                  </a:cubicBezTo>
                  <a:cubicBezTo>
                    <a:pt x="365" y="1559"/>
                    <a:pt x="331" y="1540"/>
                    <a:pt x="316" y="1522"/>
                  </a:cubicBezTo>
                  <a:cubicBezTo>
                    <a:pt x="311" y="1515"/>
                    <a:pt x="312" y="1509"/>
                    <a:pt x="311" y="1503"/>
                  </a:cubicBezTo>
                  <a:cubicBezTo>
                    <a:pt x="297" y="1503"/>
                    <a:pt x="297" y="1503"/>
                    <a:pt x="297" y="1503"/>
                  </a:cubicBezTo>
                  <a:cubicBezTo>
                    <a:pt x="297" y="1538"/>
                    <a:pt x="264" y="1547"/>
                    <a:pt x="241" y="1559"/>
                  </a:cubicBezTo>
                  <a:cubicBezTo>
                    <a:pt x="201" y="1553"/>
                    <a:pt x="201" y="1553"/>
                    <a:pt x="201" y="1553"/>
                  </a:cubicBezTo>
                  <a:cubicBezTo>
                    <a:pt x="220" y="1587"/>
                    <a:pt x="234" y="1580"/>
                    <a:pt x="265" y="1581"/>
                  </a:cubicBezTo>
                  <a:cubicBezTo>
                    <a:pt x="265" y="1615"/>
                    <a:pt x="265" y="1615"/>
                    <a:pt x="265" y="1615"/>
                  </a:cubicBezTo>
                  <a:cubicBezTo>
                    <a:pt x="249" y="1615"/>
                    <a:pt x="249" y="1615"/>
                    <a:pt x="249" y="1615"/>
                  </a:cubicBezTo>
                  <a:cubicBezTo>
                    <a:pt x="249" y="1730"/>
                    <a:pt x="249" y="1730"/>
                    <a:pt x="249" y="1730"/>
                  </a:cubicBezTo>
                  <a:cubicBezTo>
                    <a:pt x="225" y="1757"/>
                    <a:pt x="225" y="1757"/>
                    <a:pt x="225" y="1757"/>
                  </a:cubicBezTo>
                  <a:cubicBezTo>
                    <a:pt x="124" y="1589"/>
                    <a:pt x="66" y="1392"/>
                    <a:pt x="66" y="1182"/>
                  </a:cubicBezTo>
                  <a:cubicBezTo>
                    <a:pt x="66" y="568"/>
                    <a:pt x="564" y="67"/>
                    <a:pt x="1174" y="67"/>
                  </a:cubicBezTo>
                  <a:cubicBezTo>
                    <a:pt x="1784" y="67"/>
                    <a:pt x="2281" y="568"/>
                    <a:pt x="2281" y="1182"/>
                  </a:cubicBezTo>
                  <a:cubicBezTo>
                    <a:pt x="2281" y="1388"/>
                    <a:pt x="2225" y="1582"/>
                    <a:pt x="2128" y="1748"/>
                  </a:cubicBezTo>
                  <a:cubicBezTo>
                    <a:pt x="2112" y="1730"/>
                    <a:pt x="2112" y="1730"/>
                    <a:pt x="2112" y="1730"/>
                  </a:cubicBezTo>
                  <a:cubicBezTo>
                    <a:pt x="2112" y="1615"/>
                    <a:pt x="2112" y="1615"/>
                    <a:pt x="2112" y="1615"/>
                  </a:cubicBezTo>
                  <a:cubicBezTo>
                    <a:pt x="2095" y="1615"/>
                    <a:pt x="2095" y="1615"/>
                    <a:pt x="2095" y="1615"/>
                  </a:cubicBezTo>
                  <a:cubicBezTo>
                    <a:pt x="2095" y="1581"/>
                    <a:pt x="2095" y="1581"/>
                    <a:pt x="2095" y="1581"/>
                  </a:cubicBezTo>
                  <a:cubicBezTo>
                    <a:pt x="2126" y="1580"/>
                    <a:pt x="2141" y="1587"/>
                    <a:pt x="2159" y="1553"/>
                  </a:cubicBezTo>
                  <a:cubicBezTo>
                    <a:pt x="2119" y="1559"/>
                    <a:pt x="2119" y="1559"/>
                    <a:pt x="2119" y="1559"/>
                  </a:cubicBezTo>
                  <a:cubicBezTo>
                    <a:pt x="2096" y="1547"/>
                    <a:pt x="2064" y="1538"/>
                    <a:pt x="2063" y="1503"/>
                  </a:cubicBezTo>
                  <a:cubicBezTo>
                    <a:pt x="2049" y="1503"/>
                    <a:pt x="2049" y="1503"/>
                    <a:pt x="2049" y="1503"/>
                  </a:cubicBezTo>
                  <a:cubicBezTo>
                    <a:pt x="2049" y="1509"/>
                    <a:pt x="2050" y="1515"/>
                    <a:pt x="2045" y="1522"/>
                  </a:cubicBezTo>
                  <a:cubicBezTo>
                    <a:pt x="2029" y="1540"/>
                    <a:pt x="1995" y="1559"/>
                    <a:pt x="1994" y="1560"/>
                  </a:cubicBezTo>
                  <a:cubicBezTo>
                    <a:pt x="1980" y="1562"/>
                    <a:pt x="1967" y="1560"/>
                    <a:pt x="1953" y="1554"/>
                  </a:cubicBezTo>
                  <a:cubicBezTo>
                    <a:pt x="1960" y="1564"/>
                    <a:pt x="1966" y="1581"/>
                    <a:pt x="1980" y="1581"/>
                  </a:cubicBezTo>
                  <a:cubicBezTo>
                    <a:pt x="2003" y="1581"/>
                    <a:pt x="2003" y="1581"/>
                    <a:pt x="2003" y="1581"/>
                  </a:cubicBezTo>
                  <a:cubicBezTo>
                    <a:pt x="2003" y="1615"/>
                    <a:pt x="2003" y="1615"/>
                    <a:pt x="2003" y="1615"/>
                  </a:cubicBezTo>
                  <a:cubicBezTo>
                    <a:pt x="1990" y="1613"/>
                    <a:pt x="1990" y="1613"/>
                    <a:pt x="1990" y="1613"/>
                  </a:cubicBezTo>
                  <a:cubicBezTo>
                    <a:pt x="1989" y="1655"/>
                    <a:pt x="1989" y="1655"/>
                    <a:pt x="1989" y="1655"/>
                  </a:cubicBezTo>
                  <a:cubicBezTo>
                    <a:pt x="1843" y="1655"/>
                    <a:pt x="1843" y="1655"/>
                    <a:pt x="1843" y="1655"/>
                  </a:cubicBezTo>
                  <a:cubicBezTo>
                    <a:pt x="1843" y="1637"/>
                    <a:pt x="1843" y="1637"/>
                    <a:pt x="1843" y="1637"/>
                  </a:cubicBezTo>
                  <a:cubicBezTo>
                    <a:pt x="1838" y="1637"/>
                    <a:pt x="1838" y="1637"/>
                    <a:pt x="1838" y="1637"/>
                  </a:cubicBezTo>
                  <a:cubicBezTo>
                    <a:pt x="1838" y="1756"/>
                    <a:pt x="1838" y="1756"/>
                    <a:pt x="1838" y="1756"/>
                  </a:cubicBezTo>
                  <a:cubicBezTo>
                    <a:pt x="1781" y="1756"/>
                    <a:pt x="1781" y="1756"/>
                    <a:pt x="1781" y="1756"/>
                  </a:cubicBezTo>
                  <a:cubicBezTo>
                    <a:pt x="1781" y="1658"/>
                    <a:pt x="1781" y="1658"/>
                    <a:pt x="1781" y="1658"/>
                  </a:cubicBezTo>
                  <a:cubicBezTo>
                    <a:pt x="1761" y="1658"/>
                    <a:pt x="1761" y="1658"/>
                    <a:pt x="1761" y="1658"/>
                  </a:cubicBezTo>
                  <a:cubicBezTo>
                    <a:pt x="1711" y="1658"/>
                    <a:pt x="1711" y="1658"/>
                    <a:pt x="1711" y="1658"/>
                  </a:cubicBezTo>
                  <a:cubicBezTo>
                    <a:pt x="1711" y="1756"/>
                    <a:pt x="1711" y="1756"/>
                    <a:pt x="1711" y="1756"/>
                  </a:cubicBezTo>
                  <a:cubicBezTo>
                    <a:pt x="1653" y="1756"/>
                    <a:pt x="1653" y="1756"/>
                    <a:pt x="1653" y="1756"/>
                  </a:cubicBezTo>
                  <a:cubicBezTo>
                    <a:pt x="1653" y="1658"/>
                    <a:pt x="1653" y="1658"/>
                    <a:pt x="1653" y="1658"/>
                  </a:cubicBezTo>
                  <a:cubicBezTo>
                    <a:pt x="1628" y="1659"/>
                    <a:pt x="1608" y="1657"/>
                    <a:pt x="1583" y="1658"/>
                  </a:cubicBezTo>
                  <a:cubicBezTo>
                    <a:pt x="1583" y="1756"/>
                    <a:pt x="1583" y="1756"/>
                    <a:pt x="1583" y="1756"/>
                  </a:cubicBezTo>
                  <a:cubicBezTo>
                    <a:pt x="1527" y="1756"/>
                    <a:pt x="1527" y="1756"/>
                    <a:pt x="1527" y="1756"/>
                  </a:cubicBezTo>
                  <a:close/>
                  <a:moveTo>
                    <a:pt x="1533" y="1811"/>
                  </a:moveTo>
                  <a:cubicBezTo>
                    <a:pt x="1541" y="1811"/>
                    <a:pt x="1541" y="1811"/>
                    <a:pt x="1541" y="1811"/>
                  </a:cubicBezTo>
                  <a:cubicBezTo>
                    <a:pt x="1541" y="1766"/>
                    <a:pt x="1541" y="1766"/>
                    <a:pt x="1541" y="1766"/>
                  </a:cubicBezTo>
                  <a:cubicBezTo>
                    <a:pt x="1533" y="1766"/>
                    <a:pt x="1533" y="1766"/>
                    <a:pt x="1533" y="1766"/>
                  </a:cubicBezTo>
                  <a:cubicBezTo>
                    <a:pt x="1533" y="1811"/>
                    <a:pt x="1533" y="1811"/>
                    <a:pt x="1533" y="1811"/>
                  </a:cubicBezTo>
                  <a:close/>
                  <a:moveTo>
                    <a:pt x="1546" y="1811"/>
                  </a:moveTo>
                  <a:cubicBezTo>
                    <a:pt x="1554" y="1811"/>
                    <a:pt x="1554" y="1811"/>
                    <a:pt x="1554" y="1811"/>
                  </a:cubicBezTo>
                  <a:cubicBezTo>
                    <a:pt x="1554" y="1766"/>
                    <a:pt x="1554" y="1766"/>
                    <a:pt x="1554" y="1766"/>
                  </a:cubicBezTo>
                  <a:cubicBezTo>
                    <a:pt x="1546" y="1766"/>
                    <a:pt x="1546" y="1766"/>
                    <a:pt x="1546" y="1766"/>
                  </a:cubicBezTo>
                  <a:cubicBezTo>
                    <a:pt x="1546" y="1811"/>
                    <a:pt x="1546" y="1811"/>
                    <a:pt x="1546" y="1811"/>
                  </a:cubicBezTo>
                  <a:close/>
                  <a:moveTo>
                    <a:pt x="1559" y="1811"/>
                  </a:moveTo>
                  <a:cubicBezTo>
                    <a:pt x="1567" y="1811"/>
                    <a:pt x="1567" y="1811"/>
                    <a:pt x="1567" y="1811"/>
                  </a:cubicBezTo>
                  <a:cubicBezTo>
                    <a:pt x="1567" y="1766"/>
                    <a:pt x="1567" y="1766"/>
                    <a:pt x="1567" y="1766"/>
                  </a:cubicBezTo>
                  <a:cubicBezTo>
                    <a:pt x="1559" y="1766"/>
                    <a:pt x="1559" y="1766"/>
                    <a:pt x="1559" y="1766"/>
                  </a:cubicBezTo>
                  <a:cubicBezTo>
                    <a:pt x="1559" y="1811"/>
                    <a:pt x="1559" y="1811"/>
                    <a:pt x="1559" y="1811"/>
                  </a:cubicBezTo>
                  <a:close/>
                  <a:moveTo>
                    <a:pt x="1572" y="1811"/>
                  </a:moveTo>
                  <a:cubicBezTo>
                    <a:pt x="1579" y="1811"/>
                    <a:pt x="1579" y="1811"/>
                    <a:pt x="1579" y="1811"/>
                  </a:cubicBezTo>
                  <a:cubicBezTo>
                    <a:pt x="1579" y="1766"/>
                    <a:pt x="1579" y="1766"/>
                    <a:pt x="1579" y="1766"/>
                  </a:cubicBezTo>
                  <a:cubicBezTo>
                    <a:pt x="1572" y="1766"/>
                    <a:pt x="1572" y="1766"/>
                    <a:pt x="1572" y="1766"/>
                  </a:cubicBezTo>
                  <a:cubicBezTo>
                    <a:pt x="1572" y="1811"/>
                    <a:pt x="1572" y="1811"/>
                    <a:pt x="1572" y="1811"/>
                  </a:cubicBezTo>
                  <a:close/>
                  <a:moveTo>
                    <a:pt x="1585" y="1811"/>
                  </a:moveTo>
                  <a:cubicBezTo>
                    <a:pt x="1592" y="1811"/>
                    <a:pt x="1592" y="1811"/>
                    <a:pt x="1592" y="1811"/>
                  </a:cubicBezTo>
                  <a:cubicBezTo>
                    <a:pt x="1592" y="1766"/>
                    <a:pt x="1592" y="1766"/>
                    <a:pt x="1592" y="1766"/>
                  </a:cubicBezTo>
                  <a:cubicBezTo>
                    <a:pt x="1585" y="1766"/>
                    <a:pt x="1585" y="1766"/>
                    <a:pt x="1585" y="1766"/>
                  </a:cubicBezTo>
                  <a:cubicBezTo>
                    <a:pt x="1585" y="1811"/>
                    <a:pt x="1585" y="1811"/>
                    <a:pt x="1585" y="1811"/>
                  </a:cubicBezTo>
                  <a:close/>
                  <a:moveTo>
                    <a:pt x="1598" y="1811"/>
                  </a:moveTo>
                  <a:cubicBezTo>
                    <a:pt x="1605" y="1811"/>
                    <a:pt x="1605" y="1811"/>
                    <a:pt x="1605" y="1811"/>
                  </a:cubicBezTo>
                  <a:cubicBezTo>
                    <a:pt x="1605" y="1766"/>
                    <a:pt x="1605" y="1766"/>
                    <a:pt x="1605" y="1766"/>
                  </a:cubicBezTo>
                  <a:cubicBezTo>
                    <a:pt x="1598" y="1766"/>
                    <a:pt x="1598" y="1766"/>
                    <a:pt x="1598" y="1766"/>
                  </a:cubicBezTo>
                  <a:cubicBezTo>
                    <a:pt x="1598" y="1811"/>
                    <a:pt x="1598" y="1811"/>
                    <a:pt x="1598" y="1811"/>
                  </a:cubicBezTo>
                  <a:close/>
                  <a:moveTo>
                    <a:pt x="1611" y="1811"/>
                  </a:moveTo>
                  <a:cubicBezTo>
                    <a:pt x="1618" y="1811"/>
                    <a:pt x="1618" y="1811"/>
                    <a:pt x="1618" y="1811"/>
                  </a:cubicBezTo>
                  <a:cubicBezTo>
                    <a:pt x="1618" y="1766"/>
                    <a:pt x="1618" y="1766"/>
                    <a:pt x="1618" y="1766"/>
                  </a:cubicBezTo>
                  <a:cubicBezTo>
                    <a:pt x="1611" y="1766"/>
                    <a:pt x="1611" y="1766"/>
                    <a:pt x="1611" y="1766"/>
                  </a:cubicBezTo>
                  <a:cubicBezTo>
                    <a:pt x="1611" y="1811"/>
                    <a:pt x="1611" y="1811"/>
                    <a:pt x="1611" y="1811"/>
                  </a:cubicBezTo>
                  <a:close/>
                  <a:moveTo>
                    <a:pt x="1623" y="1811"/>
                  </a:moveTo>
                  <a:cubicBezTo>
                    <a:pt x="1631" y="1811"/>
                    <a:pt x="1631" y="1811"/>
                    <a:pt x="1631" y="1811"/>
                  </a:cubicBezTo>
                  <a:cubicBezTo>
                    <a:pt x="1631" y="1766"/>
                    <a:pt x="1631" y="1766"/>
                    <a:pt x="1631" y="1766"/>
                  </a:cubicBezTo>
                  <a:cubicBezTo>
                    <a:pt x="1623" y="1766"/>
                    <a:pt x="1623" y="1766"/>
                    <a:pt x="1623" y="1766"/>
                  </a:cubicBezTo>
                  <a:cubicBezTo>
                    <a:pt x="1623" y="1811"/>
                    <a:pt x="1623" y="1811"/>
                    <a:pt x="1623" y="1811"/>
                  </a:cubicBezTo>
                  <a:close/>
                  <a:moveTo>
                    <a:pt x="1636" y="1811"/>
                  </a:moveTo>
                  <a:cubicBezTo>
                    <a:pt x="1644" y="1811"/>
                    <a:pt x="1644" y="1811"/>
                    <a:pt x="1644" y="1811"/>
                  </a:cubicBezTo>
                  <a:cubicBezTo>
                    <a:pt x="1644" y="1766"/>
                    <a:pt x="1644" y="1766"/>
                    <a:pt x="1644" y="1766"/>
                  </a:cubicBezTo>
                  <a:cubicBezTo>
                    <a:pt x="1636" y="1766"/>
                    <a:pt x="1636" y="1766"/>
                    <a:pt x="1636" y="1766"/>
                  </a:cubicBezTo>
                  <a:cubicBezTo>
                    <a:pt x="1636" y="1811"/>
                    <a:pt x="1636" y="1811"/>
                    <a:pt x="1636" y="1811"/>
                  </a:cubicBezTo>
                  <a:close/>
                  <a:moveTo>
                    <a:pt x="1649" y="1811"/>
                  </a:moveTo>
                  <a:cubicBezTo>
                    <a:pt x="1657" y="1811"/>
                    <a:pt x="1657" y="1811"/>
                    <a:pt x="1657" y="1811"/>
                  </a:cubicBezTo>
                  <a:cubicBezTo>
                    <a:pt x="1657" y="1766"/>
                    <a:pt x="1657" y="1766"/>
                    <a:pt x="1657" y="1766"/>
                  </a:cubicBezTo>
                  <a:cubicBezTo>
                    <a:pt x="1649" y="1766"/>
                    <a:pt x="1649" y="1766"/>
                    <a:pt x="1649" y="1766"/>
                  </a:cubicBezTo>
                  <a:cubicBezTo>
                    <a:pt x="1649" y="1811"/>
                    <a:pt x="1649" y="1811"/>
                    <a:pt x="1649" y="1811"/>
                  </a:cubicBezTo>
                  <a:close/>
                  <a:moveTo>
                    <a:pt x="1662" y="1811"/>
                  </a:moveTo>
                  <a:cubicBezTo>
                    <a:pt x="1670" y="1811"/>
                    <a:pt x="1670" y="1811"/>
                    <a:pt x="1670" y="1811"/>
                  </a:cubicBezTo>
                  <a:cubicBezTo>
                    <a:pt x="1670" y="1766"/>
                    <a:pt x="1670" y="1766"/>
                    <a:pt x="1670" y="1766"/>
                  </a:cubicBezTo>
                  <a:cubicBezTo>
                    <a:pt x="1662" y="1766"/>
                    <a:pt x="1662" y="1766"/>
                    <a:pt x="1662" y="1766"/>
                  </a:cubicBezTo>
                  <a:cubicBezTo>
                    <a:pt x="1662" y="1811"/>
                    <a:pt x="1662" y="1811"/>
                    <a:pt x="1662" y="1811"/>
                  </a:cubicBezTo>
                  <a:close/>
                  <a:moveTo>
                    <a:pt x="1675" y="1811"/>
                  </a:moveTo>
                  <a:cubicBezTo>
                    <a:pt x="1683" y="1811"/>
                    <a:pt x="1683" y="1811"/>
                    <a:pt x="1683" y="1811"/>
                  </a:cubicBezTo>
                  <a:cubicBezTo>
                    <a:pt x="1683" y="1766"/>
                    <a:pt x="1683" y="1766"/>
                    <a:pt x="1683" y="1766"/>
                  </a:cubicBezTo>
                  <a:cubicBezTo>
                    <a:pt x="1675" y="1766"/>
                    <a:pt x="1675" y="1766"/>
                    <a:pt x="1675" y="1766"/>
                  </a:cubicBezTo>
                  <a:cubicBezTo>
                    <a:pt x="1675" y="1811"/>
                    <a:pt x="1675" y="1811"/>
                    <a:pt x="1675" y="1811"/>
                  </a:cubicBezTo>
                  <a:close/>
                  <a:moveTo>
                    <a:pt x="1688" y="1811"/>
                  </a:moveTo>
                  <a:cubicBezTo>
                    <a:pt x="1695" y="1811"/>
                    <a:pt x="1695" y="1811"/>
                    <a:pt x="1695" y="1811"/>
                  </a:cubicBezTo>
                  <a:cubicBezTo>
                    <a:pt x="1695" y="1766"/>
                    <a:pt x="1695" y="1766"/>
                    <a:pt x="1695" y="1766"/>
                  </a:cubicBezTo>
                  <a:cubicBezTo>
                    <a:pt x="1688" y="1766"/>
                    <a:pt x="1688" y="1766"/>
                    <a:pt x="1688" y="1766"/>
                  </a:cubicBezTo>
                  <a:cubicBezTo>
                    <a:pt x="1688" y="1811"/>
                    <a:pt x="1688" y="1811"/>
                    <a:pt x="1688" y="1811"/>
                  </a:cubicBezTo>
                  <a:close/>
                  <a:moveTo>
                    <a:pt x="1701" y="1811"/>
                  </a:moveTo>
                  <a:cubicBezTo>
                    <a:pt x="1708" y="1811"/>
                    <a:pt x="1708" y="1811"/>
                    <a:pt x="1708" y="1811"/>
                  </a:cubicBezTo>
                  <a:cubicBezTo>
                    <a:pt x="1708" y="1766"/>
                    <a:pt x="1708" y="1766"/>
                    <a:pt x="1708" y="1766"/>
                  </a:cubicBezTo>
                  <a:cubicBezTo>
                    <a:pt x="1701" y="1766"/>
                    <a:pt x="1701" y="1766"/>
                    <a:pt x="1701" y="1766"/>
                  </a:cubicBezTo>
                  <a:cubicBezTo>
                    <a:pt x="1701" y="1811"/>
                    <a:pt x="1701" y="1811"/>
                    <a:pt x="1701" y="1811"/>
                  </a:cubicBezTo>
                  <a:close/>
                  <a:moveTo>
                    <a:pt x="1714" y="1811"/>
                  </a:moveTo>
                  <a:cubicBezTo>
                    <a:pt x="1721" y="1811"/>
                    <a:pt x="1721" y="1811"/>
                    <a:pt x="1721" y="1811"/>
                  </a:cubicBezTo>
                  <a:cubicBezTo>
                    <a:pt x="1721" y="1766"/>
                    <a:pt x="1721" y="1766"/>
                    <a:pt x="1721" y="1766"/>
                  </a:cubicBezTo>
                  <a:cubicBezTo>
                    <a:pt x="1714" y="1766"/>
                    <a:pt x="1714" y="1766"/>
                    <a:pt x="1714" y="1766"/>
                  </a:cubicBezTo>
                  <a:cubicBezTo>
                    <a:pt x="1714" y="1811"/>
                    <a:pt x="1714" y="1811"/>
                    <a:pt x="1714" y="1811"/>
                  </a:cubicBezTo>
                  <a:close/>
                  <a:moveTo>
                    <a:pt x="1727" y="1811"/>
                  </a:moveTo>
                  <a:cubicBezTo>
                    <a:pt x="1734" y="1811"/>
                    <a:pt x="1734" y="1811"/>
                    <a:pt x="1734" y="1811"/>
                  </a:cubicBezTo>
                  <a:cubicBezTo>
                    <a:pt x="1734" y="1766"/>
                    <a:pt x="1734" y="1766"/>
                    <a:pt x="1734" y="1766"/>
                  </a:cubicBezTo>
                  <a:cubicBezTo>
                    <a:pt x="1727" y="1766"/>
                    <a:pt x="1727" y="1766"/>
                    <a:pt x="1727" y="1766"/>
                  </a:cubicBezTo>
                  <a:cubicBezTo>
                    <a:pt x="1727" y="1811"/>
                    <a:pt x="1727" y="1811"/>
                    <a:pt x="1727" y="1811"/>
                  </a:cubicBezTo>
                  <a:close/>
                  <a:moveTo>
                    <a:pt x="1739" y="1811"/>
                  </a:moveTo>
                  <a:cubicBezTo>
                    <a:pt x="1747" y="1811"/>
                    <a:pt x="1747" y="1811"/>
                    <a:pt x="1747" y="1811"/>
                  </a:cubicBezTo>
                  <a:cubicBezTo>
                    <a:pt x="1747" y="1766"/>
                    <a:pt x="1747" y="1766"/>
                    <a:pt x="1747" y="1766"/>
                  </a:cubicBezTo>
                  <a:cubicBezTo>
                    <a:pt x="1739" y="1766"/>
                    <a:pt x="1739" y="1766"/>
                    <a:pt x="1739" y="1766"/>
                  </a:cubicBezTo>
                  <a:cubicBezTo>
                    <a:pt x="1739" y="1811"/>
                    <a:pt x="1739" y="1811"/>
                    <a:pt x="1739" y="1811"/>
                  </a:cubicBezTo>
                  <a:close/>
                  <a:moveTo>
                    <a:pt x="1752" y="1811"/>
                  </a:moveTo>
                  <a:cubicBezTo>
                    <a:pt x="1760" y="1811"/>
                    <a:pt x="1760" y="1811"/>
                    <a:pt x="1760" y="1811"/>
                  </a:cubicBezTo>
                  <a:cubicBezTo>
                    <a:pt x="1760" y="1766"/>
                    <a:pt x="1760" y="1766"/>
                    <a:pt x="1760" y="1766"/>
                  </a:cubicBezTo>
                  <a:cubicBezTo>
                    <a:pt x="1752" y="1766"/>
                    <a:pt x="1752" y="1766"/>
                    <a:pt x="1752" y="1766"/>
                  </a:cubicBezTo>
                  <a:cubicBezTo>
                    <a:pt x="1752" y="1811"/>
                    <a:pt x="1752" y="1811"/>
                    <a:pt x="1752" y="1811"/>
                  </a:cubicBezTo>
                  <a:close/>
                  <a:moveTo>
                    <a:pt x="1765" y="1811"/>
                  </a:moveTo>
                  <a:cubicBezTo>
                    <a:pt x="1773" y="1811"/>
                    <a:pt x="1773" y="1811"/>
                    <a:pt x="1773" y="1811"/>
                  </a:cubicBezTo>
                  <a:cubicBezTo>
                    <a:pt x="1773" y="1766"/>
                    <a:pt x="1773" y="1766"/>
                    <a:pt x="1773" y="1766"/>
                  </a:cubicBezTo>
                  <a:cubicBezTo>
                    <a:pt x="1765" y="1766"/>
                    <a:pt x="1765" y="1766"/>
                    <a:pt x="1765" y="1766"/>
                  </a:cubicBezTo>
                  <a:cubicBezTo>
                    <a:pt x="1765" y="1811"/>
                    <a:pt x="1765" y="1811"/>
                    <a:pt x="1765" y="1811"/>
                  </a:cubicBezTo>
                  <a:close/>
                  <a:moveTo>
                    <a:pt x="1778" y="1811"/>
                  </a:moveTo>
                  <a:cubicBezTo>
                    <a:pt x="1786" y="1811"/>
                    <a:pt x="1786" y="1811"/>
                    <a:pt x="1786" y="1811"/>
                  </a:cubicBezTo>
                  <a:cubicBezTo>
                    <a:pt x="1786" y="1766"/>
                    <a:pt x="1786" y="1766"/>
                    <a:pt x="1786" y="1766"/>
                  </a:cubicBezTo>
                  <a:cubicBezTo>
                    <a:pt x="1778" y="1766"/>
                    <a:pt x="1778" y="1766"/>
                    <a:pt x="1778" y="1766"/>
                  </a:cubicBezTo>
                  <a:cubicBezTo>
                    <a:pt x="1778" y="1811"/>
                    <a:pt x="1778" y="1811"/>
                    <a:pt x="1778" y="1811"/>
                  </a:cubicBezTo>
                  <a:close/>
                  <a:moveTo>
                    <a:pt x="1791" y="1811"/>
                  </a:moveTo>
                  <a:cubicBezTo>
                    <a:pt x="1798" y="1811"/>
                    <a:pt x="1798" y="1811"/>
                    <a:pt x="1798" y="1811"/>
                  </a:cubicBezTo>
                  <a:cubicBezTo>
                    <a:pt x="1798" y="1766"/>
                    <a:pt x="1798" y="1766"/>
                    <a:pt x="1798" y="1766"/>
                  </a:cubicBezTo>
                  <a:cubicBezTo>
                    <a:pt x="1791" y="1766"/>
                    <a:pt x="1791" y="1766"/>
                    <a:pt x="1791" y="1766"/>
                  </a:cubicBezTo>
                  <a:cubicBezTo>
                    <a:pt x="1791" y="1811"/>
                    <a:pt x="1791" y="1811"/>
                    <a:pt x="1791" y="1811"/>
                  </a:cubicBezTo>
                  <a:close/>
                  <a:moveTo>
                    <a:pt x="1804" y="1811"/>
                  </a:moveTo>
                  <a:cubicBezTo>
                    <a:pt x="1811" y="1811"/>
                    <a:pt x="1811" y="1811"/>
                    <a:pt x="1811" y="1811"/>
                  </a:cubicBezTo>
                  <a:cubicBezTo>
                    <a:pt x="1811" y="1766"/>
                    <a:pt x="1811" y="1766"/>
                    <a:pt x="1811" y="1766"/>
                  </a:cubicBezTo>
                  <a:cubicBezTo>
                    <a:pt x="1804" y="1766"/>
                    <a:pt x="1804" y="1766"/>
                    <a:pt x="1804" y="1766"/>
                  </a:cubicBezTo>
                  <a:cubicBezTo>
                    <a:pt x="1804" y="1811"/>
                    <a:pt x="1804" y="1811"/>
                    <a:pt x="1804" y="1811"/>
                  </a:cubicBezTo>
                  <a:close/>
                  <a:moveTo>
                    <a:pt x="1817" y="1811"/>
                  </a:moveTo>
                  <a:cubicBezTo>
                    <a:pt x="1824" y="1811"/>
                    <a:pt x="1824" y="1811"/>
                    <a:pt x="1824" y="1811"/>
                  </a:cubicBezTo>
                  <a:cubicBezTo>
                    <a:pt x="1824" y="1766"/>
                    <a:pt x="1824" y="1766"/>
                    <a:pt x="1824" y="1766"/>
                  </a:cubicBezTo>
                  <a:cubicBezTo>
                    <a:pt x="1817" y="1766"/>
                    <a:pt x="1817" y="1766"/>
                    <a:pt x="1817" y="1766"/>
                  </a:cubicBezTo>
                  <a:cubicBezTo>
                    <a:pt x="1817" y="1811"/>
                    <a:pt x="1817" y="1811"/>
                    <a:pt x="1817" y="1811"/>
                  </a:cubicBezTo>
                  <a:close/>
                  <a:moveTo>
                    <a:pt x="1830" y="1811"/>
                  </a:moveTo>
                  <a:cubicBezTo>
                    <a:pt x="1837" y="1811"/>
                    <a:pt x="1837" y="1811"/>
                    <a:pt x="1837" y="1811"/>
                  </a:cubicBezTo>
                  <a:cubicBezTo>
                    <a:pt x="1837" y="1766"/>
                    <a:pt x="1837" y="1766"/>
                    <a:pt x="1837" y="1766"/>
                  </a:cubicBezTo>
                  <a:cubicBezTo>
                    <a:pt x="1830" y="1766"/>
                    <a:pt x="1830" y="1766"/>
                    <a:pt x="1830" y="1766"/>
                  </a:cubicBezTo>
                  <a:cubicBezTo>
                    <a:pt x="1830" y="1811"/>
                    <a:pt x="1830" y="1811"/>
                    <a:pt x="1830" y="1811"/>
                  </a:cubicBezTo>
                  <a:close/>
                  <a:moveTo>
                    <a:pt x="1842" y="1811"/>
                  </a:moveTo>
                  <a:cubicBezTo>
                    <a:pt x="1850" y="1811"/>
                    <a:pt x="1850" y="1811"/>
                    <a:pt x="1850" y="1811"/>
                  </a:cubicBezTo>
                  <a:cubicBezTo>
                    <a:pt x="1850" y="1687"/>
                    <a:pt x="1850" y="1687"/>
                    <a:pt x="1850" y="1687"/>
                  </a:cubicBezTo>
                  <a:cubicBezTo>
                    <a:pt x="1842" y="1687"/>
                    <a:pt x="1842" y="1687"/>
                    <a:pt x="1842" y="1687"/>
                  </a:cubicBezTo>
                  <a:cubicBezTo>
                    <a:pt x="1842" y="1811"/>
                    <a:pt x="1842" y="1811"/>
                    <a:pt x="1842" y="1811"/>
                  </a:cubicBezTo>
                  <a:close/>
                  <a:moveTo>
                    <a:pt x="1855" y="1811"/>
                  </a:moveTo>
                  <a:cubicBezTo>
                    <a:pt x="1863" y="1811"/>
                    <a:pt x="1863" y="1811"/>
                    <a:pt x="1863" y="1811"/>
                  </a:cubicBezTo>
                  <a:cubicBezTo>
                    <a:pt x="1863" y="1687"/>
                    <a:pt x="1863" y="1687"/>
                    <a:pt x="1863" y="1687"/>
                  </a:cubicBezTo>
                  <a:cubicBezTo>
                    <a:pt x="1855" y="1687"/>
                    <a:pt x="1855" y="1687"/>
                    <a:pt x="1855" y="1687"/>
                  </a:cubicBezTo>
                  <a:cubicBezTo>
                    <a:pt x="1855" y="1811"/>
                    <a:pt x="1855" y="1811"/>
                    <a:pt x="1855" y="1811"/>
                  </a:cubicBezTo>
                  <a:close/>
                  <a:moveTo>
                    <a:pt x="1868" y="1811"/>
                  </a:moveTo>
                  <a:cubicBezTo>
                    <a:pt x="1876" y="1811"/>
                    <a:pt x="1876" y="1811"/>
                    <a:pt x="1876" y="1811"/>
                  </a:cubicBezTo>
                  <a:cubicBezTo>
                    <a:pt x="1876" y="1687"/>
                    <a:pt x="1876" y="1687"/>
                    <a:pt x="1876" y="1687"/>
                  </a:cubicBezTo>
                  <a:cubicBezTo>
                    <a:pt x="1868" y="1687"/>
                    <a:pt x="1868" y="1687"/>
                    <a:pt x="1868" y="1687"/>
                  </a:cubicBezTo>
                  <a:cubicBezTo>
                    <a:pt x="1868" y="1811"/>
                    <a:pt x="1868" y="1811"/>
                    <a:pt x="1868" y="1811"/>
                  </a:cubicBezTo>
                  <a:close/>
                  <a:moveTo>
                    <a:pt x="1881" y="1811"/>
                  </a:moveTo>
                  <a:cubicBezTo>
                    <a:pt x="1889" y="1811"/>
                    <a:pt x="1889" y="1811"/>
                    <a:pt x="1889" y="1811"/>
                  </a:cubicBezTo>
                  <a:cubicBezTo>
                    <a:pt x="1889" y="1687"/>
                    <a:pt x="1889" y="1687"/>
                    <a:pt x="1889" y="1687"/>
                  </a:cubicBezTo>
                  <a:cubicBezTo>
                    <a:pt x="1881" y="1687"/>
                    <a:pt x="1881" y="1687"/>
                    <a:pt x="1881" y="1687"/>
                  </a:cubicBezTo>
                  <a:cubicBezTo>
                    <a:pt x="1881" y="1811"/>
                    <a:pt x="1881" y="1811"/>
                    <a:pt x="1881" y="1811"/>
                  </a:cubicBezTo>
                  <a:close/>
                  <a:moveTo>
                    <a:pt x="1894" y="1811"/>
                  </a:moveTo>
                  <a:cubicBezTo>
                    <a:pt x="1902" y="1811"/>
                    <a:pt x="1902" y="1811"/>
                    <a:pt x="1902" y="1811"/>
                  </a:cubicBezTo>
                  <a:cubicBezTo>
                    <a:pt x="1902" y="1687"/>
                    <a:pt x="1902" y="1687"/>
                    <a:pt x="1902" y="1687"/>
                  </a:cubicBezTo>
                  <a:cubicBezTo>
                    <a:pt x="1894" y="1687"/>
                    <a:pt x="1894" y="1687"/>
                    <a:pt x="1894" y="1687"/>
                  </a:cubicBezTo>
                  <a:cubicBezTo>
                    <a:pt x="1894" y="1811"/>
                    <a:pt x="1894" y="1811"/>
                    <a:pt x="1894" y="1811"/>
                  </a:cubicBezTo>
                  <a:close/>
                  <a:moveTo>
                    <a:pt x="1907" y="1811"/>
                  </a:moveTo>
                  <a:cubicBezTo>
                    <a:pt x="1914" y="1811"/>
                    <a:pt x="1914" y="1811"/>
                    <a:pt x="1914" y="1811"/>
                  </a:cubicBezTo>
                  <a:cubicBezTo>
                    <a:pt x="1914" y="1687"/>
                    <a:pt x="1914" y="1687"/>
                    <a:pt x="1914" y="1687"/>
                  </a:cubicBezTo>
                  <a:cubicBezTo>
                    <a:pt x="1907" y="1687"/>
                    <a:pt x="1907" y="1687"/>
                    <a:pt x="1907" y="1687"/>
                  </a:cubicBezTo>
                  <a:cubicBezTo>
                    <a:pt x="1907" y="1811"/>
                    <a:pt x="1907" y="1811"/>
                    <a:pt x="1907" y="1811"/>
                  </a:cubicBezTo>
                  <a:close/>
                  <a:moveTo>
                    <a:pt x="1920" y="1811"/>
                  </a:moveTo>
                  <a:cubicBezTo>
                    <a:pt x="1927" y="1811"/>
                    <a:pt x="1927" y="1811"/>
                    <a:pt x="1927" y="1811"/>
                  </a:cubicBezTo>
                  <a:cubicBezTo>
                    <a:pt x="1927" y="1687"/>
                    <a:pt x="1927" y="1687"/>
                    <a:pt x="1927" y="1687"/>
                  </a:cubicBezTo>
                  <a:cubicBezTo>
                    <a:pt x="1920" y="1687"/>
                    <a:pt x="1920" y="1687"/>
                    <a:pt x="1920" y="1687"/>
                  </a:cubicBezTo>
                  <a:cubicBezTo>
                    <a:pt x="1920" y="1811"/>
                    <a:pt x="1920" y="1811"/>
                    <a:pt x="1920" y="1811"/>
                  </a:cubicBezTo>
                  <a:close/>
                  <a:moveTo>
                    <a:pt x="1933" y="1811"/>
                  </a:moveTo>
                  <a:cubicBezTo>
                    <a:pt x="1940" y="1811"/>
                    <a:pt x="1940" y="1811"/>
                    <a:pt x="1940" y="1811"/>
                  </a:cubicBezTo>
                  <a:cubicBezTo>
                    <a:pt x="1940" y="1687"/>
                    <a:pt x="1940" y="1687"/>
                    <a:pt x="1940" y="1687"/>
                  </a:cubicBezTo>
                  <a:cubicBezTo>
                    <a:pt x="1933" y="1687"/>
                    <a:pt x="1933" y="1687"/>
                    <a:pt x="1933" y="1687"/>
                  </a:cubicBezTo>
                  <a:cubicBezTo>
                    <a:pt x="1933" y="1811"/>
                    <a:pt x="1933" y="1811"/>
                    <a:pt x="1933" y="1811"/>
                  </a:cubicBezTo>
                  <a:close/>
                  <a:moveTo>
                    <a:pt x="1946" y="1811"/>
                  </a:moveTo>
                  <a:cubicBezTo>
                    <a:pt x="1953" y="1811"/>
                    <a:pt x="1953" y="1811"/>
                    <a:pt x="1953" y="1811"/>
                  </a:cubicBezTo>
                  <a:cubicBezTo>
                    <a:pt x="1953" y="1687"/>
                    <a:pt x="1953" y="1687"/>
                    <a:pt x="1953" y="1687"/>
                  </a:cubicBezTo>
                  <a:cubicBezTo>
                    <a:pt x="1946" y="1687"/>
                    <a:pt x="1946" y="1687"/>
                    <a:pt x="1946" y="1687"/>
                  </a:cubicBezTo>
                  <a:cubicBezTo>
                    <a:pt x="1946" y="1811"/>
                    <a:pt x="1946" y="1811"/>
                    <a:pt x="1946" y="1811"/>
                  </a:cubicBezTo>
                  <a:close/>
                  <a:moveTo>
                    <a:pt x="1958" y="1811"/>
                  </a:moveTo>
                  <a:cubicBezTo>
                    <a:pt x="1966" y="1811"/>
                    <a:pt x="1966" y="1811"/>
                    <a:pt x="1966" y="1811"/>
                  </a:cubicBezTo>
                  <a:cubicBezTo>
                    <a:pt x="1966" y="1687"/>
                    <a:pt x="1966" y="1687"/>
                    <a:pt x="1966" y="1687"/>
                  </a:cubicBezTo>
                  <a:cubicBezTo>
                    <a:pt x="1958" y="1687"/>
                    <a:pt x="1958" y="1687"/>
                    <a:pt x="1958" y="1687"/>
                  </a:cubicBezTo>
                  <a:cubicBezTo>
                    <a:pt x="1958" y="1811"/>
                    <a:pt x="1958" y="1811"/>
                    <a:pt x="1958" y="1811"/>
                  </a:cubicBezTo>
                  <a:close/>
                  <a:moveTo>
                    <a:pt x="1970" y="1811"/>
                  </a:moveTo>
                  <a:cubicBezTo>
                    <a:pt x="2087" y="1811"/>
                    <a:pt x="2087" y="1811"/>
                    <a:pt x="2087" y="1811"/>
                  </a:cubicBezTo>
                  <a:cubicBezTo>
                    <a:pt x="2097" y="1797"/>
                    <a:pt x="2107" y="1782"/>
                    <a:pt x="2116" y="1767"/>
                  </a:cubicBezTo>
                  <a:cubicBezTo>
                    <a:pt x="1970" y="1767"/>
                    <a:pt x="1970" y="1767"/>
                    <a:pt x="1970" y="1767"/>
                  </a:cubicBezTo>
                  <a:cubicBezTo>
                    <a:pt x="1970" y="1811"/>
                    <a:pt x="1970" y="1811"/>
                    <a:pt x="1970" y="1811"/>
                  </a:cubicBezTo>
                  <a:close/>
                  <a:moveTo>
                    <a:pt x="1116" y="1931"/>
                  </a:moveTo>
                  <a:cubicBezTo>
                    <a:pt x="1116" y="1953"/>
                    <a:pt x="1116" y="1953"/>
                    <a:pt x="1116" y="1953"/>
                  </a:cubicBezTo>
                  <a:cubicBezTo>
                    <a:pt x="1166" y="1953"/>
                    <a:pt x="1166" y="1953"/>
                    <a:pt x="1166" y="1953"/>
                  </a:cubicBezTo>
                  <a:cubicBezTo>
                    <a:pt x="1166" y="1931"/>
                    <a:pt x="1166" y="1931"/>
                    <a:pt x="1166" y="1931"/>
                  </a:cubicBezTo>
                  <a:cubicBezTo>
                    <a:pt x="1116" y="1931"/>
                    <a:pt x="1116" y="1931"/>
                    <a:pt x="1116" y="1931"/>
                  </a:cubicBezTo>
                  <a:close/>
                  <a:moveTo>
                    <a:pt x="1121" y="1937"/>
                  </a:moveTo>
                  <a:cubicBezTo>
                    <a:pt x="1121" y="1945"/>
                    <a:pt x="1121" y="1945"/>
                    <a:pt x="1121" y="1945"/>
                  </a:cubicBezTo>
                  <a:cubicBezTo>
                    <a:pt x="1160" y="1945"/>
                    <a:pt x="1160" y="1945"/>
                    <a:pt x="1160" y="1945"/>
                  </a:cubicBezTo>
                  <a:cubicBezTo>
                    <a:pt x="1160" y="1937"/>
                    <a:pt x="1160" y="1937"/>
                    <a:pt x="1160" y="1937"/>
                  </a:cubicBezTo>
                  <a:cubicBezTo>
                    <a:pt x="1121" y="1937"/>
                    <a:pt x="1121" y="1937"/>
                    <a:pt x="1121" y="1937"/>
                  </a:cubicBezTo>
                  <a:close/>
                  <a:moveTo>
                    <a:pt x="1116" y="1904"/>
                  </a:moveTo>
                  <a:cubicBezTo>
                    <a:pt x="1116" y="1925"/>
                    <a:pt x="1116" y="1925"/>
                    <a:pt x="1116" y="1925"/>
                  </a:cubicBezTo>
                  <a:cubicBezTo>
                    <a:pt x="1166" y="1925"/>
                    <a:pt x="1166" y="1925"/>
                    <a:pt x="1166" y="1925"/>
                  </a:cubicBezTo>
                  <a:cubicBezTo>
                    <a:pt x="1166" y="1904"/>
                    <a:pt x="1166" y="1904"/>
                    <a:pt x="1166" y="1904"/>
                  </a:cubicBezTo>
                  <a:cubicBezTo>
                    <a:pt x="1116" y="1904"/>
                    <a:pt x="1116" y="1904"/>
                    <a:pt x="1116" y="1904"/>
                  </a:cubicBezTo>
                  <a:close/>
                  <a:moveTo>
                    <a:pt x="1121" y="1909"/>
                  </a:moveTo>
                  <a:cubicBezTo>
                    <a:pt x="1121" y="1918"/>
                    <a:pt x="1121" y="1918"/>
                    <a:pt x="1121" y="1918"/>
                  </a:cubicBezTo>
                  <a:cubicBezTo>
                    <a:pt x="1160" y="1918"/>
                    <a:pt x="1160" y="1918"/>
                    <a:pt x="1160" y="1918"/>
                  </a:cubicBezTo>
                  <a:cubicBezTo>
                    <a:pt x="1160" y="1909"/>
                    <a:pt x="1160" y="1909"/>
                    <a:pt x="1160" y="1909"/>
                  </a:cubicBezTo>
                  <a:cubicBezTo>
                    <a:pt x="1121" y="1909"/>
                    <a:pt x="1121" y="1909"/>
                    <a:pt x="1121" y="1909"/>
                  </a:cubicBezTo>
                  <a:close/>
                  <a:moveTo>
                    <a:pt x="976" y="1937"/>
                  </a:moveTo>
                  <a:cubicBezTo>
                    <a:pt x="976" y="1945"/>
                    <a:pt x="976" y="1945"/>
                    <a:pt x="976" y="1945"/>
                  </a:cubicBezTo>
                  <a:cubicBezTo>
                    <a:pt x="1090" y="1945"/>
                    <a:pt x="1090" y="1945"/>
                    <a:pt x="1090" y="1945"/>
                  </a:cubicBezTo>
                  <a:cubicBezTo>
                    <a:pt x="1090" y="1937"/>
                    <a:pt x="1090" y="1937"/>
                    <a:pt x="1090" y="1937"/>
                  </a:cubicBezTo>
                  <a:cubicBezTo>
                    <a:pt x="976" y="1937"/>
                    <a:pt x="976" y="1937"/>
                    <a:pt x="976" y="1937"/>
                  </a:cubicBezTo>
                  <a:close/>
                  <a:moveTo>
                    <a:pt x="976" y="1911"/>
                  </a:moveTo>
                  <a:cubicBezTo>
                    <a:pt x="976" y="1918"/>
                    <a:pt x="976" y="1918"/>
                    <a:pt x="976" y="1918"/>
                  </a:cubicBezTo>
                  <a:cubicBezTo>
                    <a:pt x="1091" y="1918"/>
                    <a:pt x="1091" y="1918"/>
                    <a:pt x="1091" y="1918"/>
                  </a:cubicBezTo>
                  <a:cubicBezTo>
                    <a:pt x="1091" y="1911"/>
                    <a:pt x="1091" y="1911"/>
                    <a:pt x="1091" y="1911"/>
                  </a:cubicBezTo>
                  <a:cubicBezTo>
                    <a:pt x="976" y="1911"/>
                    <a:pt x="976" y="1911"/>
                    <a:pt x="976" y="1911"/>
                  </a:cubicBezTo>
                  <a:close/>
                  <a:moveTo>
                    <a:pt x="953" y="1878"/>
                  </a:moveTo>
                  <a:cubicBezTo>
                    <a:pt x="953" y="1887"/>
                    <a:pt x="953" y="1887"/>
                    <a:pt x="953" y="1887"/>
                  </a:cubicBezTo>
                  <a:cubicBezTo>
                    <a:pt x="1090" y="1887"/>
                    <a:pt x="1090" y="1887"/>
                    <a:pt x="1090" y="1887"/>
                  </a:cubicBezTo>
                  <a:cubicBezTo>
                    <a:pt x="1090" y="1878"/>
                    <a:pt x="1090" y="1878"/>
                    <a:pt x="1090" y="1878"/>
                  </a:cubicBezTo>
                  <a:cubicBezTo>
                    <a:pt x="953" y="1878"/>
                    <a:pt x="953" y="1878"/>
                    <a:pt x="953" y="1878"/>
                  </a:cubicBezTo>
                  <a:close/>
                  <a:moveTo>
                    <a:pt x="952" y="1852"/>
                  </a:moveTo>
                  <a:cubicBezTo>
                    <a:pt x="952" y="1860"/>
                    <a:pt x="952" y="1860"/>
                    <a:pt x="952" y="1860"/>
                  </a:cubicBezTo>
                  <a:cubicBezTo>
                    <a:pt x="1090" y="1860"/>
                    <a:pt x="1090" y="1860"/>
                    <a:pt x="1090" y="1860"/>
                  </a:cubicBezTo>
                  <a:cubicBezTo>
                    <a:pt x="1090" y="1852"/>
                    <a:pt x="1090" y="1852"/>
                    <a:pt x="1090" y="1852"/>
                  </a:cubicBezTo>
                  <a:cubicBezTo>
                    <a:pt x="952" y="1852"/>
                    <a:pt x="952" y="1852"/>
                    <a:pt x="952" y="1852"/>
                  </a:cubicBezTo>
                  <a:close/>
                  <a:moveTo>
                    <a:pt x="951" y="1824"/>
                  </a:moveTo>
                  <a:cubicBezTo>
                    <a:pt x="951" y="1832"/>
                    <a:pt x="951" y="1832"/>
                    <a:pt x="951" y="1832"/>
                  </a:cubicBezTo>
                  <a:cubicBezTo>
                    <a:pt x="1090" y="1832"/>
                    <a:pt x="1090" y="1832"/>
                    <a:pt x="1090" y="1832"/>
                  </a:cubicBezTo>
                  <a:cubicBezTo>
                    <a:pt x="1090" y="1824"/>
                    <a:pt x="1090" y="1824"/>
                    <a:pt x="1090" y="1824"/>
                  </a:cubicBezTo>
                  <a:cubicBezTo>
                    <a:pt x="951" y="1824"/>
                    <a:pt x="951" y="1824"/>
                    <a:pt x="951" y="1824"/>
                  </a:cubicBezTo>
                  <a:close/>
                  <a:moveTo>
                    <a:pt x="756" y="1820"/>
                  </a:moveTo>
                  <a:cubicBezTo>
                    <a:pt x="756" y="1829"/>
                    <a:pt x="756" y="1829"/>
                    <a:pt x="756" y="1829"/>
                  </a:cubicBezTo>
                  <a:cubicBezTo>
                    <a:pt x="945" y="1829"/>
                    <a:pt x="945" y="1829"/>
                    <a:pt x="945" y="1829"/>
                  </a:cubicBezTo>
                  <a:cubicBezTo>
                    <a:pt x="945" y="1820"/>
                    <a:pt x="945" y="1820"/>
                    <a:pt x="945" y="1820"/>
                  </a:cubicBezTo>
                  <a:cubicBezTo>
                    <a:pt x="756" y="1820"/>
                    <a:pt x="756" y="1820"/>
                    <a:pt x="756" y="1820"/>
                  </a:cubicBezTo>
                  <a:close/>
                  <a:moveTo>
                    <a:pt x="772" y="1835"/>
                  </a:moveTo>
                  <a:cubicBezTo>
                    <a:pt x="772" y="1887"/>
                    <a:pt x="772" y="1887"/>
                    <a:pt x="772" y="1887"/>
                  </a:cubicBezTo>
                  <a:cubicBezTo>
                    <a:pt x="945" y="1887"/>
                    <a:pt x="945" y="1887"/>
                    <a:pt x="945" y="1887"/>
                  </a:cubicBezTo>
                  <a:cubicBezTo>
                    <a:pt x="945" y="1835"/>
                    <a:pt x="945" y="1835"/>
                    <a:pt x="945" y="1835"/>
                  </a:cubicBezTo>
                  <a:cubicBezTo>
                    <a:pt x="772" y="1835"/>
                    <a:pt x="772" y="1835"/>
                    <a:pt x="772" y="1835"/>
                  </a:cubicBezTo>
                  <a:close/>
                  <a:moveTo>
                    <a:pt x="782" y="1893"/>
                  </a:moveTo>
                  <a:cubicBezTo>
                    <a:pt x="766" y="1894"/>
                    <a:pt x="757" y="1900"/>
                    <a:pt x="757" y="1913"/>
                  </a:cubicBezTo>
                  <a:cubicBezTo>
                    <a:pt x="757" y="1944"/>
                    <a:pt x="757" y="1944"/>
                    <a:pt x="757" y="1944"/>
                  </a:cubicBezTo>
                  <a:cubicBezTo>
                    <a:pt x="969" y="1944"/>
                    <a:pt x="969" y="1944"/>
                    <a:pt x="969" y="1944"/>
                  </a:cubicBezTo>
                  <a:cubicBezTo>
                    <a:pt x="969" y="1917"/>
                    <a:pt x="969" y="1917"/>
                    <a:pt x="969" y="1917"/>
                  </a:cubicBezTo>
                  <a:cubicBezTo>
                    <a:pt x="963" y="1907"/>
                    <a:pt x="957" y="1898"/>
                    <a:pt x="942" y="1893"/>
                  </a:cubicBezTo>
                  <a:cubicBezTo>
                    <a:pt x="782" y="1893"/>
                    <a:pt x="782" y="1893"/>
                    <a:pt x="782" y="1893"/>
                  </a:cubicBezTo>
                  <a:close/>
                  <a:moveTo>
                    <a:pt x="1116" y="1850"/>
                  </a:moveTo>
                  <a:cubicBezTo>
                    <a:pt x="1116" y="1871"/>
                    <a:pt x="1116" y="1871"/>
                    <a:pt x="1116" y="1871"/>
                  </a:cubicBezTo>
                  <a:cubicBezTo>
                    <a:pt x="1166" y="1871"/>
                    <a:pt x="1166" y="1871"/>
                    <a:pt x="1166" y="1871"/>
                  </a:cubicBezTo>
                  <a:cubicBezTo>
                    <a:pt x="1166" y="1850"/>
                    <a:pt x="1166" y="1850"/>
                    <a:pt x="1166" y="1850"/>
                  </a:cubicBezTo>
                  <a:cubicBezTo>
                    <a:pt x="1116" y="1850"/>
                    <a:pt x="1116" y="1850"/>
                    <a:pt x="1116" y="1850"/>
                  </a:cubicBezTo>
                  <a:close/>
                  <a:moveTo>
                    <a:pt x="1121" y="1856"/>
                  </a:moveTo>
                  <a:cubicBezTo>
                    <a:pt x="1121" y="1864"/>
                    <a:pt x="1121" y="1864"/>
                    <a:pt x="1121" y="1864"/>
                  </a:cubicBezTo>
                  <a:cubicBezTo>
                    <a:pt x="1160" y="1864"/>
                    <a:pt x="1160" y="1864"/>
                    <a:pt x="1160" y="1864"/>
                  </a:cubicBezTo>
                  <a:cubicBezTo>
                    <a:pt x="1160" y="1856"/>
                    <a:pt x="1160" y="1856"/>
                    <a:pt x="1160" y="1856"/>
                  </a:cubicBezTo>
                  <a:cubicBezTo>
                    <a:pt x="1121" y="1856"/>
                    <a:pt x="1121" y="1856"/>
                    <a:pt x="1121" y="1856"/>
                  </a:cubicBezTo>
                  <a:close/>
                  <a:moveTo>
                    <a:pt x="1116" y="1876"/>
                  </a:moveTo>
                  <a:cubicBezTo>
                    <a:pt x="1116" y="1897"/>
                    <a:pt x="1116" y="1897"/>
                    <a:pt x="1116" y="1897"/>
                  </a:cubicBezTo>
                  <a:cubicBezTo>
                    <a:pt x="1166" y="1897"/>
                    <a:pt x="1166" y="1897"/>
                    <a:pt x="1166" y="1897"/>
                  </a:cubicBezTo>
                  <a:cubicBezTo>
                    <a:pt x="1166" y="1876"/>
                    <a:pt x="1166" y="1876"/>
                    <a:pt x="1166" y="1876"/>
                  </a:cubicBezTo>
                  <a:cubicBezTo>
                    <a:pt x="1116" y="1876"/>
                    <a:pt x="1116" y="1876"/>
                    <a:pt x="1116" y="1876"/>
                  </a:cubicBezTo>
                  <a:close/>
                  <a:moveTo>
                    <a:pt x="1121" y="1881"/>
                  </a:moveTo>
                  <a:cubicBezTo>
                    <a:pt x="1121" y="1890"/>
                    <a:pt x="1121" y="1890"/>
                    <a:pt x="1121" y="1890"/>
                  </a:cubicBezTo>
                  <a:cubicBezTo>
                    <a:pt x="1160" y="1890"/>
                    <a:pt x="1160" y="1890"/>
                    <a:pt x="1160" y="1890"/>
                  </a:cubicBezTo>
                  <a:cubicBezTo>
                    <a:pt x="1160" y="1881"/>
                    <a:pt x="1160" y="1881"/>
                    <a:pt x="1160" y="1881"/>
                  </a:cubicBezTo>
                  <a:cubicBezTo>
                    <a:pt x="1121" y="1881"/>
                    <a:pt x="1121" y="1881"/>
                    <a:pt x="1121" y="1881"/>
                  </a:cubicBezTo>
                  <a:close/>
                  <a:moveTo>
                    <a:pt x="1116" y="1823"/>
                  </a:moveTo>
                  <a:cubicBezTo>
                    <a:pt x="1116" y="1844"/>
                    <a:pt x="1116" y="1844"/>
                    <a:pt x="1116" y="1844"/>
                  </a:cubicBezTo>
                  <a:cubicBezTo>
                    <a:pt x="1166" y="1844"/>
                    <a:pt x="1166" y="1844"/>
                    <a:pt x="1166" y="1844"/>
                  </a:cubicBezTo>
                  <a:cubicBezTo>
                    <a:pt x="1166" y="1823"/>
                    <a:pt x="1166" y="1823"/>
                    <a:pt x="1166" y="1823"/>
                  </a:cubicBezTo>
                  <a:cubicBezTo>
                    <a:pt x="1116" y="1823"/>
                    <a:pt x="1116" y="1823"/>
                    <a:pt x="1116" y="1823"/>
                  </a:cubicBezTo>
                  <a:close/>
                  <a:moveTo>
                    <a:pt x="1121" y="1828"/>
                  </a:moveTo>
                  <a:cubicBezTo>
                    <a:pt x="1121" y="1837"/>
                    <a:pt x="1121" y="1837"/>
                    <a:pt x="1121" y="1837"/>
                  </a:cubicBezTo>
                  <a:cubicBezTo>
                    <a:pt x="1160" y="1837"/>
                    <a:pt x="1160" y="1837"/>
                    <a:pt x="1160" y="1837"/>
                  </a:cubicBezTo>
                  <a:cubicBezTo>
                    <a:pt x="1160" y="1828"/>
                    <a:pt x="1160" y="1828"/>
                    <a:pt x="1160" y="1828"/>
                  </a:cubicBezTo>
                  <a:cubicBezTo>
                    <a:pt x="1121" y="1828"/>
                    <a:pt x="1121" y="1828"/>
                    <a:pt x="1121" y="1828"/>
                  </a:cubicBezTo>
                  <a:close/>
                  <a:moveTo>
                    <a:pt x="1160" y="1803"/>
                  </a:moveTo>
                  <a:cubicBezTo>
                    <a:pt x="1121" y="1803"/>
                    <a:pt x="1121" y="1803"/>
                    <a:pt x="1121" y="1803"/>
                  </a:cubicBezTo>
                  <a:cubicBezTo>
                    <a:pt x="1121" y="1810"/>
                    <a:pt x="1121" y="1810"/>
                    <a:pt x="1121" y="1810"/>
                  </a:cubicBezTo>
                  <a:cubicBezTo>
                    <a:pt x="1160" y="1810"/>
                    <a:pt x="1160" y="1810"/>
                    <a:pt x="1160" y="1810"/>
                  </a:cubicBezTo>
                  <a:cubicBezTo>
                    <a:pt x="1160" y="1803"/>
                    <a:pt x="1160" y="1803"/>
                    <a:pt x="1160" y="1803"/>
                  </a:cubicBezTo>
                  <a:close/>
                  <a:moveTo>
                    <a:pt x="1992" y="1687"/>
                  </a:moveTo>
                  <a:cubicBezTo>
                    <a:pt x="1984" y="1687"/>
                    <a:pt x="1984" y="1687"/>
                    <a:pt x="1984" y="1687"/>
                  </a:cubicBezTo>
                  <a:cubicBezTo>
                    <a:pt x="1984" y="1744"/>
                    <a:pt x="1984" y="1744"/>
                    <a:pt x="1984" y="1744"/>
                  </a:cubicBezTo>
                  <a:cubicBezTo>
                    <a:pt x="1992" y="1736"/>
                    <a:pt x="1992" y="1736"/>
                    <a:pt x="1992" y="1736"/>
                  </a:cubicBezTo>
                  <a:cubicBezTo>
                    <a:pt x="1992" y="1687"/>
                    <a:pt x="1992" y="1687"/>
                    <a:pt x="1992" y="1687"/>
                  </a:cubicBezTo>
                  <a:close/>
                  <a:moveTo>
                    <a:pt x="1979" y="1687"/>
                  </a:moveTo>
                  <a:cubicBezTo>
                    <a:pt x="1971" y="1687"/>
                    <a:pt x="1971" y="1687"/>
                    <a:pt x="1971" y="1687"/>
                  </a:cubicBezTo>
                  <a:cubicBezTo>
                    <a:pt x="1971" y="1760"/>
                    <a:pt x="1971" y="1760"/>
                    <a:pt x="1971" y="1760"/>
                  </a:cubicBezTo>
                  <a:cubicBezTo>
                    <a:pt x="1979" y="1760"/>
                    <a:pt x="1979" y="1760"/>
                    <a:pt x="1979" y="1760"/>
                  </a:cubicBezTo>
                  <a:cubicBezTo>
                    <a:pt x="1979" y="1687"/>
                    <a:pt x="1979" y="1687"/>
                    <a:pt x="1979" y="1687"/>
                  </a:cubicBezTo>
                  <a:close/>
                  <a:moveTo>
                    <a:pt x="2103" y="1731"/>
                  </a:moveTo>
                  <a:cubicBezTo>
                    <a:pt x="2003" y="1731"/>
                    <a:pt x="2003" y="1731"/>
                    <a:pt x="2003" y="1731"/>
                  </a:cubicBezTo>
                  <a:cubicBezTo>
                    <a:pt x="1983" y="1760"/>
                    <a:pt x="1983" y="1760"/>
                    <a:pt x="1983" y="1760"/>
                  </a:cubicBezTo>
                  <a:cubicBezTo>
                    <a:pt x="2121" y="1760"/>
                    <a:pt x="2121" y="1760"/>
                    <a:pt x="2121" y="1760"/>
                  </a:cubicBezTo>
                  <a:cubicBezTo>
                    <a:pt x="2122" y="1758"/>
                    <a:pt x="2123" y="1757"/>
                    <a:pt x="2124" y="1755"/>
                  </a:cubicBezTo>
                  <a:cubicBezTo>
                    <a:pt x="2103" y="1731"/>
                    <a:pt x="2103" y="1731"/>
                    <a:pt x="2103" y="1731"/>
                  </a:cubicBezTo>
                  <a:close/>
                  <a:moveTo>
                    <a:pt x="2020" y="1622"/>
                  </a:moveTo>
                  <a:cubicBezTo>
                    <a:pt x="1999" y="1622"/>
                    <a:pt x="1999" y="1622"/>
                    <a:pt x="1999" y="1622"/>
                  </a:cubicBezTo>
                  <a:cubicBezTo>
                    <a:pt x="1999" y="1724"/>
                    <a:pt x="1999" y="1724"/>
                    <a:pt x="1999" y="1724"/>
                  </a:cubicBezTo>
                  <a:cubicBezTo>
                    <a:pt x="2020" y="1724"/>
                    <a:pt x="2020" y="1724"/>
                    <a:pt x="2020" y="1724"/>
                  </a:cubicBezTo>
                  <a:cubicBezTo>
                    <a:pt x="2020" y="1622"/>
                    <a:pt x="2020" y="1622"/>
                    <a:pt x="2020" y="1622"/>
                  </a:cubicBezTo>
                  <a:close/>
                  <a:moveTo>
                    <a:pt x="2104" y="1622"/>
                  </a:moveTo>
                  <a:cubicBezTo>
                    <a:pt x="2082" y="1622"/>
                    <a:pt x="2082" y="1622"/>
                    <a:pt x="2082" y="1622"/>
                  </a:cubicBezTo>
                  <a:cubicBezTo>
                    <a:pt x="2082" y="1724"/>
                    <a:pt x="2082" y="1724"/>
                    <a:pt x="2082" y="1724"/>
                  </a:cubicBezTo>
                  <a:cubicBezTo>
                    <a:pt x="2104" y="1724"/>
                    <a:pt x="2104" y="1724"/>
                    <a:pt x="2104" y="1724"/>
                  </a:cubicBezTo>
                  <a:cubicBezTo>
                    <a:pt x="2104" y="1622"/>
                    <a:pt x="2104" y="1622"/>
                    <a:pt x="2104" y="1622"/>
                  </a:cubicBezTo>
                  <a:close/>
                  <a:moveTo>
                    <a:pt x="2088" y="1581"/>
                  </a:moveTo>
                  <a:cubicBezTo>
                    <a:pt x="2010" y="1581"/>
                    <a:pt x="2010" y="1581"/>
                    <a:pt x="2010" y="1581"/>
                  </a:cubicBezTo>
                  <a:cubicBezTo>
                    <a:pt x="2010" y="1615"/>
                    <a:pt x="2010" y="1615"/>
                    <a:pt x="2010" y="1615"/>
                  </a:cubicBezTo>
                  <a:cubicBezTo>
                    <a:pt x="2026" y="1615"/>
                    <a:pt x="2026" y="1615"/>
                    <a:pt x="2026" y="1615"/>
                  </a:cubicBezTo>
                  <a:cubicBezTo>
                    <a:pt x="2026" y="1638"/>
                    <a:pt x="2026" y="1638"/>
                    <a:pt x="2026" y="1638"/>
                  </a:cubicBezTo>
                  <a:cubicBezTo>
                    <a:pt x="2072" y="1638"/>
                    <a:pt x="2072" y="1638"/>
                    <a:pt x="2072" y="1638"/>
                  </a:cubicBezTo>
                  <a:cubicBezTo>
                    <a:pt x="2072" y="1615"/>
                    <a:pt x="2072" y="1615"/>
                    <a:pt x="2072" y="1615"/>
                  </a:cubicBezTo>
                  <a:cubicBezTo>
                    <a:pt x="2088" y="1615"/>
                    <a:pt x="2088" y="1615"/>
                    <a:pt x="2088" y="1615"/>
                  </a:cubicBezTo>
                  <a:cubicBezTo>
                    <a:pt x="2088" y="1581"/>
                    <a:pt x="2088" y="1581"/>
                    <a:pt x="2088" y="1581"/>
                  </a:cubicBezTo>
                  <a:close/>
                  <a:moveTo>
                    <a:pt x="369" y="1687"/>
                  </a:moveTo>
                  <a:cubicBezTo>
                    <a:pt x="369" y="1736"/>
                    <a:pt x="369" y="1736"/>
                    <a:pt x="369" y="1736"/>
                  </a:cubicBezTo>
                  <a:cubicBezTo>
                    <a:pt x="376" y="1744"/>
                    <a:pt x="376" y="1744"/>
                    <a:pt x="376" y="1744"/>
                  </a:cubicBezTo>
                  <a:cubicBezTo>
                    <a:pt x="376" y="1687"/>
                    <a:pt x="376" y="1687"/>
                    <a:pt x="376" y="1687"/>
                  </a:cubicBezTo>
                  <a:cubicBezTo>
                    <a:pt x="369" y="1687"/>
                    <a:pt x="369" y="1687"/>
                    <a:pt x="369" y="1687"/>
                  </a:cubicBezTo>
                  <a:close/>
                  <a:moveTo>
                    <a:pt x="382" y="1687"/>
                  </a:moveTo>
                  <a:cubicBezTo>
                    <a:pt x="382" y="1760"/>
                    <a:pt x="382" y="1760"/>
                    <a:pt x="382" y="1760"/>
                  </a:cubicBezTo>
                  <a:cubicBezTo>
                    <a:pt x="389" y="1760"/>
                    <a:pt x="389" y="1760"/>
                    <a:pt x="389" y="1760"/>
                  </a:cubicBezTo>
                  <a:cubicBezTo>
                    <a:pt x="389" y="1687"/>
                    <a:pt x="389" y="1687"/>
                    <a:pt x="389" y="1687"/>
                  </a:cubicBezTo>
                  <a:cubicBezTo>
                    <a:pt x="382" y="1687"/>
                    <a:pt x="382" y="1687"/>
                    <a:pt x="382" y="1687"/>
                  </a:cubicBezTo>
                  <a:close/>
                  <a:moveTo>
                    <a:pt x="257" y="1731"/>
                  </a:moveTo>
                  <a:cubicBezTo>
                    <a:pt x="233" y="1760"/>
                    <a:pt x="233" y="1760"/>
                    <a:pt x="233" y="1760"/>
                  </a:cubicBezTo>
                  <a:cubicBezTo>
                    <a:pt x="377" y="1760"/>
                    <a:pt x="377" y="1760"/>
                    <a:pt x="377" y="1760"/>
                  </a:cubicBezTo>
                  <a:cubicBezTo>
                    <a:pt x="358" y="1731"/>
                    <a:pt x="358" y="1731"/>
                    <a:pt x="358" y="1731"/>
                  </a:cubicBezTo>
                  <a:cubicBezTo>
                    <a:pt x="257" y="1731"/>
                    <a:pt x="257" y="1731"/>
                    <a:pt x="257" y="1731"/>
                  </a:cubicBezTo>
                  <a:close/>
                  <a:moveTo>
                    <a:pt x="340" y="1622"/>
                  </a:moveTo>
                  <a:cubicBezTo>
                    <a:pt x="340" y="1724"/>
                    <a:pt x="340" y="1724"/>
                    <a:pt x="340" y="1724"/>
                  </a:cubicBezTo>
                  <a:cubicBezTo>
                    <a:pt x="362" y="1724"/>
                    <a:pt x="362" y="1724"/>
                    <a:pt x="362" y="1724"/>
                  </a:cubicBezTo>
                  <a:cubicBezTo>
                    <a:pt x="362" y="1622"/>
                    <a:pt x="362" y="1622"/>
                    <a:pt x="362" y="1622"/>
                  </a:cubicBezTo>
                  <a:cubicBezTo>
                    <a:pt x="340" y="1622"/>
                    <a:pt x="340" y="1622"/>
                    <a:pt x="340" y="1622"/>
                  </a:cubicBezTo>
                  <a:close/>
                  <a:moveTo>
                    <a:pt x="257" y="1622"/>
                  </a:moveTo>
                  <a:cubicBezTo>
                    <a:pt x="257" y="1724"/>
                    <a:pt x="257" y="1724"/>
                    <a:pt x="257" y="1724"/>
                  </a:cubicBezTo>
                  <a:cubicBezTo>
                    <a:pt x="279" y="1724"/>
                    <a:pt x="279" y="1724"/>
                    <a:pt x="279" y="1724"/>
                  </a:cubicBezTo>
                  <a:cubicBezTo>
                    <a:pt x="279" y="1622"/>
                    <a:pt x="279" y="1622"/>
                    <a:pt x="279" y="1622"/>
                  </a:cubicBezTo>
                  <a:cubicBezTo>
                    <a:pt x="257" y="1622"/>
                    <a:pt x="257" y="1622"/>
                    <a:pt x="257" y="1622"/>
                  </a:cubicBezTo>
                  <a:close/>
                  <a:moveTo>
                    <a:pt x="273" y="1581"/>
                  </a:moveTo>
                  <a:cubicBezTo>
                    <a:pt x="273" y="1615"/>
                    <a:pt x="273" y="1615"/>
                    <a:pt x="273" y="1615"/>
                  </a:cubicBezTo>
                  <a:cubicBezTo>
                    <a:pt x="289" y="1615"/>
                    <a:pt x="289" y="1615"/>
                    <a:pt x="289" y="1615"/>
                  </a:cubicBezTo>
                  <a:cubicBezTo>
                    <a:pt x="289" y="1638"/>
                    <a:pt x="289" y="1638"/>
                    <a:pt x="289" y="1638"/>
                  </a:cubicBezTo>
                  <a:cubicBezTo>
                    <a:pt x="334" y="1638"/>
                    <a:pt x="334" y="1638"/>
                    <a:pt x="334" y="1638"/>
                  </a:cubicBezTo>
                  <a:cubicBezTo>
                    <a:pt x="334" y="1615"/>
                    <a:pt x="334" y="1615"/>
                    <a:pt x="334" y="1615"/>
                  </a:cubicBezTo>
                  <a:cubicBezTo>
                    <a:pt x="350" y="1615"/>
                    <a:pt x="350" y="1615"/>
                    <a:pt x="350" y="1615"/>
                  </a:cubicBezTo>
                  <a:cubicBezTo>
                    <a:pt x="350" y="1581"/>
                    <a:pt x="350" y="1581"/>
                    <a:pt x="350" y="1581"/>
                  </a:cubicBezTo>
                  <a:cubicBezTo>
                    <a:pt x="273" y="1581"/>
                    <a:pt x="273" y="1581"/>
                    <a:pt x="273" y="1581"/>
                  </a:cubicBezTo>
                  <a:close/>
                  <a:moveTo>
                    <a:pt x="844" y="1797"/>
                  </a:moveTo>
                  <a:cubicBezTo>
                    <a:pt x="844" y="1762"/>
                    <a:pt x="844" y="1762"/>
                    <a:pt x="844" y="1762"/>
                  </a:cubicBezTo>
                  <a:cubicBezTo>
                    <a:pt x="891" y="1762"/>
                    <a:pt x="891" y="1762"/>
                    <a:pt x="891" y="1762"/>
                  </a:cubicBezTo>
                  <a:cubicBezTo>
                    <a:pt x="891" y="1797"/>
                    <a:pt x="891" y="1797"/>
                    <a:pt x="891" y="1797"/>
                  </a:cubicBezTo>
                  <a:cubicBezTo>
                    <a:pt x="844" y="1797"/>
                    <a:pt x="844" y="1797"/>
                    <a:pt x="844" y="1797"/>
                  </a:cubicBezTo>
                  <a:close/>
                  <a:moveTo>
                    <a:pt x="917" y="1797"/>
                  </a:moveTo>
                  <a:cubicBezTo>
                    <a:pt x="917" y="1762"/>
                    <a:pt x="917" y="1762"/>
                    <a:pt x="917" y="1762"/>
                  </a:cubicBezTo>
                  <a:cubicBezTo>
                    <a:pt x="970" y="1762"/>
                    <a:pt x="970" y="1762"/>
                    <a:pt x="970" y="1762"/>
                  </a:cubicBezTo>
                  <a:cubicBezTo>
                    <a:pt x="970" y="1797"/>
                    <a:pt x="970" y="1797"/>
                    <a:pt x="970" y="1797"/>
                  </a:cubicBezTo>
                  <a:cubicBezTo>
                    <a:pt x="917" y="1797"/>
                    <a:pt x="917" y="1797"/>
                    <a:pt x="917" y="1797"/>
                  </a:cubicBezTo>
                  <a:close/>
                  <a:moveTo>
                    <a:pt x="996" y="1797"/>
                  </a:moveTo>
                  <a:cubicBezTo>
                    <a:pt x="996" y="1759"/>
                    <a:pt x="996" y="1759"/>
                    <a:pt x="996" y="1759"/>
                  </a:cubicBezTo>
                  <a:cubicBezTo>
                    <a:pt x="1047" y="1759"/>
                    <a:pt x="1047" y="1759"/>
                    <a:pt x="1047" y="1759"/>
                  </a:cubicBezTo>
                  <a:cubicBezTo>
                    <a:pt x="1047" y="1797"/>
                    <a:pt x="1047" y="1797"/>
                    <a:pt x="1047" y="1797"/>
                  </a:cubicBezTo>
                  <a:cubicBezTo>
                    <a:pt x="996" y="1797"/>
                    <a:pt x="996" y="1797"/>
                    <a:pt x="996" y="1797"/>
                  </a:cubicBezTo>
                  <a:close/>
                  <a:moveTo>
                    <a:pt x="1315" y="1797"/>
                  </a:moveTo>
                  <a:cubicBezTo>
                    <a:pt x="1315" y="1759"/>
                    <a:pt x="1315" y="1759"/>
                    <a:pt x="1315" y="1759"/>
                  </a:cubicBezTo>
                  <a:cubicBezTo>
                    <a:pt x="1365" y="1759"/>
                    <a:pt x="1365" y="1759"/>
                    <a:pt x="1365" y="1759"/>
                  </a:cubicBezTo>
                  <a:cubicBezTo>
                    <a:pt x="1365" y="1797"/>
                    <a:pt x="1365" y="1797"/>
                    <a:pt x="1365" y="1797"/>
                  </a:cubicBezTo>
                  <a:cubicBezTo>
                    <a:pt x="1315" y="1797"/>
                    <a:pt x="1315" y="1797"/>
                    <a:pt x="1315" y="1797"/>
                  </a:cubicBezTo>
                  <a:close/>
                  <a:moveTo>
                    <a:pt x="1392" y="1797"/>
                  </a:moveTo>
                  <a:cubicBezTo>
                    <a:pt x="1392" y="1762"/>
                    <a:pt x="1392" y="1762"/>
                    <a:pt x="1392" y="1762"/>
                  </a:cubicBezTo>
                  <a:cubicBezTo>
                    <a:pt x="1444" y="1762"/>
                    <a:pt x="1444" y="1762"/>
                    <a:pt x="1444" y="1762"/>
                  </a:cubicBezTo>
                  <a:cubicBezTo>
                    <a:pt x="1444" y="1797"/>
                    <a:pt x="1444" y="1797"/>
                    <a:pt x="1444" y="1797"/>
                  </a:cubicBezTo>
                  <a:cubicBezTo>
                    <a:pt x="1392" y="1797"/>
                    <a:pt x="1392" y="1797"/>
                    <a:pt x="1392" y="1797"/>
                  </a:cubicBezTo>
                  <a:close/>
                  <a:moveTo>
                    <a:pt x="1471" y="1797"/>
                  </a:moveTo>
                  <a:cubicBezTo>
                    <a:pt x="1471" y="1762"/>
                    <a:pt x="1471" y="1762"/>
                    <a:pt x="1471" y="1762"/>
                  </a:cubicBezTo>
                  <a:cubicBezTo>
                    <a:pt x="1517" y="1762"/>
                    <a:pt x="1517" y="1762"/>
                    <a:pt x="1517" y="1762"/>
                  </a:cubicBezTo>
                  <a:cubicBezTo>
                    <a:pt x="1517" y="1797"/>
                    <a:pt x="1517" y="1797"/>
                    <a:pt x="1517" y="1797"/>
                  </a:cubicBezTo>
                  <a:cubicBezTo>
                    <a:pt x="1471" y="1797"/>
                    <a:pt x="1471" y="1797"/>
                    <a:pt x="1471" y="1797"/>
                  </a:cubicBezTo>
                  <a:close/>
                  <a:moveTo>
                    <a:pt x="1453" y="1280"/>
                  </a:moveTo>
                  <a:cubicBezTo>
                    <a:pt x="1452" y="1273"/>
                    <a:pt x="1452" y="1266"/>
                    <a:pt x="1452" y="1259"/>
                  </a:cubicBezTo>
                  <a:cubicBezTo>
                    <a:pt x="1478" y="1240"/>
                    <a:pt x="1502" y="1221"/>
                    <a:pt x="1522" y="1192"/>
                  </a:cubicBezTo>
                  <a:cubicBezTo>
                    <a:pt x="1540" y="1166"/>
                    <a:pt x="1558" y="1163"/>
                    <a:pt x="1576" y="1187"/>
                  </a:cubicBezTo>
                  <a:cubicBezTo>
                    <a:pt x="1591" y="1210"/>
                    <a:pt x="1605" y="1233"/>
                    <a:pt x="1620" y="1256"/>
                  </a:cubicBezTo>
                  <a:cubicBezTo>
                    <a:pt x="1636" y="1272"/>
                    <a:pt x="1662" y="1281"/>
                    <a:pt x="1688" y="1234"/>
                  </a:cubicBezTo>
                  <a:cubicBezTo>
                    <a:pt x="1699" y="1214"/>
                    <a:pt x="1707" y="1195"/>
                    <a:pt x="1718" y="1173"/>
                  </a:cubicBezTo>
                  <a:cubicBezTo>
                    <a:pt x="1735" y="1143"/>
                    <a:pt x="1751" y="1169"/>
                    <a:pt x="1763" y="1204"/>
                  </a:cubicBezTo>
                  <a:cubicBezTo>
                    <a:pt x="1766" y="1217"/>
                    <a:pt x="1782" y="1230"/>
                    <a:pt x="1827" y="1239"/>
                  </a:cubicBezTo>
                  <a:cubicBezTo>
                    <a:pt x="1846" y="1255"/>
                    <a:pt x="1863" y="1275"/>
                    <a:pt x="1875" y="1302"/>
                  </a:cubicBezTo>
                  <a:cubicBezTo>
                    <a:pt x="1884" y="1335"/>
                    <a:pt x="1893" y="1368"/>
                    <a:pt x="1902" y="1402"/>
                  </a:cubicBezTo>
                  <a:cubicBezTo>
                    <a:pt x="1908" y="1429"/>
                    <a:pt x="1910" y="1484"/>
                    <a:pt x="1912" y="1521"/>
                  </a:cubicBezTo>
                  <a:cubicBezTo>
                    <a:pt x="1902" y="1544"/>
                    <a:pt x="1891" y="1566"/>
                    <a:pt x="1879" y="1588"/>
                  </a:cubicBezTo>
                  <a:cubicBezTo>
                    <a:pt x="1843" y="1562"/>
                    <a:pt x="1843" y="1562"/>
                    <a:pt x="1843" y="1562"/>
                  </a:cubicBezTo>
                  <a:cubicBezTo>
                    <a:pt x="1843" y="1536"/>
                    <a:pt x="1843" y="1536"/>
                    <a:pt x="1843" y="1536"/>
                  </a:cubicBezTo>
                  <a:cubicBezTo>
                    <a:pt x="1824" y="1537"/>
                    <a:pt x="1824" y="1537"/>
                    <a:pt x="1824" y="1537"/>
                  </a:cubicBezTo>
                  <a:cubicBezTo>
                    <a:pt x="1824" y="1546"/>
                    <a:pt x="1824" y="1546"/>
                    <a:pt x="1824" y="1546"/>
                  </a:cubicBezTo>
                  <a:cubicBezTo>
                    <a:pt x="1809" y="1546"/>
                    <a:pt x="1809" y="1546"/>
                    <a:pt x="1809" y="1546"/>
                  </a:cubicBezTo>
                  <a:cubicBezTo>
                    <a:pt x="1809" y="1562"/>
                    <a:pt x="1809" y="1562"/>
                    <a:pt x="1809" y="1562"/>
                  </a:cubicBezTo>
                  <a:cubicBezTo>
                    <a:pt x="1527" y="1562"/>
                    <a:pt x="1527" y="1562"/>
                    <a:pt x="1527" y="1562"/>
                  </a:cubicBezTo>
                  <a:cubicBezTo>
                    <a:pt x="1527" y="1484"/>
                    <a:pt x="1527" y="1484"/>
                    <a:pt x="1527" y="1484"/>
                  </a:cubicBezTo>
                  <a:cubicBezTo>
                    <a:pt x="1556" y="1463"/>
                    <a:pt x="1573" y="1433"/>
                    <a:pt x="1587" y="1400"/>
                  </a:cubicBezTo>
                  <a:cubicBezTo>
                    <a:pt x="1567" y="1416"/>
                    <a:pt x="1547" y="1427"/>
                    <a:pt x="1524" y="1433"/>
                  </a:cubicBezTo>
                  <a:cubicBezTo>
                    <a:pt x="1520" y="1363"/>
                    <a:pt x="1493" y="1322"/>
                    <a:pt x="1468" y="1304"/>
                  </a:cubicBezTo>
                  <a:cubicBezTo>
                    <a:pt x="1474" y="1293"/>
                    <a:pt x="1480" y="1281"/>
                    <a:pt x="1486" y="1269"/>
                  </a:cubicBezTo>
                  <a:cubicBezTo>
                    <a:pt x="1475" y="1274"/>
                    <a:pt x="1464" y="1278"/>
                    <a:pt x="1453" y="1280"/>
                  </a:cubicBezTo>
                  <a:close/>
                  <a:moveTo>
                    <a:pt x="1927" y="1483"/>
                  </a:moveTo>
                  <a:cubicBezTo>
                    <a:pt x="1926" y="1441"/>
                    <a:pt x="1917" y="1397"/>
                    <a:pt x="1911" y="1358"/>
                  </a:cubicBezTo>
                  <a:cubicBezTo>
                    <a:pt x="1897" y="1323"/>
                    <a:pt x="1889" y="1291"/>
                    <a:pt x="1861" y="1250"/>
                  </a:cubicBezTo>
                  <a:cubicBezTo>
                    <a:pt x="1839" y="1216"/>
                    <a:pt x="1815" y="1216"/>
                    <a:pt x="1791" y="1215"/>
                  </a:cubicBezTo>
                  <a:cubicBezTo>
                    <a:pt x="1772" y="1197"/>
                    <a:pt x="1771" y="1182"/>
                    <a:pt x="1766" y="1167"/>
                  </a:cubicBezTo>
                  <a:cubicBezTo>
                    <a:pt x="1746" y="1132"/>
                    <a:pt x="1713" y="1119"/>
                    <a:pt x="1678" y="1227"/>
                  </a:cubicBezTo>
                  <a:cubicBezTo>
                    <a:pt x="1665" y="1243"/>
                    <a:pt x="1652" y="1256"/>
                    <a:pt x="1638" y="1249"/>
                  </a:cubicBezTo>
                  <a:cubicBezTo>
                    <a:pt x="1613" y="1224"/>
                    <a:pt x="1604" y="1202"/>
                    <a:pt x="1592" y="1180"/>
                  </a:cubicBezTo>
                  <a:cubicBezTo>
                    <a:pt x="1560" y="1144"/>
                    <a:pt x="1535" y="1148"/>
                    <a:pt x="1514" y="1178"/>
                  </a:cubicBezTo>
                  <a:cubicBezTo>
                    <a:pt x="1490" y="1203"/>
                    <a:pt x="1467" y="1228"/>
                    <a:pt x="1450" y="1238"/>
                  </a:cubicBezTo>
                  <a:cubicBezTo>
                    <a:pt x="1450" y="1222"/>
                    <a:pt x="1449" y="1204"/>
                    <a:pt x="1448" y="1189"/>
                  </a:cubicBezTo>
                  <a:cubicBezTo>
                    <a:pt x="1488" y="1154"/>
                    <a:pt x="1521" y="1118"/>
                    <a:pt x="1551" y="1086"/>
                  </a:cubicBezTo>
                  <a:cubicBezTo>
                    <a:pt x="1566" y="1069"/>
                    <a:pt x="1587" y="1068"/>
                    <a:pt x="1611" y="1086"/>
                  </a:cubicBezTo>
                  <a:cubicBezTo>
                    <a:pt x="1625" y="1095"/>
                    <a:pt x="1644" y="1085"/>
                    <a:pt x="1653" y="1060"/>
                  </a:cubicBezTo>
                  <a:cubicBezTo>
                    <a:pt x="1661" y="1036"/>
                    <a:pt x="1659" y="1014"/>
                    <a:pt x="1671" y="989"/>
                  </a:cubicBezTo>
                  <a:cubicBezTo>
                    <a:pt x="1674" y="987"/>
                    <a:pt x="1676" y="986"/>
                    <a:pt x="1679" y="984"/>
                  </a:cubicBezTo>
                  <a:cubicBezTo>
                    <a:pt x="1688" y="995"/>
                    <a:pt x="1698" y="1004"/>
                    <a:pt x="1714" y="1005"/>
                  </a:cubicBezTo>
                  <a:cubicBezTo>
                    <a:pt x="1721" y="1026"/>
                    <a:pt x="1729" y="1045"/>
                    <a:pt x="1740" y="1063"/>
                  </a:cubicBezTo>
                  <a:cubicBezTo>
                    <a:pt x="1767" y="1046"/>
                    <a:pt x="1789" y="1040"/>
                    <a:pt x="1798" y="1059"/>
                  </a:cubicBezTo>
                  <a:cubicBezTo>
                    <a:pt x="1812" y="1077"/>
                    <a:pt x="1814" y="1101"/>
                    <a:pt x="1813" y="1126"/>
                  </a:cubicBezTo>
                  <a:cubicBezTo>
                    <a:pt x="1818" y="1144"/>
                    <a:pt x="1826" y="1156"/>
                    <a:pt x="1851" y="1130"/>
                  </a:cubicBezTo>
                  <a:cubicBezTo>
                    <a:pt x="1868" y="1113"/>
                    <a:pt x="1878" y="1114"/>
                    <a:pt x="1889" y="1132"/>
                  </a:cubicBezTo>
                  <a:cubicBezTo>
                    <a:pt x="1901" y="1152"/>
                    <a:pt x="1915" y="1171"/>
                    <a:pt x="1929" y="1191"/>
                  </a:cubicBezTo>
                  <a:cubicBezTo>
                    <a:pt x="1942" y="1202"/>
                    <a:pt x="1959" y="1209"/>
                    <a:pt x="1978" y="1214"/>
                  </a:cubicBezTo>
                  <a:cubicBezTo>
                    <a:pt x="1977" y="1309"/>
                    <a:pt x="1959" y="1399"/>
                    <a:pt x="1927" y="1483"/>
                  </a:cubicBezTo>
                  <a:close/>
                  <a:moveTo>
                    <a:pt x="1978" y="1197"/>
                  </a:moveTo>
                  <a:cubicBezTo>
                    <a:pt x="1937" y="1191"/>
                    <a:pt x="1920" y="1153"/>
                    <a:pt x="1901" y="1118"/>
                  </a:cubicBezTo>
                  <a:cubicBezTo>
                    <a:pt x="1880" y="1087"/>
                    <a:pt x="1855" y="1103"/>
                    <a:pt x="1830" y="1126"/>
                  </a:cubicBezTo>
                  <a:cubicBezTo>
                    <a:pt x="1830" y="1095"/>
                    <a:pt x="1824" y="1071"/>
                    <a:pt x="1815" y="1053"/>
                  </a:cubicBezTo>
                  <a:cubicBezTo>
                    <a:pt x="1798" y="1021"/>
                    <a:pt x="1774" y="1020"/>
                    <a:pt x="1745" y="1040"/>
                  </a:cubicBezTo>
                  <a:cubicBezTo>
                    <a:pt x="1735" y="1024"/>
                    <a:pt x="1728" y="1009"/>
                    <a:pt x="1729" y="993"/>
                  </a:cubicBezTo>
                  <a:cubicBezTo>
                    <a:pt x="1726" y="991"/>
                    <a:pt x="1722" y="990"/>
                    <a:pt x="1719" y="989"/>
                  </a:cubicBezTo>
                  <a:cubicBezTo>
                    <a:pt x="1705" y="988"/>
                    <a:pt x="1697" y="981"/>
                    <a:pt x="1690" y="973"/>
                  </a:cubicBezTo>
                  <a:cubicBezTo>
                    <a:pt x="1683" y="964"/>
                    <a:pt x="1669" y="957"/>
                    <a:pt x="1659" y="974"/>
                  </a:cubicBezTo>
                  <a:cubicBezTo>
                    <a:pt x="1645" y="997"/>
                    <a:pt x="1644" y="1023"/>
                    <a:pt x="1640" y="1048"/>
                  </a:cubicBezTo>
                  <a:cubicBezTo>
                    <a:pt x="1633" y="1066"/>
                    <a:pt x="1626" y="1078"/>
                    <a:pt x="1605" y="1063"/>
                  </a:cubicBezTo>
                  <a:cubicBezTo>
                    <a:pt x="1580" y="1045"/>
                    <a:pt x="1554" y="1055"/>
                    <a:pt x="1531" y="1086"/>
                  </a:cubicBezTo>
                  <a:cubicBezTo>
                    <a:pt x="1506" y="1113"/>
                    <a:pt x="1479" y="1140"/>
                    <a:pt x="1449" y="1167"/>
                  </a:cubicBezTo>
                  <a:cubicBezTo>
                    <a:pt x="1441" y="1093"/>
                    <a:pt x="1431" y="1018"/>
                    <a:pt x="1424" y="944"/>
                  </a:cubicBezTo>
                  <a:cubicBezTo>
                    <a:pt x="1421" y="908"/>
                    <a:pt x="1407" y="877"/>
                    <a:pt x="1378" y="850"/>
                  </a:cubicBezTo>
                  <a:cubicBezTo>
                    <a:pt x="1380" y="849"/>
                    <a:pt x="1381" y="848"/>
                    <a:pt x="1383" y="847"/>
                  </a:cubicBezTo>
                  <a:cubicBezTo>
                    <a:pt x="1381" y="767"/>
                    <a:pt x="1370" y="738"/>
                    <a:pt x="1335" y="691"/>
                  </a:cubicBezTo>
                  <a:cubicBezTo>
                    <a:pt x="1325" y="651"/>
                    <a:pt x="1311" y="610"/>
                    <a:pt x="1272" y="572"/>
                  </a:cubicBezTo>
                  <a:cubicBezTo>
                    <a:pt x="1268" y="556"/>
                    <a:pt x="1259" y="527"/>
                    <a:pt x="1223" y="531"/>
                  </a:cubicBezTo>
                  <a:cubicBezTo>
                    <a:pt x="1215" y="532"/>
                    <a:pt x="1207" y="533"/>
                    <a:pt x="1199" y="535"/>
                  </a:cubicBezTo>
                  <a:cubicBezTo>
                    <a:pt x="1199" y="495"/>
                    <a:pt x="1199" y="495"/>
                    <a:pt x="1199" y="495"/>
                  </a:cubicBezTo>
                  <a:cubicBezTo>
                    <a:pt x="1184" y="495"/>
                    <a:pt x="1184" y="495"/>
                    <a:pt x="1184" y="495"/>
                  </a:cubicBezTo>
                  <a:cubicBezTo>
                    <a:pt x="1184" y="482"/>
                    <a:pt x="1184" y="482"/>
                    <a:pt x="1184" y="482"/>
                  </a:cubicBezTo>
                  <a:cubicBezTo>
                    <a:pt x="1195" y="481"/>
                    <a:pt x="1205" y="468"/>
                    <a:pt x="1205" y="459"/>
                  </a:cubicBezTo>
                  <a:cubicBezTo>
                    <a:pt x="1200" y="462"/>
                    <a:pt x="1190" y="465"/>
                    <a:pt x="1187" y="460"/>
                  </a:cubicBezTo>
                  <a:cubicBezTo>
                    <a:pt x="1183" y="453"/>
                    <a:pt x="1177" y="449"/>
                    <a:pt x="1170" y="439"/>
                  </a:cubicBezTo>
                  <a:cubicBezTo>
                    <a:pt x="1170" y="426"/>
                    <a:pt x="1170" y="426"/>
                    <a:pt x="1170" y="426"/>
                  </a:cubicBezTo>
                  <a:cubicBezTo>
                    <a:pt x="1162" y="426"/>
                    <a:pt x="1162" y="426"/>
                    <a:pt x="1162" y="426"/>
                  </a:cubicBezTo>
                  <a:cubicBezTo>
                    <a:pt x="1162" y="439"/>
                    <a:pt x="1162" y="439"/>
                    <a:pt x="1162" y="439"/>
                  </a:cubicBezTo>
                  <a:cubicBezTo>
                    <a:pt x="1142" y="465"/>
                    <a:pt x="1142" y="465"/>
                    <a:pt x="1142" y="465"/>
                  </a:cubicBezTo>
                  <a:cubicBezTo>
                    <a:pt x="1126" y="459"/>
                    <a:pt x="1126" y="459"/>
                    <a:pt x="1126" y="459"/>
                  </a:cubicBezTo>
                  <a:cubicBezTo>
                    <a:pt x="1130" y="469"/>
                    <a:pt x="1136" y="477"/>
                    <a:pt x="1146" y="484"/>
                  </a:cubicBezTo>
                  <a:cubicBezTo>
                    <a:pt x="1146" y="495"/>
                    <a:pt x="1146" y="495"/>
                    <a:pt x="1146" y="495"/>
                  </a:cubicBezTo>
                  <a:cubicBezTo>
                    <a:pt x="1133" y="495"/>
                    <a:pt x="1133" y="495"/>
                    <a:pt x="1133" y="495"/>
                  </a:cubicBezTo>
                  <a:cubicBezTo>
                    <a:pt x="1133" y="556"/>
                    <a:pt x="1133" y="556"/>
                    <a:pt x="1133" y="556"/>
                  </a:cubicBezTo>
                  <a:cubicBezTo>
                    <a:pt x="1122" y="561"/>
                    <a:pt x="1111" y="566"/>
                    <a:pt x="1100" y="571"/>
                  </a:cubicBezTo>
                  <a:cubicBezTo>
                    <a:pt x="1100" y="569"/>
                    <a:pt x="1100" y="567"/>
                    <a:pt x="1100" y="565"/>
                  </a:cubicBezTo>
                  <a:cubicBezTo>
                    <a:pt x="1113" y="560"/>
                    <a:pt x="1118" y="554"/>
                    <a:pt x="1120" y="547"/>
                  </a:cubicBezTo>
                  <a:cubicBezTo>
                    <a:pt x="1112" y="548"/>
                    <a:pt x="1103" y="549"/>
                    <a:pt x="1095" y="551"/>
                  </a:cubicBezTo>
                  <a:cubicBezTo>
                    <a:pt x="1088" y="545"/>
                    <a:pt x="1083" y="538"/>
                    <a:pt x="1081" y="532"/>
                  </a:cubicBezTo>
                  <a:cubicBezTo>
                    <a:pt x="1079" y="531"/>
                    <a:pt x="1076" y="532"/>
                    <a:pt x="1074" y="532"/>
                  </a:cubicBezTo>
                  <a:cubicBezTo>
                    <a:pt x="1073" y="539"/>
                    <a:pt x="1067" y="545"/>
                    <a:pt x="1060" y="551"/>
                  </a:cubicBezTo>
                  <a:cubicBezTo>
                    <a:pt x="1052" y="551"/>
                    <a:pt x="1044" y="551"/>
                    <a:pt x="1036" y="551"/>
                  </a:cubicBezTo>
                  <a:cubicBezTo>
                    <a:pt x="1038" y="558"/>
                    <a:pt x="1044" y="563"/>
                    <a:pt x="1057" y="566"/>
                  </a:cubicBezTo>
                  <a:cubicBezTo>
                    <a:pt x="1057" y="590"/>
                    <a:pt x="1057" y="590"/>
                    <a:pt x="1057" y="590"/>
                  </a:cubicBezTo>
                  <a:cubicBezTo>
                    <a:pt x="1018" y="607"/>
                    <a:pt x="988" y="634"/>
                    <a:pt x="979" y="690"/>
                  </a:cubicBezTo>
                  <a:cubicBezTo>
                    <a:pt x="952" y="709"/>
                    <a:pt x="927" y="728"/>
                    <a:pt x="924" y="749"/>
                  </a:cubicBezTo>
                  <a:cubicBezTo>
                    <a:pt x="919" y="775"/>
                    <a:pt x="915" y="800"/>
                    <a:pt x="911" y="825"/>
                  </a:cubicBezTo>
                  <a:cubicBezTo>
                    <a:pt x="910" y="825"/>
                    <a:pt x="910" y="825"/>
                    <a:pt x="910" y="825"/>
                  </a:cubicBezTo>
                  <a:cubicBezTo>
                    <a:pt x="874" y="856"/>
                    <a:pt x="854" y="891"/>
                    <a:pt x="850" y="931"/>
                  </a:cubicBezTo>
                  <a:cubicBezTo>
                    <a:pt x="832" y="949"/>
                    <a:pt x="808" y="957"/>
                    <a:pt x="800" y="972"/>
                  </a:cubicBezTo>
                  <a:cubicBezTo>
                    <a:pt x="784" y="1002"/>
                    <a:pt x="772" y="1074"/>
                    <a:pt x="762" y="1130"/>
                  </a:cubicBezTo>
                  <a:cubicBezTo>
                    <a:pt x="754" y="1195"/>
                    <a:pt x="754" y="1195"/>
                    <a:pt x="754" y="1195"/>
                  </a:cubicBezTo>
                  <a:cubicBezTo>
                    <a:pt x="748" y="1188"/>
                    <a:pt x="741" y="1180"/>
                    <a:pt x="734" y="1174"/>
                  </a:cubicBezTo>
                  <a:cubicBezTo>
                    <a:pt x="716" y="1160"/>
                    <a:pt x="697" y="1147"/>
                    <a:pt x="677" y="1183"/>
                  </a:cubicBezTo>
                  <a:cubicBezTo>
                    <a:pt x="656" y="1221"/>
                    <a:pt x="644" y="1210"/>
                    <a:pt x="636" y="1191"/>
                  </a:cubicBezTo>
                  <a:cubicBezTo>
                    <a:pt x="627" y="1168"/>
                    <a:pt x="614" y="1147"/>
                    <a:pt x="600" y="1126"/>
                  </a:cubicBezTo>
                  <a:cubicBezTo>
                    <a:pt x="580" y="1099"/>
                    <a:pt x="544" y="1097"/>
                    <a:pt x="536" y="1128"/>
                  </a:cubicBezTo>
                  <a:cubicBezTo>
                    <a:pt x="523" y="1181"/>
                    <a:pt x="537" y="1198"/>
                    <a:pt x="507" y="1170"/>
                  </a:cubicBezTo>
                  <a:cubicBezTo>
                    <a:pt x="488" y="1152"/>
                    <a:pt x="468" y="1158"/>
                    <a:pt x="451" y="1190"/>
                  </a:cubicBezTo>
                  <a:cubicBezTo>
                    <a:pt x="432" y="1223"/>
                    <a:pt x="405" y="1264"/>
                    <a:pt x="383" y="1279"/>
                  </a:cubicBezTo>
                  <a:cubicBezTo>
                    <a:pt x="381" y="1254"/>
                    <a:pt x="380" y="1229"/>
                    <a:pt x="380" y="1203"/>
                  </a:cubicBezTo>
                  <a:cubicBezTo>
                    <a:pt x="380" y="763"/>
                    <a:pt x="739" y="404"/>
                    <a:pt x="1179" y="404"/>
                  </a:cubicBezTo>
                  <a:cubicBezTo>
                    <a:pt x="1617" y="404"/>
                    <a:pt x="1974" y="760"/>
                    <a:pt x="1978" y="1197"/>
                  </a:cubicBezTo>
                  <a:close/>
                  <a:moveTo>
                    <a:pt x="1067" y="586"/>
                  </a:moveTo>
                  <a:cubicBezTo>
                    <a:pt x="1067" y="579"/>
                    <a:pt x="1067" y="571"/>
                    <a:pt x="1067" y="564"/>
                  </a:cubicBezTo>
                  <a:cubicBezTo>
                    <a:pt x="1069" y="564"/>
                    <a:pt x="1073" y="564"/>
                    <a:pt x="1075" y="564"/>
                  </a:cubicBezTo>
                  <a:cubicBezTo>
                    <a:pt x="1075" y="582"/>
                    <a:pt x="1075" y="582"/>
                    <a:pt x="1075" y="582"/>
                  </a:cubicBezTo>
                  <a:cubicBezTo>
                    <a:pt x="1072" y="584"/>
                    <a:pt x="1070" y="585"/>
                    <a:pt x="1067" y="586"/>
                  </a:cubicBezTo>
                  <a:close/>
                  <a:moveTo>
                    <a:pt x="1084" y="578"/>
                  </a:moveTo>
                  <a:cubicBezTo>
                    <a:pt x="1084" y="573"/>
                    <a:pt x="1084" y="569"/>
                    <a:pt x="1084" y="564"/>
                  </a:cubicBezTo>
                  <a:cubicBezTo>
                    <a:pt x="1086" y="564"/>
                    <a:pt x="1090" y="564"/>
                    <a:pt x="1091" y="564"/>
                  </a:cubicBezTo>
                  <a:cubicBezTo>
                    <a:pt x="1091" y="575"/>
                    <a:pt x="1091" y="575"/>
                    <a:pt x="1091" y="575"/>
                  </a:cubicBezTo>
                  <a:cubicBezTo>
                    <a:pt x="1089" y="576"/>
                    <a:pt x="1087" y="577"/>
                    <a:pt x="1084" y="578"/>
                  </a:cubicBezTo>
                  <a:close/>
                  <a:moveTo>
                    <a:pt x="1159" y="517"/>
                  </a:moveTo>
                  <a:cubicBezTo>
                    <a:pt x="1155" y="517"/>
                    <a:pt x="1152" y="520"/>
                    <a:pt x="1152" y="524"/>
                  </a:cubicBezTo>
                  <a:cubicBezTo>
                    <a:pt x="1152" y="545"/>
                    <a:pt x="1152" y="545"/>
                    <a:pt x="1152" y="545"/>
                  </a:cubicBezTo>
                  <a:cubicBezTo>
                    <a:pt x="1152" y="546"/>
                    <a:pt x="1152" y="547"/>
                    <a:pt x="1152" y="548"/>
                  </a:cubicBezTo>
                  <a:cubicBezTo>
                    <a:pt x="1148" y="550"/>
                    <a:pt x="1144" y="551"/>
                    <a:pt x="1140" y="553"/>
                  </a:cubicBezTo>
                  <a:cubicBezTo>
                    <a:pt x="1140" y="503"/>
                    <a:pt x="1140" y="503"/>
                    <a:pt x="1140" y="503"/>
                  </a:cubicBezTo>
                  <a:cubicBezTo>
                    <a:pt x="1195" y="503"/>
                    <a:pt x="1195" y="503"/>
                    <a:pt x="1195" y="503"/>
                  </a:cubicBezTo>
                  <a:cubicBezTo>
                    <a:pt x="1195" y="536"/>
                    <a:pt x="1195" y="536"/>
                    <a:pt x="1195" y="536"/>
                  </a:cubicBezTo>
                  <a:cubicBezTo>
                    <a:pt x="1190" y="537"/>
                    <a:pt x="1186" y="538"/>
                    <a:pt x="1182" y="539"/>
                  </a:cubicBezTo>
                  <a:cubicBezTo>
                    <a:pt x="1182" y="524"/>
                    <a:pt x="1182" y="524"/>
                    <a:pt x="1182" y="524"/>
                  </a:cubicBezTo>
                  <a:cubicBezTo>
                    <a:pt x="1182" y="520"/>
                    <a:pt x="1179" y="517"/>
                    <a:pt x="1174" y="517"/>
                  </a:cubicBezTo>
                  <a:cubicBezTo>
                    <a:pt x="1159" y="517"/>
                    <a:pt x="1159" y="517"/>
                    <a:pt x="1159" y="517"/>
                  </a:cubicBezTo>
                  <a:close/>
                  <a:moveTo>
                    <a:pt x="1157" y="480"/>
                  </a:moveTo>
                  <a:cubicBezTo>
                    <a:pt x="1156" y="484"/>
                    <a:pt x="1156" y="484"/>
                    <a:pt x="1156" y="484"/>
                  </a:cubicBezTo>
                  <a:cubicBezTo>
                    <a:pt x="1160" y="484"/>
                    <a:pt x="1160" y="484"/>
                    <a:pt x="1160" y="484"/>
                  </a:cubicBezTo>
                  <a:cubicBezTo>
                    <a:pt x="1160" y="489"/>
                    <a:pt x="1160" y="489"/>
                    <a:pt x="1160" y="489"/>
                  </a:cubicBezTo>
                  <a:cubicBezTo>
                    <a:pt x="1157" y="490"/>
                    <a:pt x="1157" y="490"/>
                    <a:pt x="1157" y="490"/>
                  </a:cubicBezTo>
                  <a:cubicBezTo>
                    <a:pt x="1157" y="492"/>
                    <a:pt x="1157" y="492"/>
                    <a:pt x="1157" y="492"/>
                  </a:cubicBezTo>
                  <a:cubicBezTo>
                    <a:pt x="1163" y="496"/>
                    <a:pt x="1163" y="496"/>
                    <a:pt x="1163" y="496"/>
                  </a:cubicBezTo>
                  <a:cubicBezTo>
                    <a:pt x="1170" y="496"/>
                    <a:pt x="1170" y="496"/>
                    <a:pt x="1170" y="496"/>
                  </a:cubicBezTo>
                  <a:cubicBezTo>
                    <a:pt x="1169" y="489"/>
                    <a:pt x="1169" y="489"/>
                    <a:pt x="1169" y="489"/>
                  </a:cubicBezTo>
                  <a:cubicBezTo>
                    <a:pt x="1173" y="488"/>
                    <a:pt x="1173" y="488"/>
                    <a:pt x="1173" y="488"/>
                  </a:cubicBezTo>
                  <a:cubicBezTo>
                    <a:pt x="1173" y="481"/>
                    <a:pt x="1173" y="481"/>
                    <a:pt x="1173" y="481"/>
                  </a:cubicBezTo>
                  <a:cubicBezTo>
                    <a:pt x="1157" y="480"/>
                    <a:pt x="1157" y="480"/>
                    <a:pt x="1157" y="480"/>
                  </a:cubicBezTo>
                  <a:close/>
                  <a:moveTo>
                    <a:pt x="1339" y="727"/>
                  </a:moveTo>
                  <a:cubicBezTo>
                    <a:pt x="1352" y="740"/>
                    <a:pt x="1363" y="767"/>
                    <a:pt x="1365" y="824"/>
                  </a:cubicBezTo>
                  <a:cubicBezTo>
                    <a:pt x="1364" y="825"/>
                    <a:pt x="1360" y="828"/>
                    <a:pt x="1359" y="824"/>
                  </a:cubicBezTo>
                  <a:cubicBezTo>
                    <a:pt x="1354" y="809"/>
                    <a:pt x="1350" y="756"/>
                    <a:pt x="1339" y="727"/>
                  </a:cubicBezTo>
                  <a:close/>
                  <a:moveTo>
                    <a:pt x="1275" y="605"/>
                  </a:moveTo>
                  <a:cubicBezTo>
                    <a:pt x="1297" y="629"/>
                    <a:pt x="1308" y="656"/>
                    <a:pt x="1315" y="683"/>
                  </a:cubicBezTo>
                  <a:cubicBezTo>
                    <a:pt x="1303" y="671"/>
                    <a:pt x="1290" y="658"/>
                    <a:pt x="1278" y="646"/>
                  </a:cubicBezTo>
                  <a:cubicBezTo>
                    <a:pt x="1277" y="632"/>
                    <a:pt x="1276" y="619"/>
                    <a:pt x="1275" y="605"/>
                  </a:cubicBezTo>
                  <a:close/>
                  <a:moveTo>
                    <a:pt x="386" y="1302"/>
                  </a:moveTo>
                  <a:cubicBezTo>
                    <a:pt x="399" y="1406"/>
                    <a:pt x="432" y="1503"/>
                    <a:pt x="481" y="1591"/>
                  </a:cubicBezTo>
                  <a:cubicBezTo>
                    <a:pt x="521" y="1562"/>
                    <a:pt x="521" y="1562"/>
                    <a:pt x="521" y="1562"/>
                  </a:cubicBezTo>
                  <a:cubicBezTo>
                    <a:pt x="521" y="1536"/>
                    <a:pt x="521" y="1536"/>
                    <a:pt x="521" y="1536"/>
                  </a:cubicBezTo>
                  <a:cubicBezTo>
                    <a:pt x="539" y="1537"/>
                    <a:pt x="539" y="1537"/>
                    <a:pt x="539" y="1537"/>
                  </a:cubicBezTo>
                  <a:cubicBezTo>
                    <a:pt x="539" y="1546"/>
                    <a:pt x="539" y="1546"/>
                    <a:pt x="539" y="1546"/>
                  </a:cubicBezTo>
                  <a:cubicBezTo>
                    <a:pt x="554" y="1546"/>
                    <a:pt x="554" y="1546"/>
                    <a:pt x="554" y="1546"/>
                  </a:cubicBezTo>
                  <a:cubicBezTo>
                    <a:pt x="554" y="1562"/>
                    <a:pt x="554" y="1562"/>
                    <a:pt x="554" y="1562"/>
                  </a:cubicBezTo>
                  <a:cubicBezTo>
                    <a:pt x="707" y="1562"/>
                    <a:pt x="707" y="1562"/>
                    <a:pt x="707" y="1562"/>
                  </a:cubicBezTo>
                  <a:cubicBezTo>
                    <a:pt x="750" y="1222"/>
                    <a:pt x="750" y="1222"/>
                    <a:pt x="750" y="1222"/>
                  </a:cubicBezTo>
                  <a:cubicBezTo>
                    <a:pt x="742" y="1212"/>
                    <a:pt x="734" y="1202"/>
                    <a:pt x="726" y="1192"/>
                  </a:cubicBezTo>
                  <a:cubicBezTo>
                    <a:pt x="711" y="1173"/>
                    <a:pt x="698" y="1167"/>
                    <a:pt x="685" y="1197"/>
                  </a:cubicBezTo>
                  <a:cubicBezTo>
                    <a:pt x="661" y="1258"/>
                    <a:pt x="633" y="1220"/>
                    <a:pt x="626" y="1204"/>
                  </a:cubicBezTo>
                  <a:cubicBezTo>
                    <a:pt x="589" y="1119"/>
                    <a:pt x="557" y="1097"/>
                    <a:pt x="547" y="1151"/>
                  </a:cubicBezTo>
                  <a:cubicBezTo>
                    <a:pt x="547" y="1192"/>
                    <a:pt x="538" y="1213"/>
                    <a:pt x="507" y="1189"/>
                  </a:cubicBezTo>
                  <a:cubicBezTo>
                    <a:pt x="478" y="1163"/>
                    <a:pt x="468" y="1189"/>
                    <a:pt x="457" y="1213"/>
                  </a:cubicBezTo>
                  <a:cubicBezTo>
                    <a:pt x="438" y="1247"/>
                    <a:pt x="412" y="1275"/>
                    <a:pt x="386" y="1302"/>
                  </a:cubicBezTo>
                  <a:close/>
                  <a:moveTo>
                    <a:pt x="723" y="1562"/>
                  </a:moveTo>
                  <a:cubicBezTo>
                    <a:pt x="788" y="1076"/>
                    <a:pt x="788" y="1076"/>
                    <a:pt x="788" y="1076"/>
                  </a:cubicBezTo>
                  <a:cubicBezTo>
                    <a:pt x="794" y="1042"/>
                    <a:pt x="802" y="1009"/>
                    <a:pt x="814" y="978"/>
                  </a:cubicBezTo>
                  <a:cubicBezTo>
                    <a:pt x="848" y="956"/>
                    <a:pt x="848" y="956"/>
                    <a:pt x="848" y="956"/>
                  </a:cubicBezTo>
                  <a:cubicBezTo>
                    <a:pt x="828" y="1431"/>
                    <a:pt x="828" y="1431"/>
                    <a:pt x="828" y="1431"/>
                  </a:cubicBezTo>
                  <a:cubicBezTo>
                    <a:pt x="809" y="1425"/>
                    <a:pt x="791" y="1414"/>
                    <a:pt x="774" y="1400"/>
                  </a:cubicBezTo>
                  <a:cubicBezTo>
                    <a:pt x="787" y="1433"/>
                    <a:pt x="804" y="1463"/>
                    <a:pt x="834" y="1485"/>
                  </a:cubicBezTo>
                  <a:cubicBezTo>
                    <a:pt x="834" y="1562"/>
                    <a:pt x="834" y="1562"/>
                    <a:pt x="834" y="1562"/>
                  </a:cubicBezTo>
                  <a:cubicBezTo>
                    <a:pt x="723" y="1562"/>
                    <a:pt x="723" y="1562"/>
                    <a:pt x="723" y="1562"/>
                  </a:cubicBezTo>
                  <a:close/>
                  <a:moveTo>
                    <a:pt x="525" y="1544"/>
                  </a:moveTo>
                  <a:cubicBezTo>
                    <a:pt x="526" y="1562"/>
                    <a:pt x="526" y="1562"/>
                    <a:pt x="526" y="1562"/>
                  </a:cubicBezTo>
                  <a:cubicBezTo>
                    <a:pt x="548" y="1562"/>
                    <a:pt x="548" y="1562"/>
                    <a:pt x="548" y="1562"/>
                  </a:cubicBezTo>
                  <a:cubicBezTo>
                    <a:pt x="548" y="1556"/>
                    <a:pt x="548" y="1556"/>
                    <a:pt x="548" y="1556"/>
                  </a:cubicBezTo>
                  <a:cubicBezTo>
                    <a:pt x="533" y="1553"/>
                    <a:pt x="533" y="1553"/>
                    <a:pt x="533" y="1553"/>
                  </a:cubicBezTo>
                  <a:cubicBezTo>
                    <a:pt x="533" y="1544"/>
                    <a:pt x="533" y="1544"/>
                    <a:pt x="533" y="1544"/>
                  </a:cubicBezTo>
                  <a:cubicBezTo>
                    <a:pt x="525" y="1544"/>
                    <a:pt x="525" y="1544"/>
                    <a:pt x="525" y="1544"/>
                  </a:cubicBezTo>
                  <a:close/>
                  <a:moveTo>
                    <a:pt x="1838" y="1544"/>
                  </a:moveTo>
                  <a:cubicBezTo>
                    <a:pt x="1830" y="1544"/>
                    <a:pt x="1830" y="1544"/>
                    <a:pt x="1830" y="1544"/>
                  </a:cubicBezTo>
                  <a:cubicBezTo>
                    <a:pt x="1830" y="1553"/>
                    <a:pt x="1830" y="1553"/>
                    <a:pt x="1830" y="1553"/>
                  </a:cubicBezTo>
                  <a:cubicBezTo>
                    <a:pt x="1816" y="1556"/>
                    <a:pt x="1816" y="1556"/>
                    <a:pt x="1816" y="1556"/>
                  </a:cubicBezTo>
                  <a:cubicBezTo>
                    <a:pt x="1816" y="1562"/>
                    <a:pt x="1816" y="1562"/>
                    <a:pt x="1816" y="1562"/>
                  </a:cubicBezTo>
                  <a:cubicBezTo>
                    <a:pt x="1838" y="1562"/>
                    <a:pt x="1838" y="1562"/>
                    <a:pt x="1838" y="1562"/>
                  </a:cubicBezTo>
                  <a:cubicBezTo>
                    <a:pt x="1838" y="1544"/>
                    <a:pt x="1838" y="1544"/>
                    <a:pt x="1838" y="1544"/>
                  </a:cubicBezTo>
                  <a:close/>
                  <a:moveTo>
                    <a:pt x="1444" y="1601"/>
                  </a:moveTo>
                  <a:cubicBezTo>
                    <a:pt x="1444" y="1664"/>
                    <a:pt x="1444" y="1664"/>
                    <a:pt x="1444" y="1664"/>
                  </a:cubicBezTo>
                  <a:cubicBezTo>
                    <a:pt x="1392" y="1664"/>
                    <a:pt x="1392" y="1664"/>
                    <a:pt x="1392" y="1664"/>
                  </a:cubicBezTo>
                  <a:cubicBezTo>
                    <a:pt x="1392" y="1601"/>
                    <a:pt x="1392" y="1601"/>
                    <a:pt x="1392" y="1601"/>
                  </a:cubicBezTo>
                  <a:cubicBezTo>
                    <a:pt x="1444" y="1601"/>
                    <a:pt x="1444" y="1601"/>
                    <a:pt x="1444" y="1601"/>
                  </a:cubicBezTo>
                  <a:close/>
                  <a:moveTo>
                    <a:pt x="1365" y="1515"/>
                  </a:moveTo>
                  <a:cubicBezTo>
                    <a:pt x="1365" y="1520"/>
                    <a:pt x="1365" y="1520"/>
                    <a:pt x="1365" y="1520"/>
                  </a:cubicBezTo>
                  <a:cubicBezTo>
                    <a:pt x="1318" y="1520"/>
                    <a:pt x="1318" y="1520"/>
                    <a:pt x="1318" y="1520"/>
                  </a:cubicBezTo>
                  <a:cubicBezTo>
                    <a:pt x="1318" y="1515"/>
                    <a:pt x="1318" y="1515"/>
                    <a:pt x="1318" y="1515"/>
                  </a:cubicBezTo>
                  <a:cubicBezTo>
                    <a:pt x="1365" y="1515"/>
                    <a:pt x="1365" y="1515"/>
                    <a:pt x="1365" y="1515"/>
                  </a:cubicBezTo>
                  <a:close/>
                  <a:moveTo>
                    <a:pt x="1365" y="1528"/>
                  </a:moveTo>
                  <a:cubicBezTo>
                    <a:pt x="1365" y="1534"/>
                    <a:pt x="1365" y="1534"/>
                    <a:pt x="1365" y="1534"/>
                  </a:cubicBezTo>
                  <a:cubicBezTo>
                    <a:pt x="1318" y="1534"/>
                    <a:pt x="1318" y="1534"/>
                    <a:pt x="1318" y="1534"/>
                  </a:cubicBezTo>
                  <a:cubicBezTo>
                    <a:pt x="1318" y="1528"/>
                    <a:pt x="1318" y="1528"/>
                    <a:pt x="1318" y="1528"/>
                  </a:cubicBezTo>
                  <a:cubicBezTo>
                    <a:pt x="1365" y="1528"/>
                    <a:pt x="1365" y="1528"/>
                    <a:pt x="1365" y="1528"/>
                  </a:cubicBezTo>
                  <a:close/>
                  <a:moveTo>
                    <a:pt x="1365" y="1541"/>
                  </a:moveTo>
                  <a:cubicBezTo>
                    <a:pt x="1365" y="1547"/>
                    <a:pt x="1365" y="1547"/>
                    <a:pt x="1365" y="1547"/>
                  </a:cubicBezTo>
                  <a:cubicBezTo>
                    <a:pt x="1318" y="1547"/>
                    <a:pt x="1318" y="1547"/>
                    <a:pt x="1318" y="1547"/>
                  </a:cubicBezTo>
                  <a:cubicBezTo>
                    <a:pt x="1318" y="1541"/>
                    <a:pt x="1318" y="1541"/>
                    <a:pt x="1318" y="1541"/>
                  </a:cubicBezTo>
                  <a:cubicBezTo>
                    <a:pt x="1365" y="1541"/>
                    <a:pt x="1365" y="1541"/>
                    <a:pt x="1365" y="1541"/>
                  </a:cubicBezTo>
                  <a:close/>
                  <a:moveTo>
                    <a:pt x="1365" y="1552"/>
                  </a:moveTo>
                  <a:cubicBezTo>
                    <a:pt x="1365" y="1558"/>
                    <a:pt x="1365" y="1558"/>
                    <a:pt x="1365" y="1558"/>
                  </a:cubicBezTo>
                  <a:cubicBezTo>
                    <a:pt x="1318" y="1558"/>
                    <a:pt x="1318" y="1558"/>
                    <a:pt x="1318" y="1558"/>
                  </a:cubicBezTo>
                  <a:cubicBezTo>
                    <a:pt x="1318" y="1552"/>
                    <a:pt x="1318" y="1552"/>
                    <a:pt x="1318" y="1552"/>
                  </a:cubicBezTo>
                  <a:cubicBezTo>
                    <a:pt x="1365" y="1552"/>
                    <a:pt x="1365" y="1552"/>
                    <a:pt x="1365" y="1552"/>
                  </a:cubicBezTo>
                  <a:close/>
                  <a:moveTo>
                    <a:pt x="1365" y="1564"/>
                  </a:moveTo>
                  <a:cubicBezTo>
                    <a:pt x="1365" y="1570"/>
                    <a:pt x="1365" y="1570"/>
                    <a:pt x="1365" y="1570"/>
                  </a:cubicBezTo>
                  <a:cubicBezTo>
                    <a:pt x="1318" y="1570"/>
                    <a:pt x="1318" y="1570"/>
                    <a:pt x="1318" y="1570"/>
                  </a:cubicBezTo>
                  <a:cubicBezTo>
                    <a:pt x="1318" y="1564"/>
                    <a:pt x="1318" y="1564"/>
                    <a:pt x="1318" y="1564"/>
                  </a:cubicBezTo>
                  <a:cubicBezTo>
                    <a:pt x="1365" y="1564"/>
                    <a:pt x="1365" y="1564"/>
                    <a:pt x="1365" y="1564"/>
                  </a:cubicBezTo>
                  <a:close/>
                  <a:moveTo>
                    <a:pt x="1365" y="1576"/>
                  </a:moveTo>
                  <a:cubicBezTo>
                    <a:pt x="1365" y="1582"/>
                    <a:pt x="1365" y="1582"/>
                    <a:pt x="1365" y="1582"/>
                  </a:cubicBezTo>
                  <a:cubicBezTo>
                    <a:pt x="1318" y="1582"/>
                    <a:pt x="1318" y="1582"/>
                    <a:pt x="1318" y="1582"/>
                  </a:cubicBezTo>
                  <a:cubicBezTo>
                    <a:pt x="1318" y="1576"/>
                    <a:pt x="1318" y="1576"/>
                    <a:pt x="1318" y="1576"/>
                  </a:cubicBezTo>
                  <a:cubicBezTo>
                    <a:pt x="1365" y="1576"/>
                    <a:pt x="1365" y="1576"/>
                    <a:pt x="1365" y="1576"/>
                  </a:cubicBezTo>
                  <a:close/>
                  <a:moveTo>
                    <a:pt x="1365" y="1588"/>
                  </a:moveTo>
                  <a:cubicBezTo>
                    <a:pt x="1365" y="1594"/>
                    <a:pt x="1365" y="1594"/>
                    <a:pt x="1365" y="1594"/>
                  </a:cubicBezTo>
                  <a:cubicBezTo>
                    <a:pt x="1318" y="1594"/>
                    <a:pt x="1318" y="1594"/>
                    <a:pt x="1318" y="1594"/>
                  </a:cubicBezTo>
                  <a:cubicBezTo>
                    <a:pt x="1318" y="1588"/>
                    <a:pt x="1318" y="1588"/>
                    <a:pt x="1318" y="1588"/>
                  </a:cubicBezTo>
                  <a:cubicBezTo>
                    <a:pt x="1365" y="1588"/>
                    <a:pt x="1365" y="1588"/>
                    <a:pt x="1365" y="1588"/>
                  </a:cubicBezTo>
                  <a:close/>
                  <a:moveTo>
                    <a:pt x="1365" y="1600"/>
                  </a:moveTo>
                  <a:cubicBezTo>
                    <a:pt x="1365" y="1605"/>
                    <a:pt x="1365" y="1605"/>
                    <a:pt x="1365" y="1605"/>
                  </a:cubicBezTo>
                  <a:cubicBezTo>
                    <a:pt x="1318" y="1605"/>
                    <a:pt x="1318" y="1605"/>
                    <a:pt x="1318" y="1605"/>
                  </a:cubicBezTo>
                  <a:cubicBezTo>
                    <a:pt x="1318" y="1600"/>
                    <a:pt x="1318" y="1600"/>
                    <a:pt x="1318" y="1600"/>
                  </a:cubicBezTo>
                  <a:cubicBezTo>
                    <a:pt x="1365" y="1600"/>
                    <a:pt x="1365" y="1600"/>
                    <a:pt x="1365" y="1600"/>
                  </a:cubicBezTo>
                  <a:close/>
                  <a:moveTo>
                    <a:pt x="1365" y="1612"/>
                  </a:moveTo>
                  <a:cubicBezTo>
                    <a:pt x="1365" y="1617"/>
                    <a:pt x="1365" y="1617"/>
                    <a:pt x="1365" y="1617"/>
                  </a:cubicBezTo>
                  <a:cubicBezTo>
                    <a:pt x="1318" y="1617"/>
                    <a:pt x="1318" y="1617"/>
                    <a:pt x="1318" y="1617"/>
                  </a:cubicBezTo>
                  <a:cubicBezTo>
                    <a:pt x="1318" y="1612"/>
                    <a:pt x="1318" y="1612"/>
                    <a:pt x="1318" y="1612"/>
                  </a:cubicBezTo>
                  <a:cubicBezTo>
                    <a:pt x="1365" y="1612"/>
                    <a:pt x="1365" y="1612"/>
                    <a:pt x="1365" y="1612"/>
                  </a:cubicBezTo>
                  <a:close/>
                  <a:moveTo>
                    <a:pt x="1365" y="1626"/>
                  </a:moveTo>
                  <a:cubicBezTo>
                    <a:pt x="1365" y="1631"/>
                    <a:pt x="1365" y="1631"/>
                    <a:pt x="1365" y="1631"/>
                  </a:cubicBezTo>
                  <a:cubicBezTo>
                    <a:pt x="1318" y="1631"/>
                    <a:pt x="1318" y="1631"/>
                    <a:pt x="1318" y="1631"/>
                  </a:cubicBezTo>
                  <a:cubicBezTo>
                    <a:pt x="1318" y="1626"/>
                    <a:pt x="1318" y="1626"/>
                    <a:pt x="1318" y="1626"/>
                  </a:cubicBezTo>
                  <a:cubicBezTo>
                    <a:pt x="1365" y="1626"/>
                    <a:pt x="1365" y="1626"/>
                    <a:pt x="1365" y="1626"/>
                  </a:cubicBezTo>
                  <a:close/>
                  <a:moveTo>
                    <a:pt x="1365" y="1637"/>
                  </a:moveTo>
                  <a:cubicBezTo>
                    <a:pt x="1365" y="1643"/>
                    <a:pt x="1365" y="1643"/>
                    <a:pt x="1365" y="1643"/>
                  </a:cubicBezTo>
                  <a:cubicBezTo>
                    <a:pt x="1318" y="1643"/>
                    <a:pt x="1318" y="1643"/>
                    <a:pt x="1318" y="1643"/>
                  </a:cubicBezTo>
                  <a:cubicBezTo>
                    <a:pt x="1318" y="1637"/>
                    <a:pt x="1318" y="1637"/>
                    <a:pt x="1318" y="1637"/>
                  </a:cubicBezTo>
                  <a:cubicBezTo>
                    <a:pt x="1365" y="1637"/>
                    <a:pt x="1365" y="1637"/>
                    <a:pt x="1365" y="1637"/>
                  </a:cubicBezTo>
                  <a:close/>
                  <a:moveTo>
                    <a:pt x="1365" y="1649"/>
                  </a:moveTo>
                  <a:cubicBezTo>
                    <a:pt x="1365" y="1655"/>
                    <a:pt x="1365" y="1655"/>
                    <a:pt x="1365" y="1655"/>
                  </a:cubicBezTo>
                  <a:cubicBezTo>
                    <a:pt x="1318" y="1655"/>
                    <a:pt x="1318" y="1655"/>
                    <a:pt x="1318" y="1655"/>
                  </a:cubicBezTo>
                  <a:cubicBezTo>
                    <a:pt x="1318" y="1649"/>
                    <a:pt x="1318" y="1649"/>
                    <a:pt x="1318" y="1649"/>
                  </a:cubicBezTo>
                  <a:cubicBezTo>
                    <a:pt x="1365" y="1649"/>
                    <a:pt x="1365" y="1649"/>
                    <a:pt x="1365" y="1649"/>
                  </a:cubicBezTo>
                  <a:close/>
                  <a:moveTo>
                    <a:pt x="1365" y="1661"/>
                  </a:moveTo>
                  <a:cubicBezTo>
                    <a:pt x="1365" y="1667"/>
                    <a:pt x="1365" y="1667"/>
                    <a:pt x="1365" y="1667"/>
                  </a:cubicBezTo>
                  <a:cubicBezTo>
                    <a:pt x="1318" y="1667"/>
                    <a:pt x="1318" y="1667"/>
                    <a:pt x="1318" y="1667"/>
                  </a:cubicBezTo>
                  <a:cubicBezTo>
                    <a:pt x="1318" y="1661"/>
                    <a:pt x="1318" y="1661"/>
                    <a:pt x="1318" y="1661"/>
                  </a:cubicBezTo>
                  <a:cubicBezTo>
                    <a:pt x="1365" y="1661"/>
                    <a:pt x="1365" y="1661"/>
                    <a:pt x="1365" y="1661"/>
                  </a:cubicBezTo>
                  <a:close/>
                  <a:moveTo>
                    <a:pt x="1365" y="1673"/>
                  </a:moveTo>
                  <a:cubicBezTo>
                    <a:pt x="1365" y="1679"/>
                    <a:pt x="1365" y="1679"/>
                    <a:pt x="1365" y="1679"/>
                  </a:cubicBezTo>
                  <a:cubicBezTo>
                    <a:pt x="1318" y="1679"/>
                    <a:pt x="1318" y="1679"/>
                    <a:pt x="1318" y="1679"/>
                  </a:cubicBezTo>
                  <a:cubicBezTo>
                    <a:pt x="1318" y="1673"/>
                    <a:pt x="1318" y="1673"/>
                    <a:pt x="1318" y="1673"/>
                  </a:cubicBezTo>
                  <a:cubicBezTo>
                    <a:pt x="1365" y="1673"/>
                    <a:pt x="1365" y="1673"/>
                    <a:pt x="1365" y="1673"/>
                  </a:cubicBezTo>
                  <a:close/>
                  <a:moveTo>
                    <a:pt x="1365" y="1685"/>
                  </a:moveTo>
                  <a:cubicBezTo>
                    <a:pt x="1365" y="1690"/>
                    <a:pt x="1365" y="1690"/>
                    <a:pt x="1365" y="1690"/>
                  </a:cubicBezTo>
                  <a:cubicBezTo>
                    <a:pt x="1318" y="1690"/>
                    <a:pt x="1318" y="1690"/>
                    <a:pt x="1318" y="1690"/>
                  </a:cubicBezTo>
                  <a:cubicBezTo>
                    <a:pt x="1318" y="1685"/>
                    <a:pt x="1318" y="1685"/>
                    <a:pt x="1318" y="1685"/>
                  </a:cubicBezTo>
                  <a:cubicBezTo>
                    <a:pt x="1365" y="1685"/>
                    <a:pt x="1365" y="1685"/>
                    <a:pt x="1365" y="1685"/>
                  </a:cubicBezTo>
                  <a:close/>
                  <a:moveTo>
                    <a:pt x="1365" y="1697"/>
                  </a:moveTo>
                  <a:cubicBezTo>
                    <a:pt x="1365" y="1702"/>
                    <a:pt x="1365" y="1702"/>
                    <a:pt x="1365" y="1702"/>
                  </a:cubicBezTo>
                  <a:cubicBezTo>
                    <a:pt x="1318" y="1702"/>
                    <a:pt x="1318" y="1702"/>
                    <a:pt x="1318" y="1702"/>
                  </a:cubicBezTo>
                  <a:cubicBezTo>
                    <a:pt x="1318" y="1697"/>
                    <a:pt x="1318" y="1697"/>
                    <a:pt x="1318" y="1697"/>
                  </a:cubicBezTo>
                  <a:cubicBezTo>
                    <a:pt x="1365" y="1697"/>
                    <a:pt x="1365" y="1697"/>
                    <a:pt x="1365" y="1697"/>
                  </a:cubicBezTo>
                  <a:close/>
                  <a:moveTo>
                    <a:pt x="1365" y="1709"/>
                  </a:moveTo>
                  <a:cubicBezTo>
                    <a:pt x="1365" y="1714"/>
                    <a:pt x="1365" y="1714"/>
                    <a:pt x="1365" y="1714"/>
                  </a:cubicBezTo>
                  <a:cubicBezTo>
                    <a:pt x="1318" y="1714"/>
                    <a:pt x="1318" y="1714"/>
                    <a:pt x="1318" y="1714"/>
                  </a:cubicBezTo>
                  <a:cubicBezTo>
                    <a:pt x="1318" y="1709"/>
                    <a:pt x="1318" y="1709"/>
                    <a:pt x="1318" y="1709"/>
                  </a:cubicBezTo>
                  <a:cubicBezTo>
                    <a:pt x="1365" y="1709"/>
                    <a:pt x="1365" y="1709"/>
                    <a:pt x="1365" y="1709"/>
                  </a:cubicBezTo>
                  <a:close/>
                  <a:moveTo>
                    <a:pt x="1365" y="1721"/>
                  </a:moveTo>
                  <a:cubicBezTo>
                    <a:pt x="1365" y="1726"/>
                    <a:pt x="1365" y="1726"/>
                    <a:pt x="1365" y="1726"/>
                  </a:cubicBezTo>
                  <a:cubicBezTo>
                    <a:pt x="1318" y="1726"/>
                    <a:pt x="1318" y="1726"/>
                    <a:pt x="1318" y="1726"/>
                  </a:cubicBezTo>
                  <a:cubicBezTo>
                    <a:pt x="1318" y="1721"/>
                    <a:pt x="1318" y="1721"/>
                    <a:pt x="1318" y="1721"/>
                  </a:cubicBezTo>
                  <a:cubicBezTo>
                    <a:pt x="1365" y="1721"/>
                    <a:pt x="1365" y="1721"/>
                    <a:pt x="1365" y="1721"/>
                  </a:cubicBezTo>
                  <a:close/>
                  <a:moveTo>
                    <a:pt x="1365" y="1733"/>
                  </a:moveTo>
                  <a:cubicBezTo>
                    <a:pt x="1365" y="1738"/>
                    <a:pt x="1365" y="1738"/>
                    <a:pt x="1365" y="1738"/>
                  </a:cubicBezTo>
                  <a:cubicBezTo>
                    <a:pt x="1318" y="1738"/>
                    <a:pt x="1318" y="1738"/>
                    <a:pt x="1318" y="1738"/>
                  </a:cubicBezTo>
                  <a:cubicBezTo>
                    <a:pt x="1318" y="1733"/>
                    <a:pt x="1318" y="1733"/>
                    <a:pt x="1318" y="1733"/>
                  </a:cubicBezTo>
                  <a:cubicBezTo>
                    <a:pt x="1365" y="1733"/>
                    <a:pt x="1365" y="1733"/>
                    <a:pt x="1365" y="1733"/>
                  </a:cubicBezTo>
                  <a:close/>
                  <a:moveTo>
                    <a:pt x="1365" y="1745"/>
                  </a:moveTo>
                  <a:cubicBezTo>
                    <a:pt x="1365" y="1750"/>
                    <a:pt x="1365" y="1750"/>
                    <a:pt x="1365" y="1750"/>
                  </a:cubicBezTo>
                  <a:cubicBezTo>
                    <a:pt x="1318" y="1750"/>
                    <a:pt x="1318" y="1750"/>
                    <a:pt x="1318" y="1750"/>
                  </a:cubicBezTo>
                  <a:cubicBezTo>
                    <a:pt x="1318" y="1745"/>
                    <a:pt x="1318" y="1745"/>
                    <a:pt x="1318" y="1745"/>
                  </a:cubicBezTo>
                  <a:cubicBezTo>
                    <a:pt x="1365" y="1745"/>
                    <a:pt x="1365" y="1745"/>
                    <a:pt x="1365" y="1745"/>
                  </a:cubicBezTo>
                  <a:close/>
                  <a:moveTo>
                    <a:pt x="1518" y="1515"/>
                  </a:moveTo>
                  <a:cubicBezTo>
                    <a:pt x="1518" y="1520"/>
                    <a:pt x="1518" y="1520"/>
                    <a:pt x="1518" y="1520"/>
                  </a:cubicBezTo>
                  <a:cubicBezTo>
                    <a:pt x="1471" y="1520"/>
                    <a:pt x="1471" y="1520"/>
                    <a:pt x="1471" y="1520"/>
                  </a:cubicBezTo>
                  <a:cubicBezTo>
                    <a:pt x="1471" y="1515"/>
                    <a:pt x="1471" y="1515"/>
                    <a:pt x="1471" y="1515"/>
                  </a:cubicBezTo>
                  <a:cubicBezTo>
                    <a:pt x="1518" y="1515"/>
                    <a:pt x="1518" y="1515"/>
                    <a:pt x="1518" y="1515"/>
                  </a:cubicBezTo>
                  <a:close/>
                  <a:moveTo>
                    <a:pt x="1518" y="1528"/>
                  </a:moveTo>
                  <a:cubicBezTo>
                    <a:pt x="1518" y="1534"/>
                    <a:pt x="1518" y="1534"/>
                    <a:pt x="1518" y="1534"/>
                  </a:cubicBezTo>
                  <a:cubicBezTo>
                    <a:pt x="1471" y="1534"/>
                    <a:pt x="1471" y="1534"/>
                    <a:pt x="1471" y="1534"/>
                  </a:cubicBezTo>
                  <a:cubicBezTo>
                    <a:pt x="1471" y="1528"/>
                    <a:pt x="1471" y="1528"/>
                    <a:pt x="1471" y="1528"/>
                  </a:cubicBezTo>
                  <a:cubicBezTo>
                    <a:pt x="1518" y="1528"/>
                    <a:pt x="1518" y="1528"/>
                    <a:pt x="1518" y="1528"/>
                  </a:cubicBezTo>
                  <a:close/>
                  <a:moveTo>
                    <a:pt x="1518" y="1541"/>
                  </a:moveTo>
                  <a:cubicBezTo>
                    <a:pt x="1518" y="1547"/>
                    <a:pt x="1518" y="1547"/>
                    <a:pt x="1518" y="1547"/>
                  </a:cubicBezTo>
                  <a:cubicBezTo>
                    <a:pt x="1471" y="1547"/>
                    <a:pt x="1471" y="1547"/>
                    <a:pt x="1471" y="1547"/>
                  </a:cubicBezTo>
                  <a:cubicBezTo>
                    <a:pt x="1471" y="1541"/>
                    <a:pt x="1471" y="1541"/>
                    <a:pt x="1471" y="1541"/>
                  </a:cubicBezTo>
                  <a:cubicBezTo>
                    <a:pt x="1518" y="1541"/>
                    <a:pt x="1518" y="1541"/>
                    <a:pt x="1518" y="1541"/>
                  </a:cubicBezTo>
                  <a:close/>
                  <a:moveTo>
                    <a:pt x="1518" y="1552"/>
                  </a:moveTo>
                  <a:cubicBezTo>
                    <a:pt x="1518" y="1558"/>
                    <a:pt x="1518" y="1558"/>
                    <a:pt x="1518" y="1558"/>
                  </a:cubicBezTo>
                  <a:cubicBezTo>
                    <a:pt x="1471" y="1558"/>
                    <a:pt x="1471" y="1558"/>
                    <a:pt x="1471" y="1558"/>
                  </a:cubicBezTo>
                  <a:cubicBezTo>
                    <a:pt x="1471" y="1552"/>
                    <a:pt x="1471" y="1552"/>
                    <a:pt x="1471" y="1552"/>
                  </a:cubicBezTo>
                  <a:cubicBezTo>
                    <a:pt x="1518" y="1552"/>
                    <a:pt x="1518" y="1552"/>
                    <a:pt x="1518" y="1552"/>
                  </a:cubicBezTo>
                  <a:close/>
                  <a:moveTo>
                    <a:pt x="1518" y="1564"/>
                  </a:moveTo>
                  <a:cubicBezTo>
                    <a:pt x="1518" y="1570"/>
                    <a:pt x="1518" y="1570"/>
                    <a:pt x="1518" y="1570"/>
                  </a:cubicBezTo>
                  <a:cubicBezTo>
                    <a:pt x="1471" y="1570"/>
                    <a:pt x="1471" y="1570"/>
                    <a:pt x="1471" y="1570"/>
                  </a:cubicBezTo>
                  <a:cubicBezTo>
                    <a:pt x="1471" y="1564"/>
                    <a:pt x="1471" y="1564"/>
                    <a:pt x="1471" y="1564"/>
                  </a:cubicBezTo>
                  <a:cubicBezTo>
                    <a:pt x="1518" y="1564"/>
                    <a:pt x="1518" y="1564"/>
                    <a:pt x="1518" y="1564"/>
                  </a:cubicBezTo>
                  <a:close/>
                  <a:moveTo>
                    <a:pt x="1518" y="1576"/>
                  </a:moveTo>
                  <a:cubicBezTo>
                    <a:pt x="1518" y="1582"/>
                    <a:pt x="1518" y="1582"/>
                    <a:pt x="1518" y="1582"/>
                  </a:cubicBezTo>
                  <a:cubicBezTo>
                    <a:pt x="1471" y="1582"/>
                    <a:pt x="1471" y="1582"/>
                    <a:pt x="1471" y="1582"/>
                  </a:cubicBezTo>
                  <a:cubicBezTo>
                    <a:pt x="1471" y="1576"/>
                    <a:pt x="1471" y="1576"/>
                    <a:pt x="1471" y="1576"/>
                  </a:cubicBezTo>
                  <a:cubicBezTo>
                    <a:pt x="1518" y="1576"/>
                    <a:pt x="1518" y="1576"/>
                    <a:pt x="1518" y="1576"/>
                  </a:cubicBezTo>
                  <a:close/>
                  <a:moveTo>
                    <a:pt x="1518" y="1588"/>
                  </a:moveTo>
                  <a:cubicBezTo>
                    <a:pt x="1518" y="1594"/>
                    <a:pt x="1518" y="1594"/>
                    <a:pt x="1518" y="1594"/>
                  </a:cubicBezTo>
                  <a:cubicBezTo>
                    <a:pt x="1471" y="1594"/>
                    <a:pt x="1471" y="1594"/>
                    <a:pt x="1471" y="1594"/>
                  </a:cubicBezTo>
                  <a:cubicBezTo>
                    <a:pt x="1471" y="1588"/>
                    <a:pt x="1471" y="1588"/>
                    <a:pt x="1471" y="1588"/>
                  </a:cubicBezTo>
                  <a:cubicBezTo>
                    <a:pt x="1518" y="1588"/>
                    <a:pt x="1518" y="1588"/>
                    <a:pt x="1518" y="1588"/>
                  </a:cubicBezTo>
                  <a:close/>
                  <a:moveTo>
                    <a:pt x="1518" y="1600"/>
                  </a:moveTo>
                  <a:cubicBezTo>
                    <a:pt x="1518" y="1605"/>
                    <a:pt x="1518" y="1605"/>
                    <a:pt x="1518" y="1605"/>
                  </a:cubicBezTo>
                  <a:cubicBezTo>
                    <a:pt x="1471" y="1605"/>
                    <a:pt x="1471" y="1605"/>
                    <a:pt x="1471" y="1605"/>
                  </a:cubicBezTo>
                  <a:cubicBezTo>
                    <a:pt x="1471" y="1600"/>
                    <a:pt x="1471" y="1600"/>
                    <a:pt x="1471" y="1600"/>
                  </a:cubicBezTo>
                  <a:cubicBezTo>
                    <a:pt x="1518" y="1600"/>
                    <a:pt x="1518" y="1600"/>
                    <a:pt x="1518" y="1600"/>
                  </a:cubicBezTo>
                  <a:close/>
                  <a:moveTo>
                    <a:pt x="1518" y="1612"/>
                  </a:moveTo>
                  <a:cubicBezTo>
                    <a:pt x="1518" y="1617"/>
                    <a:pt x="1518" y="1617"/>
                    <a:pt x="1518" y="1617"/>
                  </a:cubicBezTo>
                  <a:cubicBezTo>
                    <a:pt x="1471" y="1617"/>
                    <a:pt x="1471" y="1617"/>
                    <a:pt x="1471" y="1617"/>
                  </a:cubicBezTo>
                  <a:cubicBezTo>
                    <a:pt x="1471" y="1612"/>
                    <a:pt x="1471" y="1612"/>
                    <a:pt x="1471" y="1612"/>
                  </a:cubicBezTo>
                  <a:cubicBezTo>
                    <a:pt x="1518" y="1612"/>
                    <a:pt x="1518" y="1612"/>
                    <a:pt x="1518" y="1612"/>
                  </a:cubicBezTo>
                  <a:close/>
                  <a:moveTo>
                    <a:pt x="1518" y="1626"/>
                  </a:moveTo>
                  <a:cubicBezTo>
                    <a:pt x="1518" y="1631"/>
                    <a:pt x="1518" y="1631"/>
                    <a:pt x="1518" y="1631"/>
                  </a:cubicBezTo>
                  <a:cubicBezTo>
                    <a:pt x="1471" y="1631"/>
                    <a:pt x="1471" y="1631"/>
                    <a:pt x="1471" y="1631"/>
                  </a:cubicBezTo>
                  <a:cubicBezTo>
                    <a:pt x="1471" y="1626"/>
                    <a:pt x="1471" y="1626"/>
                    <a:pt x="1471" y="1626"/>
                  </a:cubicBezTo>
                  <a:cubicBezTo>
                    <a:pt x="1518" y="1626"/>
                    <a:pt x="1518" y="1626"/>
                    <a:pt x="1518" y="1626"/>
                  </a:cubicBezTo>
                  <a:close/>
                  <a:moveTo>
                    <a:pt x="1518" y="1637"/>
                  </a:moveTo>
                  <a:cubicBezTo>
                    <a:pt x="1518" y="1643"/>
                    <a:pt x="1518" y="1643"/>
                    <a:pt x="1518" y="1643"/>
                  </a:cubicBezTo>
                  <a:cubicBezTo>
                    <a:pt x="1471" y="1643"/>
                    <a:pt x="1471" y="1643"/>
                    <a:pt x="1471" y="1643"/>
                  </a:cubicBezTo>
                  <a:cubicBezTo>
                    <a:pt x="1471" y="1637"/>
                    <a:pt x="1471" y="1637"/>
                    <a:pt x="1471" y="1637"/>
                  </a:cubicBezTo>
                  <a:cubicBezTo>
                    <a:pt x="1518" y="1637"/>
                    <a:pt x="1518" y="1637"/>
                    <a:pt x="1518" y="1637"/>
                  </a:cubicBezTo>
                  <a:close/>
                  <a:moveTo>
                    <a:pt x="1518" y="1649"/>
                  </a:moveTo>
                  <a:cubicBezTo>
                    <a:pt x="1518" y="1655"/>
                    <a:pt x="1518" y="1655"/>
                    <a:pt x="1518" y="1655"/>
                  </a:cubicBezTo>
                  <a:cubicBezTo>
                    <a:pt x="1471" y="1655"/>
                    <a:pt x="1471" y="1655"/>
                    <a:pt x="1471" y="1655"/>
                  </a:cubicBezTo>
                  <a:cubicBezTo>
                    <a:pt x="1471" y="1649"/>
                    <a:pt x="1471" y="1649"/>
                    <a:pt x="1471" y="1649"/>
                  </a:cubicBezTo>
                  <a:cubicBezTo>
                    <a:pt x="1518" y="1649"/>
                    <a:pt x="1518" y="1649"/>
                    <a:pt x="1518" y="1649"/>
                  </a:cubicBezTo>
                  <a:close/>
                  <a:moveTo>
                    <a:pt x="1518" y="1661"/>
                  </a:moveTo>
                  <a:cubicBezTo>
                    <a:pt x="1518" y="1667"/>
                    <a:pt x="1518" y="1667"/>
                    <a:pt x="1518" y="1667"/>
                  </a:cubicBezTo>
                  <a:cubicBezTo>
                    <a:pt x="1471" y="1667"/>
                    <a:pt x="1471" y="1667"/>
                    <a:pt x="1471" y="1667"/>
                  </a:cubicBezTo>
                  <a:cubicBezTo>
                    <a:pt x="1471" y="1661"/>
                    <a:pt x="1471" y="1661"/>
                    <a:pt x="1471" y="1661"/>
                  </a:cubicBezTo>
                  <a:cubicBezTo>
                    <a:pt x="1518" y="1661"/>
                    <a:pt x="1518" y="1661"/>
                    <a:pt x="1518" y="1661"/>
                  </a:cubicBezTo>
                  <a:close/>
                  <a:moveTo>
                    <a:pt x="1518" y="1673"/>
                  </a:moveTo>
                  <a:cubicBezTo>
                    <a:pt x="1518" y="1679"/>
                    <a:pt x="1518" y="1679"/>
                    <a:pt x="1518" y="1679"/>
                  </a:cubicBezTo>
                  <a:cubicBezTo>
                    <a:pt x="1471" y="1679"/>
                    <a:pt x="1471" y="1679"/>
                    <a:pt x="1471" y="1679"/>
                  </a:cubicBezTo>
                  <a:cubicBezTo>
                    <a:pt x="1471" y="1673"/>
                    <a:pt x="1471" y="1673"/>
                    <a:pt x="1471" y="1673"/>
                  </a:cubicBezTo>
                  <a:cubicBezTo>
                    <a:pt x="1518" y="1673"/>
                    <a:pt x="1518" y="1673"/>
                    <a:pt x="1518" y="1673"/>
                  </a:cubicBezTo>
                  <a:close/>
                  <a:moveTo>
                    <a:pt x="1518" y="1685"/>
                  </a:moveTo>
                  <a:cubicBezTo>
                    <a:pt x="1518" y="1690"/>
                    <a:pt x="1518" y="1690"/>
                    <a:pt x="1518" y="1690"/>
                  </a:cubicBezTo>
                  <a:cubicBezTo>
                    <a:pt x="1471" y="1690"/>
                    <a:pt x="1471" y="1690"/>
                    <a:pt x="1471" y="1690"/>
                  </a:cubicBezTo>
                  <a:cubicBezTo>
                    <a:pt x="1471" y="1685"/>
                    <a:pt x="1471" y="1685"/>
                    <a:pt x="1471" y="1685"/>
                  </a:cubicBezTo>
                  <a:cubicBezTo>
                    <a:pt x="1518" y="1685"/>
                    <a:pt x="1518" y="1685"/>
                    <a:pt x="1518" y="1685"/>
                  </a:cubicBezTo>
                  <a:close/>
                  <a:moveTo>
                    <a:pt x="1518" y="1697"/>
                  </a:moveTo>
                  <a:cubicBezTo>
                    <a:pt x="1518" y="1702"/>
                    <a:pt x="1518" y="1702"/>
                    <a:pt x="1518" y="1702"/>
                  </a:cubicBezTo>
                  <a:cubicBezTo>
                    <a:pt x="1471" y="1702"/>
                    <a:pt x="1471" y="1702"/>
                    <a:pt x="1471" y="1702"/>
                  </a:cubicBezTo>
                  <a:cubicBezTo>
                    <a:pt x="1471" y="1697"/>
                    <a:pt x="1471" y="1697"/>
                    <a:pt x="1471" y="1697"/>
                  </a:cubicBezTo>
                  <a:cubicBezTo>
                    <a:pt x="1518" y="1697"/>
                    <a:pt x="1518" y="1697"/>
                    <a:pt x="1518" y="1697"/>
                  </a:cubicBezTo>
                  <a:close/>
                  <a:moveTo>
                    <a:pt x="1518" y="1709"/>
                  </a:moveTo>
                  <a:cubicBezTo>
                    <a:pt x="1518" y="1714"/>
                    <a:pt x="1518" y="1714"/>
                    <a:pt x="1518" y="1714"/>
                  </a:cubicBezTo>
                  <a:cubicBezTo>
                    <a:pt x="1471" y="1714"/>
                    <a:pt x="1471" y="1714"/>
                    <a:pt x="1471" y="1714"/>
                  </a:cubicBezTo>
                  <a:cubicBezTo>
                    <a:pt x="1471" y="1709"/>
                    <a:pt x="1471" y="1709"/>
                    <a:pt x="1471" y="1709"/>
                  </a:cubicBezTo>
                  <a:cubicBezTo>
                    <a:pt x="1518" y="1709"/>
                    <a:pt x="1518" y="1709"/>
                    <a:pt x="1518" y="1709"/>
                  </a:cubicBezTo>
                  <a:close/>
                  <a:moveTo>
                    <a:pt x="1518" y="1721"/>
                  </a:moveTo>
                  <a:cubicBezTo>
                    <a:pt x="1518" y="1726"/>
                    <a:pt x="1518" y="1726"/>
                    <a:pt x="1518" y="1726"/>
                  </a:cubicBezTo>
                  <a:cubicBezTo>
                    <a:pt x="1471" y="1726"/>
                    <a:pt x="1471" y="1726"/>
                    <a:pt x="1471" y="1726"/>
                  </a:cubicBezTo>
                  <a:cubicBezTo>
                    <a:pt x="1471" y="1721"/>
                    <a:pt x="1471" y="1721"/>
                    <a:pt x="1471" y="1721"/>
                  </a:cubicBezTo>
                  <a:cubicBezTo>
                    <a:pt x="1518" y="1721"/>
                    <a:pt x="1518" y="1721"/>
                    <a:pt x="1518" y="1721"/>
                  </a:cubicBezTo>
                  <a:close/>
                  <a:moveTo>
                    <a:pt x="1518" y="1733"/>
                  </a:moveTo>
                  <a:cubicBezTo>
                    <a:pt x="1518" y="1738"/>
                    <a:pt x="1518" y="1738"/>
                    <a:pt x="1518" y="1738"/>
                  </a:cubicBezTo>
                  <a:cubicBezTo>
                    <a:pt x="1471" y="1738"/>
                    <a:pt x="1471" y="1738"/>
                    <a:pt x="1471" y="1738"/>
                  </a:cubicBezTo>
                  <a:cubicBezTo>
                    <a:pt x="1471" y="1733"/>
                    <a:pt x="1471" y="1733"/>
                    <a:pt x="1471" y="1733"/>
                  </a:cubicBezTo>
                  <a:cubicBezTo>
                    <a:pt x="1518" y="1733"/>
                    <a:pt x="1518" y="1733"/>
                    <a:pt x="1518" y="1733"/>
                  </a:cubicBezTo>
                  <a:close/>
                  <a:moveTo>
                    <a:pt x="1518" y="1745"/>
                  </a:moveTo>
                  <a:cubicBezTo>
                    <a:pt x="1518" y="1750"/>
                    <a:pt x="1518" y="1750"/>
                    <a:pt x="1518" y="1750"/>
                  </a:cubicBezTo>
                  <a:cubicBezTo>
                    <a:pt x="1471" y="1750"/>
                    <a:pt x="1471" y="1750"/>
                    <a:pt x="1471" y="1750"/>
                  </a:cubicBezTo>
                  <a:cubicBezTo>
                    <a:pt x="1471" y="1745"/>
                    <a:pt x="1471" y="1745"/>
                    <a:pt x="1471" y="1745"/>
                  </a:cubicBezTo>
                  <a:cubicBezTo>
                    <a:pt x="1518" y="1745"/>
                    <a:pt x="1518" y="1745"/>
                    <a:pt x="1518" y="1745"/>
                  </a:cubicBezTo>
                  <a:close/>
                  <a:moveTo>
                    <a:pt x="917" y="1601"/>
                  </a:moveTo>
                  <a:cubicBezTo>
                    <a:pt x="970" y="1601"/>
                    <a:pt x="970" y="1601"/>
                    <a:pt x="970" y="1601"/>
                  </a:cubicBezTo>
                  <a:cubicBezTo>
                    <a:pt x="970" y="1664"/>
                    <a:pt x="970" y="1664"/>
                    <a:pt x="970" y="1664"/>
                  </a:cubicBezTo>
                  <a:cubicBezTo>
                    <a:pt x="917" y="1664"/>
                    <a:pt x="917" y="1664"/>
                    <a:pt x="917" y="1664"/>
                  </a:cubicBezTo>
                  <a:cubicBezTo>
                    <a:pt x="917" y="1601"/>
                    <a:pt x="917" y="1601"/>
                    <a:pt x="917" y="1601"/>
                  </a:cubicBezTo>
                  <a:close/>
                  <a:moveTo>
                    <a:pt x="997" y="1515"/>
                  </a:moveTo>
                  <a:cubicBezTo>
                    <a:pt x="1043" y="1515"/>
                    <a:pt x="1043" y="1515"/>
                    <a:pt x="1043" y="1515"/>
                  </a:cubicBezTo>
                  <a:cubicBezTo>
                    <a:pt x="1043" y="1520"/>
                    <a:pt x="1043" y="1520"/>
                    <a:pt x="1043" y="1520"/>
                  </a:cubicBezTo>
                  <a:cubicBezTo>
                    <a:pt x="997" y="1520"/>
                    <a:pt x="997" y="1520"/>
                    <a:pt x="997" y="1520"/>
                  </a:cubicBezTo>
                  <a:cubicBezTo>
                    <a:pt x="997" y="1515"/>
                    <a:pt x="997" y="1515"/>
                    <a:pt x="997" y="1515"/>
                  </a:cubicBezTo>
                  <a:close/>
                  <a:moveTo>
                    <a:pt x="997" y="1528"/>
                  </a:moveTo>
                  <a:cubicBezTo>
                    <a:pt x="1043" y="1528"/>
                    <a:pt x="1043" y="1528"/>
                    <a:pt x="1043" y="1528"/>
                  </a:cubicBezTo>
                  <a:cubicBezTo>
                    <a:pt x="1043" y="1534"/>
                    <a:pt x="1043" y="1534"/>
                    <a:pt x="1043" y="1534"/>
                  </a:cubicBezTo>
                  <a:cubicBezTo>
                    <a:pt x="997" y="1534"/>
                    <a:pt x="997" y="1534"/>
                    <a:pt x="997" y="1534"/>
                  </a:cubicBezTo>
                  <a:cubicBezTo>
                    <a:pt x="997" y="1528"/>
                    <a:pt x="997" y="1528"/>
                    <a:pt x="997" y="1528"/>
                  </a:cubicBezTo>
                  <a:close/>
                  <a:moveTo>
                    <a:pt x="997" y="1541"/>
                  </a:moveTo>
                  <a:cubicBezTo>
                    <a:pt x="1043" y="1541"/>
                    <a:pt x="1043" y="1541"/>
                    <a:pt x="1043" y="1541"/>
                  </a:cubicBezTo>
                  <a:cubicBezTo>
                    <a:pt x="1043" y="1547"/>
                    <a:pt x="1043" y="1547"/>
                    <a:pt x="1043" y="1547"/>
                  </a:cubicBezTo>
                  <a:cubicBezTo>
                    <a:pt x="997" y="1547"/>
                    <a:pt x="997" y="1547"/>
                    <a:pt x="997" y="1547"/>
                  </a:cubicBezTo>
                  <a:cubicBezTo>
                    <a:pt x="997" y="1541"/>
                    <a:pt x="997" y="1541"/>
                    <a:pt x="997" y="1541"/>
                  </a:cubicBezTo>
                  <a:close/>
                  <a:moveTo>
                    <a:pt x="997" y="1552"/>
                  </a:moveTo>
                  <a:cubicBezTo>
                    <a:pt x="1043" y="1552"/>
                    <a:pt x="1043" y="1552"/>
                    <a:pt x="1043" y="1552"/>
                  </a:cubicBezTo>
                  <a:cubicBezTo>
                    <a:pt x="1043" y="1558"/>
                    <a:pt x="1043" y="1558"/>
                    <a:pt x="1043" y="1558"/>
                  </a:cubicBezTo>
                  <a:cubicBezTo>
                    <a:pt x="997" y="1558"/>
                    <a:pt x="997" y="1558"/>
                    <a:pt x="997" y="1558"/>
                  </a:cubicBezTo>
                  <a:cubicBezTo>
                    <a:pt x="997" y="1552"/>
                    <a:pt x="997" y="1552"/>
                    <a:pt x="997" y="1552"/>
                  </a:cubicBezTo>
                  <a:close/>
                  <a:moveTo>
                    <a:pt x="997" y="1564"/>
                  </a:moveTo>
                  <a:cubicBezTo>
                    <a:pt x="1043" y="1564"/>
                    <a:pt x="1043" y="1564"/>
                    <a:pt x="1043" y="1564"/>
                  </a:cubicBezTo>
                  <a:cubicBezTo>
                    <a:pt x="1043" y="1570"/>
                    <a:pt x="1043" y="1570"/>
                    <a:pt x="1043" y="1570"/>
                  </a:cubicBezTo>
                  <a:cubicBezTo>
                    <a:pt x="997" y="1570"/>
                    <a:pt x="997" y="1570"/>
                    <a:pt x="997" y="1570"/>
                  </a:cubicBezTo>
                  <a:cubicBezTo>
                    <a:pt x="997" y="1564"/>
                    <a:pt x="997" y="1564"/>
                    <a:pt x="997" y="1564"/>
                  </a:cubicBezTo>
                  <a:close/>
                  <a:moveTo>
                    <a:pt x="997" y="1576"/>
                  </a:moveTo>
                  <a:cubicBezTo>
                    <a:pt x="1043" y="1576"/>
                    <a:pt x="1043" y="1576"/>
                    <a:pt x="1043" y="1576"/>
                  </a:cubicBezTo>
                  <a:cubicBezTo>
                    <a:pt x="1043" y="1582"/>
                    <a:pt x="1043" y="1582"/>
                    <a:pt x="1043" y="1582"/>
                  </a:cubicBezTo>
                  <a:cubicBezTo>
                    <a:pt x="997" y="1582"/>
                    <a:pt x="997" y="1582"/>
                    <a:pt x="997" y="1582"/>
                  </a:cubicBezTo>
                  <a:cubicBezTo>
                    <a:pt x="997" y="1576"/>
                    <a:pt x="997" y="1576"/>
                    <a:pt x="997" y="1576"/>
                  </a:cubicBezTo>
                  <a:close/>
                  <a:moveTo>
                    <a:pt x="997" y="1588"/>
                  </a:moveTo>
                  <a:cubicBezTo>
                    <a:pt x="1043" y="1588"/>
                    <a:pt x="1043" y="1588"/>
                    <a:pt x="1043" y="1588"/>
                  </a:cubicBezTo>
                  <a:cubicBezTo>
                    <a:pt x="1043" y="1594"/>
                    <a:pt x="1043" y="1594"/>
                    <a:pt x="1043" y="1594"/>
                  </a:cubicBezTo>
                  <a:cubicBezTo>
                    <a:pt x="997" y="1594"/>
                    <a:pt x="997" y="1594"/>
                    <a:pt x="997" y="1594"/>
                  </a:cubicBezTo>
                  <a:cubicBezTo>
                    <a:pt x="997" y="1588"/>
                    <a:pt x="997" y="1588"/>
                    <a:pt x="997" y="1588"/>
                  </a:cubicBezTo>
                  <a:close/>
                  <a:moveTo>
                    <a:pt x="997" y="1600"/>
                  </a:moveTo>
                  <a:cubicBezTo>
                    <a:pt x="1043" y="1600"/>
                    <a:pt x="1043" y="1600"/>
                    <a:pt x="1043" y="1600"/>
                  </a:cubicBezTo>
                  <a:cubicBezTo>
                    <a:pt x="1043" y="1605"/>
                    <a:pt x="1043" y="1605"/>
                    <a:pt x="1043" y="1605"/>
                  </a:cubicBezTo>
                  <a:cubicBezTo>
                    <a:pt x="997" y="1605"/>
                    <a:pt x="997" y="1605"/>
                    <a:pt x="997" y="1605"/>
                  </a:cubicBezTo>
                  <a:cubicBezTo>
                    <a:pt x="997" y="1600"/>
                    <a:pt x="997" y="1600"/>
                    <a:pt x="997" y="1600"/>
                  </a:cubicBezTo>
                  <a:close/>
                  <a:moveTo>
                    <a:pt x="997" y="1612"/>
                  </a:moveTo>
                  <a:cubicBezTo>
                    <a:pt x="1043" y="1612"/>
                    <a:pt x="1043" y="1612"/>
                    <a:pt x="1043" y="1612"/>
                  </a:cubicBezTo>
                  <a:cubicBezTo>
                    <a:pt x="1043" y="1617"/>
                    <a:pt x="1043" y="1617"/>
                    <a:pt x="1043" y="1617"/>
                  </a:cubicBezTo>
                  <a:cubicBezTo>
                    <a:pt x="997" y="1617"/>
                    <a:pt x="997" y="1617"/>
                    <a:pt x="997" y="1617"/>
                  </a:cubicBezTo>
                  <a:cubicBezTo>
                    <a:pt x="997" y="1612"/>
                    <a:pt x="997" y="1612"/>
                    <a:pt x="997" y="1612"/>
                  </a:cubicBezTo>
                  <a:close/>
                  <a:moveTo>
                    <a:pt x="997" y="1626"/>
                  </a:moveTo>
                  <a:cubicBezTo>
                    <a:pt x="1043" y="1626"/>
                    <a:pt x="1043" y="1626"/>
                    <a:pt x="1043" y="1626"/>
                  </a:cubicBezTo>
                  <a:cubicBezTo>
                    <a:pt x="1043" y="1631"/>
                    <a:pt x="1043" y="1631"/>
                    <a:pt x="1043" y="1631"/>
                  </a:cubicBezTo>
                  <a:cubicBezTo>
                    <a:pt x="997" y="1631"/>
                    <a:pt x="997" y="1631"/>
                    <a:pt x="997" y="1631"/>
                  </a:cubicBezTo>
                  <a:cubicBezTo>
                    <a:pt x="997" y="1626"/>
                    <a:pt x="997" y="1626"/>
                    <a:pt x="997" y="1626"/>
                  </a:cubicBezTo>
                  <a:close/>
                  <a:moveTo>
                    <a:pt x="997" y="1637"/>
                  </a:moveTo>
                  <a:cubicBezTo>
                    <a:pt x="1043" y="1637"/>
                    <a:pt x="1043" y="1637"/>
                    <a:pt x="1043" y="1637"/>
                  </a:cubicBezTo>
                  <a:cubicBezTo>
                    <a:pt x="1043" y="1643"/>
                    <a:pt x="1043" y="1643"/>
                    <a:pt x="1043" y="1643"/>
                  </a:cubicBezTo>
                  <a:cubicBezTo>
                    <a:pt x="997" y="1643"/>
                    <a:pt x="997" y="1643"/>
                    <a:pt x="997" y="1643"/>
                  </a:cubicBezTo>
                  <a:cubicBezTo>
                    <a:pt x="997" y="1637"/>
                    <a:pt x="997" y="1637"/>
                    <a:pt x="997" y="1637"/>
                  </a:cubicBezTo>
                  <a:close/>
                  <a:moveTo>
                    <a:pt x="997" y="1649"/>
                  </a:moveTo>
                  <a:cubicBezTo>
                    <a:pt x="1043" y="1649"/>
                    <a:pt x="1043" y="1649"/>
                    <a:pt x="1043" y="1649"/>
                  </a:cubicBezTo>
                  <a:cubicBezTo>
                    <a:pt x="1043" y="1655"/>
                    <a:pt x="1043" y="1655"/>
                    <a:pt x="1043" y="1655"/>
                  </a:cubicBezTo>
                  <a:cubicBezTo>
                    <a:pt x="997" y="1655"/>
                    <a:pt x="997" y="1655"/>
                    <a:pt x="997" y="1655"/>
                  </a:cubicBezTo>
                  <a:cubicBezTo>
                    <a:pt x="997" y="1649"/>
                    <a:pt x="997" y="1649"/>
                    <a:pt x="997" y="1649"/>
                  </a:cubicBezTo>
                  <a:close/>
                  <a:moveTo>
                    <a:pt x="997" y="1661"/>
                  </a:moveTo>
                  <a:cubicBezTo>
                    <a:pt x="1043" y="1661"/>
                    <a:pt x="1043" y="1661"/>
                    <a:pt x="1043" y="1661"/>
                  </a:cubicBezTo>
                  <a:cubicBezTo>
                    <a:pt x="1043" y="1667"/>
                    <a:pt x="1043" y="1667"/>
                    <a:pt x="1043" y="1667"/>
                  </a:cubicBezTo>
                  <a:cubicBezTo>
                    <a:pt x="997" y="1667"/>
                    <a:pt x="997" y="1667"/>
                    <a:pt x="997" y="1667"/>
                  </a:cubicBezTo>
                  <a:cubicBezTo>
                    <a:pt x="997" y="1661"/>
                    <a:pt x="997" y="1661"/>
                    <a:pt x="997" y="1661"/>
                  </a:cubicBezTo>
                  <a:close/>
                  <a:moveTo>
                    <a:pt x="997" y="1673"/>
                  </a:moveTo>
                  <a:cubicBezTo>
                    <a:pt x="1043" y="1673"/>
                    <a:pt x="1043" y="1673"/>
                    <a:pt x="1043" y="1673"/>
                  </a:cubicBezTo>
                  <a:cubicBezTo>
                    <a:pt x="1043" y="1679"/>
                    <a:pt x="1043" y="1679"/>
                    <a:pt x="1043" y="1679"/>
                  </a:cubicBezTo>
                  <a:cubicBezTo>
                    <a:pt x="997" y="1679"/>
                    <a:pt x="997" y="1679"/>
                    <a:pt x="997" y="1679"/>
                  </a:cubicBezTo>
                  <a:cubicBezTo>
                    <a:pt x="997" y="1673"/>
                    <a:pt x="997" y="1673"/>
                    <a:pt x="997" y="1673"/>
                  </a:cubicBezTo>
                  <a:close/>
                  <a:moveTo>
                    <a:pt x="997" y="1685"/>
                  </a:moveTo>
                  <a:cubicBezTo>
                    <a:pt x="1043" y="1685"/>
                    <a:pt x="1043" y="1685"/>
                    <a:pt x="1043" y="1685"/>
                  </a:cubicBezTo>
                  <a:cubicBezTo>
                    <a:pt x="1043" y="1690"/>
                    <a:pt x="1043" y="1690"/>
                    <a:pt x="1043" y="1690"/>
                  </a:cubicBezTo>
                  <a:cubicBezTo>
                    <a:pt x="997" y="1690"/>
                    <a:pt x="997" y="1690"/>
                    <a:pt x="997" y="1690"/>
                  </a:cubicBezTo>
                  <a:cubicBezTo>
                    <a:pt x="997" y="1685"/>
                    <a:pt x="997" y="1685"/>
                    <a:pt x="997" y="1685"/>
                  </a:cubicBezTo>
                  <a:close/>
                  <a:moveTo>
                    <a:pt x="997" y="1697"/>
                  </a:moveTo>
                  <a:cubicBezTo>
                    <a:pt x="1043" y="1697"/>
                    <a:pt x="1043" y="1697"/>
                    <a:pt x="1043" y="1697"/>
                  </a:cubicBezTo>
                  <a:cubicBezTo>
                    <a:pt x="1043" y="1702"/>
                    <a:pt x="1043" y="1702"/>
                    <a:pt x="1043" y="1702"/>
                  </a:cubicBezTo>
                  <a:cubicBezTo>
                    <a:pt x="997" y="1702"/>
                    <a:pt x="997" y="1702"/>
                    <a:pt x="997" y="1702"/>
                  </a:cubicBezTo>
                  <a:cubicBezTo>
                    <a:pt x="997" y="1697"/>
                    <a:pt x="997" y="1697"/>
                    <a:pt x="997" y="1697"/>
                  </a:cubicBezTo>
                  <a:close/>
                  <a:moveTo>
                    <a:pt x="997" y="1709"/>
                  </a:moveTo>
                  <a:cubicBezTo>
                    <a:pt x="1043" y="1709"/>
                    <a:pt x="1043" y="1709"/>
                    <a:pt x="1043" y="1709"/>
                  </a:cubicBezTo>
                  <a:cubicBezTo>
                    <a:pt x="1043" y="1714"/>
                    <a:pt x="1043" y="1714"/>
                    <a:pt x="1043" y="1714"/>
                  </a:cubicBezTo>
                  <a:cubicBezTo>
                    <a:pt x="997" y="1714"/>
                    <a:pt x="997" y="1714"/>
                    <a:pt x="997" y="1714"/>
                  </a:cubicBezTo>
                  <a:cubicBezTo>
                    <a:pt x="997" y="1709"/>
                    <a:pt x="997" y="1709"/>
                    <a:pt x="997" y="1709"/>
                  </a:cubicBezTo>
                  <a:close/>
                  <a:moveTo>
                    <a:pt x="997" y="1721"/>
                  </a:moveTo>
                  <a:cubicBezTo>
                    <a:pt x="1043" y="1721"/>
                    <a:pt x="1043" y="1721"/>
                    <a:pt x="1043" y="1721"/>
                  </a:cubicBezTo>
                  <a:cubicBezTo>
                    <a:pt x="1043" y="1726"/>
                    <a:pt x="1043" y="1726"/>
                    <a:pt x="1043" y="1726"/>
                  </a:cubicBezTo>
                  <a:cubicBezTo>
                    <a:pt x="997" y="1726"/>
                    <a:pt x="997" y="1726"/>
                    <a:pt x="997" y="1726"/>
                  </a:cubicBezTo>
                  <a:cubicBezTo>
                    <a:pt x="997" y="1721"/>
                    <a:pt x="997" y="1721"/>
                    <a:pt x="997" y="1721"/>
                  </a:cubicBezTo>
                  <a:close/>
                  <a:moveTo>
                    <a:pt x="997" y="1733"/>
                  </a:moveTo>
                  <a:cubicBezTo>
                    <a:pt x="1043" y="1733"/>
                    <a:pt x="1043" y="1733"/>
                    <a:pt x="1043" y="1733"/>
                  </a:cubicBezTo>
                  <a:cubicBezTo>
                    <a:pt x="1043" y="1738"/>
                    <a:pt x="1043" y="1738"/>
                    <a:pt x="1043" y="1738"/>
                  </a:cubicBezTo>
                  <a:cubicBezTo>
                    <a:pt x="997" y="1738"/>
                    <a:pt x="997" y="1738"/>
                    <a:pt x="997" y="1738"/>
                  </a:cubicBezTo>
                  <a:cubicBezTo>
                    <a:pt x="997" y="1733"/>
                    <a:pt x="997" y="1733"/>
                    <a:pt x="997" y="1733"/>
                  </a:cubicBezTo>
                  <a:close/>
                  <a:moveTo>
                    <a:pt x="997" y="1745"/>
                  </a:moveTo>
                  <a:cubicBezTo>
                    <a:pt x="1043" y="1745"/>
                    <a:pt x="1043" y="1745"/>
                    <a:pt x="1043" y="1745"/>
                  </a:cubicBezTo>
                  <a:cubicBezTo>
                    <a:pt x="1043" y="1750"/>
                    <a:pt x="1043" y="1750"/>
                    <a:pt x="1043" y="1750"/>
                  </a:cubicBezTo>
                  <a:cubicBezTo>
                    <a:pt x="997" y="1750"/>
                    <a:pt x="997" y="1750"/>
                    <a:pt x="997" y="1750"/>
                  </a:cubicBezTo>
                  <a:cubicBezTo>
                    <a:pt x="997" y="1745"/>
                    <a:pt x="997" y="1745"/>
                    <a:pt x="997" y="1745"/>
                  </a:cubicBezTo>
                  <a:close/>
                  <a:moveTo>
                    <a:pt x="844" y="1515"/>
                  </a:moveTo>
                  <a:cubicBezTo>
                    <a:pt x="891" y="1515"/>
                    <a:pt x="891" y="1515"/>
                    <a:pt x="891" y="1515"/>
                  </a:cubicBezTo>
                  <a:cubicBezTo>
                    <a:pt x="891" y="1520"/>
                    <a:pt x="891" y="1520"/>
                    <a:pt x="891" y="1520"/>
                  </a:cubicBezTo>
                  <a:cubicBezTo>
                    <a:pt x="844" y="1520"/>
                    <a:pt x="844" y="1520"/>
                    <a:pt x="844" y="1520"/>
                  </a:cubicBezTo>
                  <a:cubicBezTo>
                    <a:pt x="844" y="1515"/>
                    <a:pt x="844" y="1515"/>
                    <a:pt x="844" y="1515"/>
                  </a:cubicBezTo>
                  <a:close/>
                  <a:moveTo>
                    <a:pt x="844" y="1528"/>
                  </a:moveTo>
                  <a:cubicBezTo>
                    <a:pt x="891" y="1528"/>
                    <a:pt x="891" y="1528"/>
                    <a:pt x="891" y="1528"/>
                  </a:cubicBezTo>
                  <a:cubicBezTo>
                    <a:pt x="891" y="1534"/>
                    <a:pt x="891" y="1534"/>
                    <a:pt x="891" y="1534"/>
                  </a:cubicBezTo>
                  <a:cubicBezTo>
                    <a:pt x="844" y="1534"/>
                    <a:pt x="844" y="1534"/>
                    <a:pt x="844" y="1534"/>
                  </a:cubicBezTo>
                  <a:cubicBezTo>
                    <a:pt x="844" y="1528"/>
                    <a:pt x="844" y="1528"/>
                    <a:pt x="844" y="1528"/>
                  </a:cubicBezTo>
                  <a:close/>
                  <a:moveTo>
                    <a:pt x="844" y="1541"/>
                  </a:moveTo>
                  <a:cubicBezTo>
                    <a:pt x="891" y="1541"/>
                    <a:pt x="891" y="1541"/>
                    <a:pt x="891" y="1541"/>
                  </a:cubicBezTo>
                  <a:cubicBezTo>
                    <a:pt x="891" y="1547"/>
                    <a:pt x="891" y="1547"/>
                    <a:pt x="891" y="1547"/>
                  </a:cubicBezTo>
                  <a:cubicBezTo>
                    <a:pt x="844" y="1547"/>
                    <a:pt x="844" y="1547"/>
                    <a:pt x="844" y="1547"/>
                  </a:cubicBezTo>
                  <a:cubicBezTo>
                    <a:pt x="844" y="1541"/>
                    <a:pt x="844" y="1541"/>
                    <a:pt x="844" y="1541"/>
                  </a:cubicBezTo>
                  <a:close/>
                  <a:moveTo>
                    <a:pt x="844" y="1552"/>
                  </a:moveTo>
                  <a:cubicBezTo>
                    <a:pt x="891" y="1552"/>
                    <a:pt x="891" y="1552"/>
                    <a:pt x="891" y="1552"/>
                  </a:cubicBezTo>
                  <a:cubicBezTo>
                    <a:pt x="891" y="1558"/>
                    <a:pt x="891" y="1558"/>
                    <a:pt x="891" y="1558"/>
                  </a:cubicBezTo>
                  <a:cubicBezTo>
                    <a:pt x="844" y="1558"/>
                    <a:pt x="844" y="1558"/>
                    <a:pt x="844" y="1558"/>
                  </a:cubicBezTo>
                  <a:cubicBezTo>
                    <a:pt x="844" y="1552"/>
                    <a:pt x="844" y="1552"/>
                    <a:pt x="844" y="1552"/>
                  </a:cubicBezTo>
                  <a:close/>
                  <a:moveTo>
                    <a:pt x="844" y="1564"/>
                  </a:moveTo>
                  <a:cubicBezTo>
                    <a:pt x="891" y="1564"/>
                    <a:pt x="891" y="1564"/>
                    <a:pt x="891" y="1564"/>
                  </a:cubicBezTo>
                  <a:cubicBezTo>
                    <a:pt x="891" y="1570"/>
                    <a:pt x="891" y="1570"/>
                    <a:pt x="891" y="1570"/>
                  </a:cubicBezTo>
                  <a:cubicBezTo>
                    <a:pt x="844" y="1570"/>
                    <a:pt x="844" y="1570"/>
                    <a:pt x="844" y="1570"/>
                  </a:cubicBezTo>
                  <a:cubicBezTo>
                    <a:pt x="844" y="1564"/>
                    <a:pt x="844" y="1564"/>
                    <a:pt x="844" y="1564"/>
                  </a:cubicBezTo>
                  <a:close/>
                  <a:moveTo>
                    <a:pt x="844" y="1576"/>
                  </a:moveTo>
                  <a:cubicBezTo>
                    <a:pt x="891" y="1576"/>
                    <a:pt x="891" y="1576"/>
                    <a:pt x="891" y="1576"/>
                  </a:cubicBezTo>
                  <a:cubicBezTo>
                    <a:pt x="891" y="1582"/>
                    <a:pt x="891" y="1582"/>
                    <a:pt x="891" y="1582"/>
                  </a:cubicBezTo>
                  <a:cubicBezTo>
                    <a:pt x="844" y="1582"/>
                    <a:pt x="844" y="1582"/>
                    <a:pt x="844" y="1582"/>
                  </a:cubicBezTo>
                  <a:cubicBezTo>
                    <a:pt x="844" y="1576"/>
                    <a:pt x="844" y="1576"/>
                    <a:pt x="844" y="1576"/>
                  </a:cubicBezTo>
                  <a:close/>
                  <a:moveTo>
                    <a:pt x="844" y="1588"/>
                  </a:moveTo>
                  <a:cubicBezTo>
                    <a:pt x="891" y="1588"/>
                    <a:pt x="891" y="1588"/>
                    <a:pt x="891" y="1588"/>
                  </a:cubicBezTo>
                  <a:cubicBezTo>
                    <a:pt x="891" y="1594"/>
                    <a:pt x="891" y="1594"/>
                    <a:pt x="891" y="1594"/>
                  </a:cubicBezTo>
                  <a:cubicBezTo>
                    <a:pt x="844" y="1594"/>
                    <a:pt x="844" y="1594"/>
                    <a:pt x="844" y="1594"/>
                  </a:cubicBezTo>
                  <a:cubicBezTo>
                    <a:pt x="844" y="1588"/>
                    <a:pt x="844" y="1588"/>
                    <a:pt x="844" y="1588"/>
                  </a:cubicBezTo>
                  <a:close/>
                  <a:moveTo>
                    <a:pt x="844" y="1600"/>
                  </a:moveTo>
                  <a:cubicBezTo>
                    <a:pt x="891" y="1600"/>
                    <a:pt x="891" y="1600"/>
                    <a:pt x="891" y="1600"/>
                  </a:cubicBezTo>
                  <a:cubicBezTo>
                    <a:pt x="891" y="1605"/>
                    <a:pt x="891" y="1605"/>
                    <a:pt x="891" y="1605"/>
                  </a:cubicBezTo>
                  <a:cubicBezTo>
                    <a:pt x="844" y="1605"/>
                    <a:pt x="844" y="1605"/>
                    <a:pt x="844" y="1605"/>
                  </a:cubicBezTo>
                  <a:cubicBezTo>
                    <a:pt x="844" y="1600"/>
                    <a:pt x="844" y="1600"/>
                    <a:pt x="844" y="1600"/>
                  </a:cubicBezTo>
                  <a:close/>
                  <a:moveTo>
                    <a:pt x="844" y="1612"/>
                  </a:moveTo>
                  <a:cubicBezTo>
                    <a:pt x="891" y="1612"/>
                    <a:pt x="891" y="1612"/>
                    <a:pt x="891" y="1612"/>
                  </a:cubicBezTo>
                  <a:cubicBezTo>
                    <a:pt x="891" y="1617"/>
                    <a:pt x="891" y="1617"/>
                    <a:pt x="891" y="1617"/>
                  </a:cubicBezTo>
                  <a:cubicBezTo>
                    <a:pt x="844" y="1617"/>
                    <a:pt x="844" y="1617"/>
                    <a:pt x="844" y="1617"/>
                  </a:cubicBezTo>
                  <a:cubicBezTo>
                    <a:pt x="844" y="1612"/>
                    <a:pt x="844" y="1612"/>
                    <a:pt x="844" y="1612"/>
                  </a:cubicBezTo>
                  <a:close/>
                  <a:moveTo>
                    <a:pt x="844" y="1626"/>
                  </a:moveTo>
                  <a:cubicBezTo>
                    <a:pt x="891" y="1626"/>
                    <a:pt x="891" y="1626"/>
                    <a:pt x="891" y="1626"/>
                  </a:cubicBezTo>
                  <a:cubicBezTo>
                    <a:pt x="891" y="1631"/>
                    <a:pt x="891" y="1631"/>
                    <a:pt x="891" y="1631"/>
                  </a:cubicBezTo>
                  <a:cubicBezTo>
                    <a:pt x="844" y="1631"/>
                    <a:pt x="844" y="1631"/>
                    <a:pt x="844" y="1631"/>
                  </a:cubicBezTo>
                  <a:cubicBezTo>
                    <a:pt x="844" y="1626"/>
                    <a:pt x="844" y="1626"/>
                    <a:pt x="844" y="1626"/>
                  </a:cubicBezTo>
                  <a:close/>
                  <a:moveTo>
                    <a:pt x="844" y="1637"/>
                  </a:moveTo>
                  <a:cubicBezTo>
                    <a:pt x="891" y="1637"/>
                    <a:pt x="891" y="1637"/>
                    <a:pt x="891" y="1637"/>
                  </a:cubicBezTo>
                  <a:cubicBezTo>
                    <a:pt x="891" y="1643"/>
                    <a:pt x="891" y="1643"/>
                    <a:pt x="891" y="1643"/>
                  </a:cubicBezTo>
                  <a:cubicBezTo>
                    <a:pt x="844" y="1643"/>
                    <a:pt x="844" y="1643"/>
                    <a:pt x="844" y="1643"/>
                  </a:cubicBezTo>
                  <a:cubicBezTo>
                    <a:pt x="844" y="1637"/>
                    <a:pt x="844" y="1637"/>
                    <a:pt x="844" y="1637"/>
                  </a:cubicBezTo>
                  <a:close/>
                  <a:moveTo>
                    <a:pt x="844" y="1649"/>
                  </a:moveTo>
                  <a:cubicBezTo>
                    <a:pt x="891" y="1649"/>
                    <a:pt x="891" y="1649"/>
                    <a:pt x="891" y="1649"/>
                  </a:cubicBezTo>
                  <a:cubicBezTo>
                    <a:pt x="891" y="1655"/>
                    <a:pt x="891" y="1655"/>
                    <a:pt x="891" y="1655"/>
                  </a:cubicBezTo>
                  <a:cubicBezTo>
                    <a:pt x="844" y="1655"/>
                    <a:pt x="844" y="1655"/>
                    <a:pt x="844" y="1655"/>
                  </a:cubicBezTo>
                  <a:cubicBezTo>
                    <a:pt x="844" y="1649"/>
                    <a:pt x="844" y="1649"/>
                    <a:pt x="844" y="1649"/>
                  </a:cubicBezTo>
                  <a:close/>
                  <a:moveTo>
                    <a:pt x="844" y="1661"/>
                  </a:moveTo>
                  <a:cubicBezTo>
                    <a:pt x="891" y="1661"/>
                    <a:pt x="891" y="1661"/>
                    <a:pt x="891" y="1661"/>
                  </a:cubicBezTo>
                  <a:cubicBezTo>
                    <a:pt x="891" y="1667"/>
                    <a:pt x="891" y="1667"/>
                    <a:pt x="891" y="1667"/>
                  </a:cubicBezTo>
                  <a:cubicBezTo>
                    <a:pt x="844" y="1667"/>
                    <a:pt x="844" y="1667"/>
                    <a:pt x="844" y="1667"/>
                  </a:cubicBezTo>
                  <a:cubicBezTo>
                    <a:pt x="844" y="1661"/>
                    <a:pt x="844" y="1661"/>
                    <a:pt x="844" y="1661"/>
                  </a:cubicBezTo>
                  <a:close/>
                  <a:moveTo>
                    <a:pt x="844" y="1673"/>
                  </a:moveTo>
                  <a:cubicBezTo>
                    <a:pt x="891" y="1673"/>
                    <a:pt x="891" y="1673"/>
                    <a:pt x="891" y="1673"/>
                  </a:cubicBezTo>
                  <a:cubicBezTo>
                    <a:pt x="891" y="1679"/>
                    <a:pt x="891" y="1679"/>
                    <a:pt x="891" y="1679"/>
                  </a:cubicBezTo>
                  <a:cubicBezTo>
                    <a:pt x="844" y="1679"/>
                    <a:pt x="844" y="1679"/>
                    <a:pt x="844" y="1679"/>
                  </a:cubicBezTo>
                  <a:cubicBezTo>
                    <a:pt x="844" y="1673"/>
                    <a:pt x="844" y="1673"/>
                    <a:pt x="844" y="1673"/>
                  </a:cubicBezTo>
                  <a:close/>
                  <a:moveTo>
                    <a:pt x="844" y="1685"/>
                  </a:moveTo>
                  <a:cubicBezTo>
                    <a:pt x="891" y="1685"/>
                    <a:pt x="891" y="1685"/>
                    <a:pt x="891" y="1685"/>
                  </a:cubicBezTo>
                  <a:cubicBezTo>
                    <a:pt x="891" y="1690"/>
                    <a:pt x="891" y="1690"/>
                    <a:pt x="891" y="1690"/>
                  </a:cubicBezTo>
                  <a:cubicBezTo>
                    <a:pt x="844" y="1690"/>
                    <a:pt x="844" y="1690"/>
                    <a:pt x="844" y="1690"/>
                  </a:cubicBezTo>
                  <a:cubicBezTo>
                    <a:pt x="844" y="1685"/>
                    <a:pt x="844" y="1685"/>
                    <a:pt x="844" y="1685"/>
                  </a:cubicBezTo>
                  <a:close/>
                  <a:moveTo>
                    <a:pt x="844" y="1697"/>
                  </a:moveTo>
                  <a:cubicBezTo>
                    <a:pt x="891" y="1697"/>
                    <a:pt x="891" y="1697"/>
                    <a:pt x="891" y="1697"/>
                  </a:cubicBezTo>
                  <a:cubicBezTo>
                    <a:pt x="891" y="1702"/>
                    <a:pt x="891" y="1702"/>
                    <a:pt x="891" y="1702"/>
                  </a:cubicBezTo>
                  <a:cubicBezTo>
                    <a:pt x="844" y="1702"/>
                    <a:pt x="844" y="1702"/>
                    <a:pt x="844" y="1702"/>
                  </a:cubicBezTo>
                  <a:cubicBezTo>
                    <a:pt x="844" y="1697"/>
                    <a:pt x="844" y="1697"/>
                    <a:pt x="844" y="1697"/>
                  </a:cubicBezTo>
                  <a:close/>
                  <a:moveTo>
                    <a:pt x="844" y="1709"/>
                  </a:moveTo>
                  <a:cubicBezTo>
                    <a:pt x="891" y="1709"/>
                    <a:pt x="891" y="1709"/>
                    <a:pt x="891" y="1709"/>
                  </a:cubicBezTo>
                  <a:cubicBezTo>
                    <a:pt x="891" y="1714"/>
                    <a:pt x="891" y="1714"/>
                    <a:pt x="891" y="1714"/>
                  </a:cubicBezTo>
                  <a:cubicBezTo>
                    <a:pt x="844" y="1714"/>
                    <a:pt x="844" y="1714"/>
                    <a:pt x="844" y="1714"/>
                  </a:cubicBezTo>
                  <a:cubicBezTo>
                    <a:pt x="844" y="1709"/>
                    <a:pt x="844" y="1709"/>
                    <a:pt x="844" y="1709"/>
                  </a:cubicBezTo>
                  <a:close/>
                  <a:moveTo>
                    <a:pt x="844" y="1721"/>
                  </a:moveTo>
                  <a:cubicBezTo>
                    <a:pt x="891" y="1721"/>
                    <a:pt x="891" y="1721"/>
                    <a:pt x="891" y="1721"/>
                  </a:cubicBezTo>
                  <a:cubicBezTo>
                    <a:pt x="891" y="1726"/>
                    <a:pt x="891" y="1726"/>
                    <a:pt x="891" y="1726"/>
                  </a:cubicBezTo>
                  <a:cubicBezTo>
                    <a:pt x="844" y="1726"/>
                    <a:pt x="844" y="1726"/>
                    <a:pt x="844" y="1726"/>
                  </a:cubicBezTo>
                  <a:cubicBezTo>
                    <a:pt x="844" y="1721"/>
                    <a:pt x="844" y="1721"/>
                    <a:pt x="844" y="1721"/>
                  </a:cubicBezTo>
                  <a:close/>
                  <a:moveTo>
                    <a:pt x="844" y="1733"/>
                  </a:moveTo>
                  <a:cubicBezTo>
                    <a:pt x="891" y="1733"/>
                    <a:pt x="891" y="1733"/>
                    <a:pt x="891" y="1733"/>
                  </a:cubicBezTo>
                  <a:cubicBezTo>
                    <a:pt x="891" y="1738"/>
                    <a:pt x="891" y="1738"/>
                    <a:pt x="891" y="1738"/>
                  </a:cubicBezTo>
                  <a:cubicBezTo>
                    <a:pt x="844" y="1738"/>
                    <a:pt x="844" y="1738"/>
                    <a:pt x="844" y="1738"/>
                  </a:cubicBezTo>
                  <a:cubicBezTo>
                    <a:pt x="844" y="1733"/>
                    <a:pt x="844" y="1733"/>
                    <a:pt x="844" y="1733"/>
                  </a:cubicBezTo>
                  <a:close/>
                  <a:moveTo>
                    <a:pt x="844" y="1745"/>
                  </a:moveTo>
                  <a:cubicBezTo>
                    <a:pt x="891" y="1745"/>
                    <a:pt x="891" y="1745"/>
                    <a:pt x="891" y="1745"/>
                  </a:cubicBezTo>
                  <a:cubicBezTo>
                    <a:pt x="891" y="1750"/>
                    <a:pt x="891" y="1750"/>
                    <a:pt x="891" y="1750"/>
                  </a:cubicBezTo>
                  <a:cubicBezTo>
                    <a:pt x="844" y="1750"/>
                    <a:pt x="844" y="1750"/>
                    <a:pt x="844" y="1750"/>
                  </a:cubicBezTo>
                  <a:cubicBezTo>
                    <a:pt x="844" y="1745"/>
                    <a:pt x="844" y="1745"/>
                    <a:pt x="844" y="1745"/>
                  </a:cubicBezTo>
                  <a:close/>
                  <a:moveTo>
                    <a:pt x="1140" y="1387"/>
                  </a:moveTo>
                  <a:cubicBezTo>
                    <a:pt x="1140" y="1392"/>
                    <a:pt x="1140" y="1392"/>
                    <a:pt x="1140" y="1392"/>
                  </a:cubicBezTo>
                  <a:cubicBezTo>
                    <a:pt x="958" y="1392"/>
                    <a:pt x="958" y="1392"/>
                    <a:pt x="958" y="1392"/>
                  </a:cubicBezTo>
                  <a:cubicBezTo>
                    <a:pt x="958" y="1387"/>
                    <a:pt x="958" y="1387"/>
                    <a:pt x="958" y="1387"/>
                  </a:cubicBezTo>
                  <a:cubicBezTo>
                    <a:pt x="1140" y="1387"/>
                    <a:pt x="1140" y="1387"/>
                    <a:pt x="1140" y="1387"/>
                  </a:cubicBezTo>
                  <a:close/>
                  <a:moveTo>
                    <a:pt x="951" y="1411"/>
                  </a:moveTo>
                  <a:cubicBezTo>
                    <a:pt x="1006" y="1461"/>
                    <a:pt x="1006" y="1461"/>
                    <a:pt x="1006" y="1461"/>
                  </a:cubicBezTo>
                  <a:cubicBezTo>
                    <a:pt x="901" y="1461"/>
                    <a:pt x="901" y="1461"/>
                    <a:pt x="901" y="1461"/>
                  </a:cubicBezTo>
                  <a:cubicBezTo>
                    <a:pt x="951" y="1411"/>
                    <a:pt x="951" y="1411"/>
                    <a:pt x="951" y="1411"/>
                  </a:cubicBezTo>
                  <a:close/>
                  <a:moveTo>
                    <a:pt x="1221" y="1387"/>
                  </a:moveTo>
                  <a:cubicBezTo>
                    <a:pt x="1403" y="1387"/>
                    <a:pt x="1403" y="1387"/>
                    <a:pt x="1403" y="1387"/>
                  </a:cubicBezTo>
                  <a:cubicBezTo>
                    <a:pt x="1403" y="1392"/>
                    <a:pt x="1403" y="1392"/>
                    <a:pt x="1403" y="1392"/>
                  </a:cubicBezTo>
                  <a:cubicBezTo>
                    <a:pt x="1221" y="1392"/>
                    <a:pt x="1221" y="1392"/>
                    <a:pt x="1221" y="1392"/>
                  </a:cubicBezTo>
                  <a:cubicBezTo>
                    <a:pt x="1221" y="1387"/>
                    <a:pt x="1221" y="1387"/>
                    <a:pt x="1221" y="1387"/>
                  </a:cubicBezTo>
                  <a:close/>
                  <a:moveTo>
                    <a:pt x="1409" y="1411"/>
                  </a:moveTo>
                  <a:cubicBezTo>
                    <a:pt x="1459" y="1461"/>
                    <a:pt x="1459" y="1461"/>
                    <a:pt x="1459" y="1461"/>
                  </a:cubicBezTo>
                  <a:cubicBezTo>
                    <a:pt x="1355" y="1461"/>
                    <a:pt x="1355" y="1461"/>
                    <a:pt x="1355" y="1461"/>
                  </a:cubicBezTo>
                  <a:lnTo>
                    <a:pt x="1409" y="14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</p:grpSp>
      <p:cxnSp>
        <p:nvCxnSpPr>
          <p:cNvPr id="4" name="直接连接符 3">
            <a:extLst>
              <a:ext uri="{FF2B5EF4-FFF2-40B4-BE49-F238E27FC236}">
                <a16:creationId xmlns:a16="http://schemas.microsoft.com/office/drawing/2014/main" id="{2FFEA90D-A101-420B-9023-500CC013CBE0}"/>
              </a:ext>
            </a:extLst>
          </p:cNvPr>
          <p:cNvCxnSpPr>
            <a:cxnSpLocks/>
          </p:cNvCxnSpPr>
          <p:nvPr/>
        </p:nvCxnSpPr>
        <p:spPr>
          <a:xfrm>
            <a:off x="4644794" y="3429000"/>
            <a:ext cx="446110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5" name="文本框 244">
            <a:extLst>
              <a:ext uri="{FF2B5EF4-FFF2-40B4-BE49-F238E27FC236}">
                <a16:creationId xmlns:a16="http://schemas.microsoft.com/office/drawing/2014/main" id="{28271A41-4AF5-4539-A644-526029398477}"/>
              </a:ext>
            </a:extLst>
          </p:cNvPr>
          <p:cNvSpPr txBox="1">
            <a:spLocks/>
          </p:cNvSpPr>
          <p:nvPr/>
        </p:nvSpPr>
        <p:spPr>
          <a:xfrm>
            <a:off x="8565117" y="5206211"/>
            <a:ext cx="3797085" cy="50532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0" indent="0" algn="r" defTabSz="914354" rtl="0" eaLnBrk="1" latinLnBrk="0" hangingPunct="1">
              <a:lnSpc>
                <a:spcPct val="90000"/>
              </a:lnSpc>
              <a:spcBef>
                <a:spcPct val="0"/>
              </a:spcBef>
              <a:buFont typeface="Arial" panose="020B0604020202020204" pitchFamily="34" charset="0"/>
              <a:buNone/>
              <a:defRPr sz="40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b"/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尊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师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重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道    敬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业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乐</a:t>
            </a:r>
            <a:r>
              <a:rPr lang="en-US" altLang="zh-CN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/</a:t>
            </a:r>
            <a:r>
              <a:rPr lang="zh-CN" altLang="en-US" sz="1400" b="0" spc="300" dirty="0">
                <a:solidFill>
                  <a:schemeClr val="tx2">
                    <a:lumMod val="60000"/>
                    <a:lumOff val="40000"/>
                  </a:schemeClr>
                </a:solidFill>
                <a:latin typeface="+mn-lt"/>
                <a:ea typeface="+mn-ea"/>
                <a:cs typeface="+mn-ea"/>
                <a:sym typeface="+mn-lt"/>
              </a:rPr>
              <a:t>群</a:t>
            </a: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25BA973-C26C-4A9E-A413-51B1902096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D71C100-03DD-47A4-9221-A099DF292E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88B2014-A022-4015-98BA-1D3618748E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cxnSp>
        <p:nvCxnSpPr>
          <p:cNvPr id="39" name="直接连接符 38">
            <a:extLst>
              <a:ext uri="{FF2B5EF4-FFF2-40B4-BE49-F238E27FC236}">
                <a16:creationId xmlns:a16="http://schemas.microsoft.com/office/drawing/2014/main" id="{0721C8DC-55EB-41C6-ABBE-33C61A98B332}"/>
              </a:ext>
            </a:extLst>
          </p:cNvPr>
          <p:cNvCxnSpPr/>
          <p:nvPr/>
        </p:nvCxnSpPr>
        <p:spPr>
          <a:xfrm flipH="1">
            <a:off x="673100" y="3596558"/>
            <a:ext cx="10845800" cy="0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直接连接符 61">
            <a:extLst>
              <a:ext uri="{FF2B5EF4-FFF2-40B4-BE49-F238E27FC236}">
                <a16:creationId xmlns:a16="http://schemas.microsoft.com/office/drawing/2014/main" id="{CCAEA3F6-7F21-47FD-BD33-D347AFF42F6E}"/>
              </a:ext>
            </a:extLst>
          </p:cNvPr>
          <p:cNvCxnSpPr/>
          <p:nvPr/>
        </p:nvCxnSpPr>
        <p:spPr>
          <a:xfrm>
            <a:off x="10456125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椭圆 66">
            <a:extLst>
              <a:ext uri="{FF2B5EF4-FFF2-40B4-BE49-F238E27FC236}">
                <a16:creationId xmlns:a16="http://schemas.microsoft.com/office/drawing/2014/main" id="{445B6FE8-45E4-422A-9F46-5B707A103B4D}"/>
              </a:ext>
            </a:extLst>
          </p:cNvPr>
          <p:cNvSpPr/>
          <p:nvPr/>
        </p:nvSpPr>
        <p:spPr>
          <a:xfrm>
            <a:off x="9946717" y="3094182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80360C25-73F4-4B04-91F3-95BBADD26A68}"/>
              </a:ext>
            </a:extLst>
          </p:cNvPr>
          <p:cNvSpPr/>
          <p:nvPr/>
        </p:nvSpPr>
        <p:spPr>
          <a:xfrm>
            <a:off x="9829447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3" name="任意多边形: 形状 112">
            <a:extLst>
              <a:ext uri="{FF2B5EF4-FFF2-40B4-BE49-F238E27FC236}">
                <a16:creationId xmlns:a16="http://schemas.microsoft.com/office/drawing/2014/main" id="{652B2EF5-4AA1-478E-B2E4-00DAC4DC94F1}"/>
              </a:ext>
            </a:extLst>
          </p:cNvPr>
          <p:cNvSpPr/>
          <p:nvPr/>
        </p:nvSpPr>
        <p:spPr bwMode="auto">
          <a:xfrm>
            <a:off x="10265094" y="3398750"/>
            <a:ext cx="382059" cy="409678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64" name="组合 63">
            <a:extLst>
              <a:ext uri="{FF2B5EF4-FFF2-40B4-BE49-F238E27FC236}">
                <a16:creationId xmlns:a16="http://schemas.microsoft.com/office/drawing/2014/main" id="{031B7AD4-4747-4FC9-BCFA-0BB1E67DE845}"/>
              </a:ext>
            </a:extLst>
          </p:cNvPr>
          <p:cNvGrpSpPr/>
          <p:nvPr/>
        </p:nvGrpSpPr>
        <p:grpSpPr>
          <a:xfrm>
            <a:off x="9393348" y="5110858"/>
            <a:ext cx="2125552" cy="1035942"/>
            <a:chOff x="7943613" y="2575161"/>
            <a:chExt cx="3575287" cy="1035942"/>
          </a:xfrm>
        </p:grpSpPr>
        <p:sp>
          <p:nvSpPr>
            <p:cNvPr id="65" name="文本框 64">
              <a:extLst>
                <a:ext uri="{FF2B5EF4-FFF2-40B4-BE49-F238E27FC236}">
                  <a16:creationId xmlns:a16="http://schemas.microsoft.com/office/drawing/2014/main" id="{37836778-80B1-4761-819C-2733CD3F8F13}"/>
                </a:ext>
              </a:extLst>
            </p:cNvPr>
            <p:cNvSpPr txBox="1"/>
            <p:nvPr/>
          </p:nvSpPr>
          <p:spPr>
            <a:xfrm flipH="1">
              <a:off x="7943613" y="3082992"/>
              <a:ext cx="3575286" cy="528111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66" name="矩形 65">
              <a:extLst>
                <a:ext uri="{FF2B5EF4-FFF2-40B4-BE49-F238E27FC236}">
                  <a16:creationId xmlns:a16="http://schemas.microsoft.com/office/drawing/2014/main" id="{6764E546-4B1B-42E1-8377-810BC9941772}"/>
                </a:ext>
              </a:extLst>
            </p:cNvPr>
            <p:cNvSpPr/>
            <p:nvPr/>
          </p:nvSpPr>
          <p:spPr>
            <a:xfrm flipH="1">
              <a:off x="7943614" y="2575161"/>
              <a:ext cx="3575286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dirty="0">
                  <a:cs typeface="+mn-ea"/>
                  <a:sym typeface="+mn-lt"/>
                </a:rPr>
                <a:t>Text here</a:t>
              </a:r>
              <a:endParaRPr lang="zh-CN" altLang="en-US" sz="2000" b="1" dirty="0">
                <a:cs typeface="+mn-ea"/>
                <a:sym typeface="+mn-lt"/>
              </a:endParaRPr>
            </a:p>
          </p:txBody>
        </p:sp>
      </p:grpSp>
      <p:cxnSp>
        <p:nvCxnSpPr>
          <p:cNvPr id="54" name="直接连接符 53">
            <a:extLst>
              <a:ext uri="{FF2B5EF4-FFF2-40B4-BE49-F238E27FC236}">
                <a16:creationId xmlns:a16="http://schemas.microsoft.com/office/drawing/2014/main" id="{B5D7ECFB-2F35-498C-AD3E-2DF01AF9577E}"/>
              </a:ext>
            </a:extLst>
          </p:cNvPr>
          <p:cNvCxnSpPr/>
          <p:nvPr/>
        </p:nvCxnSpPr>
        <p:spPr>
          <a:xfrm>
            <a:off x="8302377" y="4441243"/>
            <a:ext cx="0" cy="458638"/>
          </a:xfrm>
          <a:prstGeom prst="line">
            <a:avLst/>
          </a:prstGeom>
          <a:ln w="3175">
            <a:solidFill>
              <a:schemeClr val="accent1"/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椭圆 58">
            <a:extLst>
              <a:ext uri="{FF2B5EF4-FFF2-40B4-BE49-F238E27FC236}">
                <a16:creationId xmlns:a16="http://schemas.microsoft.com/office/drawing/2014/main" id="{AE07F33D-54B1-488D-820F-E6D1EE466230}"/>
              </a:ext>
            </a:extLst>
          </p:cNvPr>
          <p:cNvSpPr/>
          <p:nvPr/>
        </p:nvSpPr>
        <p:spPr>
          <a:xfrm>
            <a:off x="7792970" y="3089053"/>
            <a:ext cx="1018814" cy="1018814"/>
          </a:xfrm>
          <a:prstGeom prst="ellipse">
            <a:avLst/>
          </a:prstGeom>
          <a:solidFill>
            <a:schemeClr val="accent1"/>
          </a:solidFill>
          <a:ln>
            <a:solidFill>
              <a:schemeClr val="accent1"/>
            </a:solidFill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60" name="椭圆 59">
            <a:extLst>
              <a:ext uri="{FF2B5EF4-FFF2-40B4-BE49-F238E27FC236}">
                <a16:creationId xmlns:a16="http://schemas.microsoft.com/office/drawing/2014/main" id="{E0CF3712-88BF-4787-8F8C-0DE18384CAC1}"/>
              </a:ext>
            </a:extLst>
          </p:cNvPr>
          <p:cNvSpPr/>
          <p:nvPr/>
        </p:nvSpPr>
        <p:spPr>
          <a:xfrm>
            <a:off x="7675700" y="2976912"/>
            <a:ext cx="1253355" cy="1253354"/>
          </a:xfrm>
          <a:prstGeom prst="ellipse">
            <a:avLst/>
          </a:prstGeom>
          <a:noFill/>
          <a:ln w="22225">
            <a:solidFill>
              <a:schemeClr val="accent1"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2" name="任意多边形: 形状 111">
            <a:extLst>
              <a:ext uri="{FF2B5EF4-FFF2-40B4-BE49-F238E27FC236}">
                <a16:creationId xmlns:a16="http://schemas.microsoft.com/office/drawing/2014/main" id="{EBBE5D1D-8B25-4CF8-88FF-B4CAF6127D29}"/>
              </a:ext>
            </a:extLst>
          </p:cNvPr>
          <p:cNvSpPr/>
          <p:nvPr/>
        </p:nvSpPr>
        <p:spPr bwMode="auto">
          <a:xfrm>
            <a:off x="8090334" y="3437355"/>
            <a:ext cx="424086" cy="322210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8 w 224"/>
              <a:gd name="T11" fmla="*/ 72 h 168"/>
              <a:gd name="T12" fmla="*/ 104 w 224"/>
              <a:gd name="T13" fmla="*/ 143 h 168"/>
              <a:gd name="T14" fmla="*/ 58 w 224"/>
              <a:gd name="T15" fmla="*/ 99 h 168"/>
              <a:gd name="T16" fmla="*/ 8 w 224"/>
              <a:gd name="T17" fmla="*/ 160 h 168"/>
              <a:gd name="T18" fmla="*/ 216 w 224"/>
              <a:gd name="T19" fmla="*/ 160 h 168"/>
              <a:gd name="T20" fmla="*/ 158 w 224"/>
              <a:gd name="T21" fmla="*/ 72 h 168"/>
              <a:gd name="T22" fmla="*/ 40 w 224"/>
              <a:gd name="T23" fmla="*/ 24 h 168"/>
              <a:gd name="T24" fmla="*/ 24 w 224"/>
              <a:gd name="T25" fmla="*/ 40 h 168"/>
              <a:gd name="T26" fmla="*/ 40 w 224"/>
              <a:gd name="T27" fmla="*/ 56 h 168"/>
              <a:gd name="T28" fmla="*/ 56 w 224"/>
              <a:gd name="T29" fmla="*/ 40 h 168"/>
              <a:gd name="T30" fmla="*/ 40 w 224"/>
              <a:gd name="T31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8" y="72"/>
                </a:moveTo>
                <a:cubicBezTo>
                  <a:pt x="104" y="143"/>
                  <a:pt x="104" y="143"/>
                  <a:pt x="104" y="143"/>
                </a:cubicBezTo>
                <a:cubicBezTo>
                  <a:pt x="58" y="99"/>
                  <a:pt x="58" y="99"/>
                  <a:pt x="58" y="9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lnTo>
                  <a:pt x="158" y="72"/>
                </a:ln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91440" tIns="45720" rIns="91440" bIns="45720" anchor="ctr"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grpSp>
        <p:nvGrpSpPr>
          <p:cNvPr id="56" name="组合 55">
            <a:extLst>
              <a:ext uri="{FF2B5EF4-FFF2-40B4-BE49-F238E27FC236}">
                <a16:creationId xmlns:a16="http://schemas.microsoft.com/office/drawing/2014/main" id="{69A44B28-CE24-40A5-BBA1-96CABE8FD335}"/>
              </a:ext>
            </a:extLst>
          </p:cNvPr>
          <p:cNvGrpSpPr/>
          <p:nvPr/>
        </p:nvGrpSpPr>
        <p:grpSpPr>
          <a:xfrm>
            <a:off x="7239601" y="5110858"/>
            <a:ext cx="2125552" cy="1035942"/>
            <a:chOff x="7943613" y="2575161"/>
            <a:chExt cx="3575287" cy="1035942"/>
          </a:xfrm>
        </p:grpSpPr>
        <p:sp>
          <p:nvSpPr>
            <p:cNvPr id="57" name="文本框 56">
              <a:extLst>
                <a:ext uri="{FF2B5EF4-FFF2-40B4-BE49-F238E27FC236}">
                  <a16:creationId xmlns:a16="http://schemas.microsoft.com/office/drawing/2014/main" id="{959E666C-C196-4145-A8A3-B763BCA39908}"/>
                </a:ext>
              </a:extLst>
            </p:cNvPr>
            <p:cNvSpPr txBox="1"/>
            <p:nvPr/>
          </p:nvSpPr>
          <p:spPr>
            <a:xfrm flipH="1">
              <a:off x="7943613" y="3082992"/>
              <a:ext cx="3575286" cy="528111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20000"/>
                </a:lnSpc>
              </a:pPr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58" name="矩形 57">
              <a:extLst>
                <a:ext uri="{FF2B5EF4-FFF2-40B4-BE49-F238E27FC236}">
                  <a16:creationId xmlns:a16="http://schemas.microsoft.com/office/drawing/2014/main" id="{791C83F7-B732-4747-A6B6-FA3E7E2944C5}"/>
                </a:ext>
              </a:extLst>
            </p:cNvPr>
            <p:cNvSpPr/>
            <p:nvPr/>
          </p:nvSpPr>
          <p:spPr>
            <a:xfrm flipH="1">
              <a:off x="7943614" y="2575161"/>
              <a:ext cx="3575286" cy="507831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2000" b="1" dirty="0">
                  <a:cs typeface="+mn-ea"/>
                  <a:sym typeface="+mn-lt"/>
                </a:rPr>
                <a:t>Text here</a:t>
              </a:r>
              <a:endParaRPr lang="zh-CN" altLang="en-US" sz="2000" b="1" dirty="0">
                <a:cs typeface="+mn-ea"/>
                <a:sym typeface="+mn-lt"/>
              </a:endParaRPr>
            </a:p>
          </p:txBody>
        </p:sp>
      </p:grpSp>
      <p:cxnSp>
        <p:nvCxnSpPr>
          <p:cNvPr id="46" name="直接连接符 45">
            <a:extLst>
              <a:ext uri="{FF2B5EF4-FFF2-40B4-BE49-F238E27FC236}">
                <a16:creationId xmlns:a16="http://schemas.microsoft.com/office/drawing/2014/main" id="{012AF7FC-53DB-4479-814C-9305587A67C0}"/>
              </a:ext>
            </a:extLst>
          </p:cNvPr>
          <p:cNvCxnSpPr/>
          <p:nvPr/>
        </p:nvCxnSpPr>
        <p:spPr>
          <a:xfrm>
            <a:off x="6148629" y="4441243"/>
            <a:ext cx="0" cy="458638"/>
          </a:xfrm>
          <a:prstGeom prst="line">
            <a:avLst/>
          </a:prstGeom>
          <a:ln w="3175">
            <a:solidFill>
              <a:schemeClr val="bg1">
                <a:lumMod val="75000"/>
              </a:schemeClr>
            </a:solidFill>
            <a:prstDash val="solid"/>
            <a:headEnd type="oval" w="sm" len="sm"/>
            <a:tailEnd type="oval" w="sm" len="sm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椭圆 50">
            <a:extLst>
              <a:ext uri="{FF2B5EF4-FFF2-40B4-BE49-F238E27FC236}">
                <a16:creationId xmlns:a16="http://schemas.microsoft.com/office/drawing/2014/main" id="{07EAB116-B031-4F1E-BB2B-E82AE8262D73}"/>
              </a:ext>
            </a:extLst>
          </p:cNvPr>
          <p:cNvSpPr/>
          <p:nvPr/>
        </p:nvSpPr>
        <p:spPr>
          <a:xfrm>
            <a:off x="5639222" y="3098454"/>
            <a:ext cx="1018814" cy="101881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lIns="91426" tIns="45700" rIns="91426" bIns="45700" anchor="ctr" anchorCtr="0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endParaRPr sz="360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2" name="椭圆 51">
            <a:extLst>
              <a:ext uri="{FF2B5EF4-FFF2-40B4-BE49-F238E27FC236}">
                <a16:creationId xmlns:a16="http://schemas.microsoft.com/office/drawing/2014/main" id="{7914BF3E-E2FC-46E8-917F-2643E7D70EAB}"/>
              </a:ext>
            </a:extLst>
          </p:cNvPr>
          <p:cNvSpPr/>
          <p:nvPr/>
        </p:nvSpPr>
        <p:spPr>
          <a:xfrm>
            <a:off x="5521952" y="2976912"/>
            <a:ext cx="1253355" cy="1253354"/>
          </a:xfrm>
          <a:prstGeom prst="ellipse">
            <a:avLst/>
          </a:prstGeom>
          <a:noFill/>
          <a:ln w="22225">
            <a:solidFill>
              <a:schemeClr val="bg1">
                <a:lumMod val="75000"/>
                <a:alpha val="50000"/>
              </a:schemeClr>
            </a:solidFill>
            <a:prstDash val="sysDot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de-DE" sz="7196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11" name="任意多边形: 形状 110">
            <a:extLst>
              <a:ext uri="{FF2B5EF4-FFF2-40B4-BE49-F238E27FC236}">
                <a16:creationId xmlns:a16="http://schemas.microsoft.com/office/drawing/2014/main" id="{501DDE4F-F140-4EE0-A273-D110A54C9644}"/>
              </a:ext>
            </a:extLst>
          </p:cNvPr>
          <p:cNvSpPr/>
          <p:nvPr/>
        </p:nvSpPr>
        <p:spPr bwMode="auto">
          <a:xfrm>
            <a:off x="5967633" y="3402605"/>
            <a:ext cx="361991" cy="447238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49" name="文本框 48">
            <a:extLst>
              <a:ext uri="{FF2B5EF4-FFF2-40B4-BE49-F238E27FC236}">
                <a16:creationId xmlns:a16="http://schemas.microsoft.com/office/drawing/2014/main" id="{CA1A1677-C3BA-432F-BE35-FBC5EE2B73F9}"/>
              </a:ext>
            </a:extLst>
          </p:cNvPr>
          <p:cNvSpPr txBox="1"/>
          <p:nvPr/>
        </p:nvSpPr>
        <p:spPr>
          <a:xfrm flipH="1">
            <a:off x="5085853" y="5618689"/>
            <a:ext cx="2125551" cy="528111"/>
          </a:xfrm>
          <a:prstGeom prst="rect">
            <a:avLst/>
          </a:prstGeom>
          <a:noFill/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0" name="矩形 49">
            <a:extLst>
              <a:ext uri="{FF2B5EF4-FFF2-40B4-BE49-F238E27FC236}">
                <a16:creationId xmlns:a16="http://schemas.microsoft.com/office/drawing/2014/main" id="{D41D107E-34AE-4E8B-B557-3B5F56A54A43}"/>
              </a:ext>
            </a:extLst>
          </p:cNvPr>
          <p:cNvSpPr/>
          <p:nvPr/>
        </p:nvSpPr>
        <p:spPr>
          <a:xfrm flipH="1">
            <a:off x="5085854" y="5110858"/>
            <a:ext cx="2125551" cy="507831"/>
          </a:xfrm>
          <a:prstGeom prst="rect">
            <a:avLst/>
          </a:prstGeom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/>
            <a:r>
              <a:rPr lang="en-US" altLang="zh-CN" sz="2000" b="1" dirty="0">
                <a:cs typeface="+mn-ea"/>
                <a:sym typeface="+mn-lt"/>
              </a:rPr>
              <a:t>Text here</a:t>
            </a:r>
            <a:endParaRPr lang="zh-CN" altLang="en-US" sz="2000" b="1" dirty="0">
              <a:cs typeface="+mn-ea"/>
              <a:sym typeface="+mn-lt"/>
            </a:endParaRP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ED64C87E-8FEB-40BD-BFD1-910380DEB57A}"/>
              </a:ext>
            </a:extLst>
          </p:cNvPr>
          <p:cNvGrpSpPr/>
          <p:nvPr/>
        </p:nvGrpSpPr>
        <p:grpSpPr>
          <a:xfrm>
            <a:off x="673100" y="1314406"/>
            <a:ext cx="4479925" cy="2084344"/>
            <a:chOff x="3661181" y="4062456"/>
            <a:chExt cx="4869638" cy="2084344"/>
          </a:xfrm>
        </p:grpSpPr>
        <p:sp>
          <p:nvSpPr>
            <p:cNvPr id="44" name="文本框 43">
              <a:extLst>
                <a:ext uri="{FF2B5EF4-FFF2-40B4-BE49-F238E27FC236}">
                  <a16:creationId xmlns:a16="http://schemas.microsoft.com/office/drawing/2014/main" id="{2383217E-16C0-490A-91FC-3BE1C6BB5CD8}"/>
                </a:ext>
              </a:extLst>
            </p:cNvPr>
            <p:cNvSpPr txBox="1"/>
            <p:nvPr/>
          </p:nvSpPr>
          <p:spPr>
            <a:xfrm>
              <a:off x="3661182" y="4062456"/>
              <a:ext cx="4869637" cy="104217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b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buSzPct val="25000"/>
              </a:pPr>
              <a:r>
                <a:rPr lang="en-US" sz="2800" b="1" dirty="0">
                  <a:cs typeface="+mn-ea"/>
                  <a:sym typeface="+mn-lt"/>
                </a:rPr>
                <a:t>Unified fonts make</a:t>
              </a:r>
            </a:p>
            <a:p>
              <a:pPr>
                <a:buSzPct val="25000"/>
              </a:pPr>
              <a:r>
                <a:rPr lang="en-US" sz="2800" b="1" dirty="0">
                  <a:cs typeface="+mn-ea"/>
                  <a:sym typeface="+mn-lt"/>
                </a:rPr>
                <a:t>reading more fluent.</a:t>
              </a: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60E7B3A5-46B6-4DBA-A5E4-858C46E75CB2}"/>
                </a:ext>
              </a:extLst>
            </p:cNvPr>
            <p:cNvSpPr txBox="1"/>
            <p:nvPr/>
          </p:nvSpPr>
          <p:spPr>
            <a:xfrm>
              <a:off x="3661181" y="5104628"/>
              <a:ext cx="4869638" cy="104217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50000"/>
                </a:lnSpc>
                <a:buSzPct val="25000"/>
              </a:pPr>
              <a:r>
                <a:rPr lang="en-US" sz="1200" dirty="0">
                  <a:cs typeface="+mn-ea"/>
                  <a:sym typeface="+mn-lt"/>
                </a:rPr>
                <a:t>Theme color makes PPT more convenient to change.</a:t>
              </a:r>
            </a:p>
            <a:p>
              <a:pPr>
                <a:lnSpc>
                  <a:spcPct val="150000"/>
                </a:lnSpc>
                <a:buSzPct val="25000"/>
              </a:pPr>
              <a:r>
                <a:rPr lang="en-US" sz="1200" dirty="0">
                  <a:cs typeface="+mn-ea"/>
                  <a:sym typeface="+mn-lt"/>
                </a:rPr>
                <a:t>Adjust the spacing to adapt to Chinese typesetting, use the reference line in PPT.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4468175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任意多边形: 形状 34">
            <a:extLst>
              <a:ext uri="{FF2B5EF4-FFF2-40B4-BE49-F238E27FC236}">
                <a16:creationId xmlns:a16="http://schemas.microsoft.com/office/drawing/2014/main" id="{DF813954-941F-4D5C-843A-E29C89090CD6}"/>
              </a:ext>
            </a:extLst>
          </p:cNvPr>
          <p:cNvSpPr/>
          <p:nvPr/>
        </p:nvSpPr>
        <p:spPr bwMode="auto">
          <a:xfrm>
            <a:off x="4562617" y="2628934"/>
            <a:ext cx="388155" cy="532762"/>
          </a:xfrm>
          <a:custGeom>
            <a:avLst/>
            <a:gdLst>
              <a:gd name="T0" fmla="*/ 57 w 255"/>
              <a:gd name="T1" fmla="*/ 26 h 350"/>
              <a:gd name="T2" fmla="*/ 57 w 255"/>
              <a:gd name="T3" fmla="*/ 65 h 350"/>
              <a:gd name="T4" fmla="*/ 198 w 255"/>
              <a:gd name="T5" fmla="*/ 65 h 350"/>
              <a:gd name="T6" fmla="*/ 198 w 255"/>
              <a:gd name="T7" fmla="*/ 26 h 350"/>
              <a:gd name="T8" fmla="*/ 255 w 255"/>
              <a:gd name="T9" fmla="*/ 26 h 350"/>
              <a:gd name="T10" fmla="*/ 255 w 255"/>
              <a:gd name="T11" fmla="*/ 350 h 350"/>
              <a:gd name="T12" fmla="*/ 0 w 255"/>
              <a:gd name="T13" fmla="*/ 350 h 350"/>
              <a:gd name="T14" fmla="*/ 0 w 255"/>
              <a:gd name="T15" fmla="*/ 26 h 350"/>
              <a:gd name="T16" fmla="*/ 57 w 255"/>
              <a:gd name="T17" fmla="*/ 26 h 350"/>
              <a:gd name="T18" fmla="*/ 128 w 255"/>
              <a:gd name="T19" fmla="*/ 227 h 350"/>
              <a:gd name="T20" fmla="*/ 51 w 255"/>
              <a:gd name="T21" fmla="*/ 227 h 350"/>
              <a:gd name="T22" fmla="*/ 51 w 255"/>
              <a:gd name="T23" fmla="*/ 240 h 350"/>
              <a:gd name="T24" fmla="*/ 128 w 255"/>
              <a:gd name="T25" fmla="*/ 240 h 350"/>
              <a:gd name="T26" fmla="*/ 128 w 255"/>
              <a:gd name="T27" fmla="*/ 227 h 350"/>
              <a:gd name="T28" fmla="*/ 204 w 255"/>
              <a:gd name="T29" fmla="*/ 175 h 350"/>
              <a:gd name="T30" fmla="*/ 51 w 255"/>
              <a:gd name="T31" fmla="*/ 175 h 350"/>
              <a:gd name="T32" fmla="*/ 51 w 255"/>
              <a:gd name="T33" fmla="*/ 188 h 350"/>
              <a:gd name="T34" fmla="*/ 204 w 255"/>
              <a:gd name="T35" fmla="*/ 188 h 350"/>
              <a:gd name="T36" fmla="*/ 204 w 255"/>
              <a:gd name="T37" fmla="*/ 175 h 350"/>
              <a:gd name="T38" fmla="*/ 204 w 255"/>
              <a:gd name="T39" fmla="*/ 123 h 350"/>
              <a:gd name="T40" fmla="*/ 51 w 255"/>
              <a:gd name="T41" fmla="*/ 123 h 350"/>
              <a:gd name="T42" fmla="*/ 51 w 255"/>
              <a:gd name="T43" fmla="*/ 136 h 350"/>
              <a:gd name="T44" fmla="*/ 204 w 255"/>
              <a:gd name="T45" fmla="*/ 136 h 350"/>
              <a:gd name="T46" fmla="*/ 204 w 255"/>
              <a:gd name="T47" fmla="*/ 123 h 350"/>
              <a:gd name="T48" fmla="*/ 185 w 255"/>
              <a:gd name="T49" fmla="*/ 0 h 350"/>
              <a:gd name="T50" fmla="*/ 185 w 255"/>
              <a:gd name="T51" fmla="*/ 52 h 350"/>
              <a:gd name="T52" fmla="*/ 70 w 255"/>
              <a:gd name="T53" fmla="*/ 52 h 350"/>
              <a:gd name="T54" fmla="*/ 70 w 255"/>
              <a:gd name="T55" fmla="*/ 0 h 350"/>
              <a:gd name="T56" fmla="*/ 185 w 255"/>
              <a:gd name="T57" fmla="*/ 0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55" h="350">
                <a:moveTo>
                  <a:pt x="57" y="26"/>
                </a:moveTo>
                <a:lnTo>
                  <a:pt x="57" y="65"/>
                </a:lnTo>
                <a:lnTo>
                  <a:pt x="198" y="65"/>
                </a:lnTo>
                <a:lnTo>
                  <a:pt x="198" y="26"/>
                </a:lnTo>
                <a:lnTo>
                  <a:pt x="255" y="26"/>
                </a:lnTo>
                <a:lnTo>
                  <a:pt x="255" y="350"/>
                </a:lnTo>
                <a:lnTo>
                  <a:pt x="0" y="350"/>
                </a:lnTo>
                <a:lnTo>
                  <a:pt x="0" y="26"/>
                </a:lnTo>
                <a:lnTo>
                  <a:pt x="57" y="26"/>
                </a:lnTo>
                <a:close/>
                <a:moveTo>
                  <a:pt x="128" y="227"/>
                </a:moveTo>
                <a:lnTo>
                  <a:pt x="51" y="227"/>
                </a:lnTo>
                <a:lnTo>
                  <a:pt x="51" y="240"/>
                </a:lnTo>
                <a:lnTo>
                  <a:pt x="128" y="240"/>
                </a:lnTo>
                <a:lnTo>
                  <a:pt x="128" y="227"/>
                </a:lnTo>
                <a:close/>
                <a:moveTo>
                  <a:pt x="204" y="175"/>
                </a:moveTo>
                <a:lnTo>
                  <a:pt x="51" y="175"/>
                </a:lnTo>
                <a:lnTo>
                  <a:pt x="51" y="188"/>
                </a:lnTo>
                <a:lnTo>
                  <a:pt x="204" y="188"/>
                </a:lnTo>
                <a:lnTo>
                  <a:pt x="204" y="175"/>
                </a:lnTo>
                <a:close/>
                <a:moveTo>
                  <a:pt x="204" y="123"/>
                </a:moveTo>
                <a:lnTo>
                  <a:pt x="51" y="123"/>
                </a:lnTo>
                <a:lnTo>
                  <a:pt x="51" y="136"/>
                </a:lnTo>
                <a:lnTo>
                  <a:pt x="204" y="136"/>
                </a:lnTo>
                <a:lnTo>
                  <a:pt x="204" y="123"/>
                </a:lnTo>
                <a:close/>
                <a:moveTo>
                  <a:pt x="185" y="0"/>
                </a:moveTo>
                <a:lnTo>
                  <a:pt x="185" y="52"/>
                </a:lnTo>
                <a:lnTo>
                  <a:pt x="70" y="52"/>
                </a:lnTo>
                <a:lnTo>
                  <a:pt x="70" y="0"/>
                </a:lnTo>
                <a:lnTo>
                  <a:pt x="185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7" name="文本框 76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3654772" y="3324239"/>
            <a:ext cx="2203845" cy="42908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78" name="矩形 7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3654772" y="3753318"/>
            <a:ext cx="2203845" cy="875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490AFCD5-9CF9-478D-B619-714B3BD11B60}"/>
              </a:ext>
            </a:extLst>
          </p:cNvPr>
          <p:cNvSpPr/>
          <p:nvPr/>
        </p:nvSpPr>
        <p:spPr bwMode="auto">
          <a:xfrm>
            <a:off x="7233034" y="2673951"/>
            <a:ext cx="404540" cy="499807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5" name="文本框 74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6333382" y="3324238"/>
            <a:ext cx="2203845" cy="42908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76" name="矩形 7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6333382" y="3753317"/>
            <a:ext cx="2203845" cy="875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94B63994-6C40-488D-A3E6-5E583CD03D93}"/>
              </a:ext>
            </a:extLst>
          </p:cNvPr>
          <p:cNvSpPr/>
          <p:nvPr/>
        </p:nvSpPr>
        <p:spPr bwMode="auto">
          <a:xfrm>
            <a:off x="9839861" y="2631339"/>
            <a:ext cx="548108" cy="587730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3" name="文本框 72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9011993" y="3324238"/>
            <a:ext cx="2203845" cy="42908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74" name="矩形 73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9011993" y="3753317"/>
            <a:ext cx="2203845" cy="875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3" name="任意多边形: 形状 32">
            <a:extLst>
              <a:ext uri="{FF2B5EF4-FFF2-40B4-BE49-F238E27FC236}">
                <a16:creationId xmlns:a16="http://schemas.microsoft.com/office/drawing/2014/main" id="{E3F20857-1777-444C-9D35-385662A77B8B}"/>
              </a:ext>
            </a:extLst>
          </p:cNvPr>
          <p:cNvSpPr/>
          <p:nvPr/>
        </p:nvSpPr>
        <p:spPr bwMode="auto">
          <a:xfrm>
            <a:off x="1801445" y="2661604"/>
            <a:ext cx="553278" cy="550187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>
              <a:cs typeface="+mn-ea"/>
              <a:sym typeface="+mn-lt"/>
            </a:endParaRPr>
          </a:p>
        </p:txBody>
      </p:sp>
      <p:sp>
        <p:nvSpPr>
          <p:cNvPr id="71" name="文本框 70">
            <a:extLst>
              <a:ext uri="{FF2B5EF4-FFF2-40B4-BE49-F238E27FC236}">
                <a16:creationId xmlns:a16="http://schemas.microsoft.com/office/drawing/2014/main" id="{3495B739-E5A7-4F4A-95FD-24BDFE4B18B1}"/>
              </a:ext>
            </a:extLst>
          </p:cNvPr>
          <p:cNvSpPr txBox="1"/>
          <p:nvPr/>
        </p:nvSpPr>
        <p:spPr bwMode="auto">
          <a:xfrm>
            <a:off x="976162" y="3324238"/>
            <a:ext cx="2203845" cy="429080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b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2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72" name="矩形 7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976162" y="3753317"/>
            <a:ext cx="2203845" cy="875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.</a:t>
            </a:r>
          </a:p>
          <a:p>
            <a:pPr algn="ctr">
              <a:lnSpc>
                <a:spcPct val="150000"/>
              </a:lnSpc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63" name="任意多边形: 形状 62">
            <a:extLst>
              <a:ext uri="{FF2B5EF4-FFF2-40B4-BE49-F238E27FC236}">
                <a16:creationId xmlns:a16="http://schemas.microsoft.com/office/drawing/2014/main" id="{62F3F7BD-CD09-4F10-8FF8-B1C5F9550442}"/>
              </a:ext>
            </a:extLst>
          </p:cNvPr>
          <p:cNvSpPr/>
          <p:nvPr/>
        </p:nvSpPr>
        <p:spPr bwMode="auto">
          <a:xfrm rot="10800000">
            <a:off x="732284" y="1910026"/>
            <a:ext cx="2681858" cy="173565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180975" cap="rnd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4" name="任意多边形: 形状 63">
            <a:extLst>
              <a:ext uri="{FF2B5EF4-FFF2-40B4-BE49-F238E27FC236}">
                <a16:creationId xmlns:a16="http://schemas.microsoft.com/office/drawing/2014/main" id="{43C9D018-55CB-457F-8A82-1C4B688E81FC}"/>
              </a:ext>
            </a:extLst>
          </p:cNvPr>
          <p:cNvSpPr/>
          <p:nvPr/>
        </p:nvSpPr>
        <p:spPr bwMode="auto">
          <a:xfrm>
            <a:off x="3414143" y="3645678"/>
            <a:ext cx="2681858" cy="173565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180975" cap="rnd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5" name="任意多边形: 形状 64">
            <a:extLst>
              <a:ext uri="{FF2B5EF4-FFF2-40B4-BE49-F238E27FC236}">
                <a16:creationId xmlns:a16="http://schemas.microsoft.com/office/drawing/2014/main" id="{716FB660-A475-4097-BFCF-374854CE24CE}"/>
              </a:ext>
            </a:extLst>
          </p:cNvPr>
          <p:cNvSpPr/>
          <p:nvPr/>
        </p:nvSpPr>
        <p:spPr bwMode="auto">
          <a:xfrm rot="10800000">
            <a:off x="6096000" y="1910026"/>
            <a:ext cx="2681858" cy="173565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180975" cap="rnd">
            <a:solidFill>
              <a:schemeClr val="bg1">
                <a:lumMod val="95000"/>
              </a:schemeClr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6" name="任意多边形: 形状 65">
            <a:extLst>
              <a:ext uri="{FF2B5EF4-FFF2-40B4-BE49-F238E27FC236}">
                <a16:creationId xmlns:a16="http://schemas.microsoft.com/office/drawing/2014/main" id="{1AE60E78-96A8-4380-A00F-824E8C19632D}"/>
              </a:ext>
            </a:extLst>
          </p:cNvPr>
          <p:cNvSpPr/>
          <p:nvPr/>
        </p:nvSpPr>
        <p:spPr bwMode="auto">
          <a:xfrm>
            <a:off x="8777857" y="3645678"/>
            <a:ext cx="2681858" cy="1735652"/>
          </a:xfrm>
          <a:custGeom>
            <a:avLst/>
            <a:gdLst>
              <a:gd name="T0" fmla="*/ 3787 w 3787"/>
              <a:gd name="T1" fmla="*/ 0 h 1893"/>
              <a:gd name="T2" fmla="*/ 3787 w 3787"/>
              <a:gd name="T3" fmla="*/ 1893 h 1893"/>
              <a:gd name="T4" fmla="*/ 0 w 3787"/>
              <a:gd name="T5" fmla="*/ 1893 h 1893"/>
              <a:gd name="T6" fmla="*/ 0 w 3787"/>
              <a:gd name="T7" fmla="*/ 0 h 1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3787" h="1893">
                <a:moveTo>
                  <a:pt x="3787" y="0"/>
                </a:moveTo>
                <a:lnTo>
                  <a:pt x="3787" y="1893"/>
                </a:lnTo>
                <a:lnTo>
                  <a:pt x="0" y="1893"/>
                </a:lnTo>
                <a:lnTo>
                  <a:pt x="0" y="0"/>
                </a:lnTo>
              </a:path>
            </a:pathLst>
          </a:custGeom>
          <a:noFill/>
          <a:ln w="180975" cap="rnd">
            <a:solidFill>
              <a:schemeClr val="bg1">
                <a:lumMod val="95000"/>
              </a:schemeClr>
            </a:solidFill>
            <a:prstDash val="solid"/>
            <a:round/>
            <a:headEnd type="arrow"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tx1"/>
                </a:solidFill>
              </a:defRPr>
            </a:lvl9pPr>
          </a:lstStyle>
          <a:p>
            <a:endParaRPr lang="en-US">
              <a:cs typeface="+mn-ea"/>
              <a:sym typeface="+mn-lt"/>
            </a:endParaRPr>
          </a:p>
        </p:txBody>
      </p:sp>
      <p:sp>
        <p:nvSpPr>
          <p:cNvPr id="67" name="椭圆 66">
            <a:extLst>
              <a:ext uri="{FF2B5EF4-FFF2-40B4-BE49-F238E27FC236}">
                <a16:creationId xmlns:a16="http://schemas.microsoft.com/office/drawing/2014/main" id="{8F552027-AAE1-4A90-AE07-B887EEC1C529}"/>
              </a:ext>
            </a:extLst>
          </p:cNvPr>
          <p:cNvSpPr/>
          <p:nvPr/>
        </p:nvSpPr>
        <p:spPr>
          <a:xfrm>
            <a:off x="1756792" y="1580254"/>
            <a:ext cx="632842" cy="63284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01</a:t>
            </a:r>
          </a:p>
        </p:txBody>
      </p:sp>
      <p:sp>
        <p:nvSpPr>
          <p:cNvPr id="68" name="椭圆 67">
            <a:extLst>
              <a:ext uri="{FF2B5EF4-FFF2-40B4-BE49-F238E27FC236}">
                <a16:creationId xmlns:a16="http://schemas.microsoft.com/office/drawing/2014/main" id="{702BF3D1-4C41-4EAF-B3FF-BA9AECD8FF1B}"/>
              </a:ext>
            </a:extLst>
          </p:cNvPr>
          <p:cNvSpPr/>
          <p:nvPr/>
        </p:nvSpPr>
        <p:spPr>
          <a:xfrm>
            <a:off x="4438650" y="5064004"/>
            <a:ext cx="632842" cy="63284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69" name="椭圆 68">
            <a:extLst>
              <a:ext uri="{FF2B5EF4-FFF2-40B4-BE49-F238E27FC236}">
                <a16:creationId xmlns:a16="http://schemas.microsoft.com/office/drawing/2014/main" id="{582F6106-1D5E-472F-8256-D32F08462105}"/>
              </a:ext>
            </a:extLst>
          </p:cNvPr>
          <p:cNvSpPr/>
          <p:nvPr/>
        </p:nvSpPr>
        <p:spPr>
          <a:xfrm>
            <a:off x="9802364" y="5064004"/>
            <a:ext cx="632842" cy="63284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04</a:t>
            </a:r>
          </a:p>
        </p:txBody>
      </p:sp>
      <p:sp>
        <p:nvSpPr>
          <p:cNvPr id="70" name="椭圆 69">
            <a:extLst>
              <a:ext uri="{FF2B5EF4-FFF2-40B4-BE49-F238E27FC236}">
                <a16:creationId xmlns:a16="http://schemas.microsoft.com/office/drawing/2014/main" id="{4AB9CAA3-9D0B-439E-A09F-28B095ADD862}"/>
              </a:ext>
            </a:extLst>
          </p:cNvPr>
          <p:cNvSpPr/>
          <p:nvPr/>
        </p:nvSpPr>
        <p:spPr>
          <a:xfrm>
            <a:off x="7120507" y="1580254"/>
            <a:ext cx="632842" cy="632842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/>
          </a:bodyPr>
          <a:lstStyle>
            <a:defPPr>
              <a:defRPr lang="en-US"/>
            </a:defPPr>
            <a:lvl1pPr marL="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1pPr>
            <a:lvl2pPr marL="914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2pPr>
            <a:lvl3pPr marL="1828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3pPr>
            <a:lvl4pPr marL="2743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4pPr>
            <a:lvl5pPr marL="36576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5pPr>
            <a:lvl6pPr marL="45720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6pPr>
            <a:lvl7pPr marL="54864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7pPr>
            <a:lvl8pPr marL="64008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8pPr>
            <a:lvl9pPr marL="7315200" algn="l" defTabSz="1828800" rtl="0" eaLnBrk="1" latinLnBrk="0" hangingPunct="1">
              <a:defRPr sz="3600" kern="1200">
                <a:solidFill>
                  <a:schemeClr val="lt1"/>
                </a:solidFill>
              </a:defRPr>
            </a:lvl9pPr>
          </a:lstStyle>
          <a:p>
            <a:pPr algn="ctr">
              <a:lnSpc>
                <a:spcPct val="120000"/>
              </a:lnSpc>
            </a:pPr>
            <a:r>
              <a:rPr lang="en-US" sz="1800" b="1" dirty="0">
                <a:solidFill>
                  <a:schemeClr val="tx1"/>
                </a:solidFill>
                <a:cs typeface="+mn-ea"/>
                <a:sym typeface="+mn-lt"/>
              </a:rPr>
              <a:t>0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71410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17FAF2-2CC5-4306-BBCB-D56DAD9E16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33D66EC-CF4E-4266-8B86-45881CF5FE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C247CD5B-D98C-446C-A5E8-8EC903E76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74" name="椭圆 73"/>
          <p:cNvSpPr/>
          <p:nvPr/>
        </p:nvSpPr>
        <p:spPr>
          <a:xfrm>
            <a:off x="673100" y="1873096"/>
            <a:ext cx="518400" cy="51934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55" name="任意多边形: 形状 54">
            <a:extLst>
              <a:ext uri="{FF2B5EF4-FFF2-40B4-BE49-F238E27FC236}">
                <a16:creationId xmlns:a16="http://schemas.microsoft.com/office/drawing/2014/main" id="{72A2BFB8-2614-44F2-B2A8-E08910A74D6B}"/>
              </a:ext>
            </a:extLst>
          </p:cNvPr>
          <p:cNvSpPr/>
          <p:nvPr/>
        </p:nvSpPr>
        <p:spPr bwMode="auto">
          <a:xfrm>
            <a:off x="798236" y="1989013"/>
            <a:ext cx="268129" cy="287512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76" name="组合 75">
            <a:extLst>
              <a:ext uri="{FF2B5EF4-FFF2-40B4-BE49-F238E27FC236}">
                <a16:creationId xmlns:a16="http://schemas.microsoft.com/office/drawing/2014/main" id="{8EBC8A7F-AE40-4938-890D-44AB7370BA02}"/>
              </a:ext>
            </a:extLst>
          </p:cNvPr>
          <p:cNvGrpSpPr/>
          <p:nvPr/>
        </p:nvGrpSpPr>
        <p:grpSpPr>
          <a:xfrm>
            <a:off x="5125375" y="0"/>
            <a:ext cx="1941250" cy="4283811"/>
            <a:chOff x="5125375" y="0"/>
            <a:chExt cx="1941250" cy="4283811"/>
          </a:xfrm>
        </p:grpSpPr>
        <p:sp>
          <p:nvSpPr>
            <p:cNvPr id="105" name="任意多边形: 形状 104"/>
            <p:cNvSpPr/>
            <p:nvPr/>
          </p:nvSpPr>
          <p:spPr bwMode="auto">
            <a:xfrm rot="10800000">
              <a:off x="6077333" y="3292134"/>
              <a:ext cx="390817" cy="390817"/>
            </a:xfrm>
            <a:custGeom>
              <a:avLst/>
              <a:gdLst>
                <a:gd name="T0" fmla="*/ 612 w 670"/>
                <a:gd name="T1" fmla="*/ 0 h 671"/>
                <a:gd name="T2" fmla="*/ 631 w 670"/>
                <a:gd name="T3" fmla="*/ 2 h 671"/>
                <a:gd name="T4" fmla="*/ 647 w 670"/>
                <a:gd name="T5" fmla="*/ 11 h 671"/>
                <a:gd name="T6" fmla="*/ 659 w 670"/>
                <a:gd name="T7" fmla="*/ 24 h 671"/>
                <a:gd name="T8" fmla="*/ 667 w 670"/>
                <a:gd name="T9" fmla="*/ 40 h 671"/>
                <a:gd name="T10" fmla="*/ 670 w 670"/>
                <a:gd name="T11" fmla="*/ 58 h 671"/>
                <a:gd name="T12" fmla="*/ 667 w 670"/>
                <a:gd name="T13" fmla="*/ 77 h 671"/>
                <a:gd name="T14" fmla="*/ 659 w 670"/>
                <a:gd name="T15" fmla="*/ 93 h 671"/>
                <a:gd name="T16" fmla="*/ 647 w 670"/>
                <a:gd name="T17" fmla="*/ 105 h 671"/>
                <a:gd name="T18" fmla="*/ 631 w 670"/>
                <a:gd name="T19" fmla="*/ 114 h 671"/>
                <a:gd name="T20" fmla="*/ 612 w 670"/>
                <a:gd name="T21" fmla="*/ 116 h 671"/>
                <a:gd name="T22" fmla="*/ 558 w 670"/>
                <a:gd name="T23" fmla="*/ 119 h 671"/>
                <a:gd name="T24" fmla="*/ 506 w 670"/>
                <a:gd name="T25" fmla="*/ 129 h 671"/>
                <a:gd name="T26" fmla="*/ 455 w 670"/>
                <a:gd name="T27" fmla="*/ 142 h 671"/>
                <a:gd name="T28" fmla="*/ 407 w 670"/>
                <a:gd name="T29" fmla="*/ 161 h 671"/>
                <a:gd name="T30" fmla="*/ 362 w 670"/>
                <a:gd name="T31" fmla="*/ 185 h 671"/>
                <a:gd name="T32" fmla="*/ 320 w 670"/>
                <a:gd name="T33" fmla="*/ 212 h 671"/>
                <a:gd name="T34" fmla="*/ 280 w 670"/>
                <a:gd name="T35" fmla="*/ 245 h 671"/>
                <a:gd name="T36" fmla="*/ 244 w 670"/>
                <a:gd name="T37" fmla="*/ 280 h 671"/>
                <a:gd name="T38" fmla="*/ 213 w 670"/>
                <a:gd name="T39" fmla="*/ 320 h 671"/>
                <a:gd name="T40" fmla="*/ 184 w 670"/>
                <a:gd name="T41" fmla="*/ 362 h 671"/>
                <a:gd name="T42" fmla="*/ 161 w 670"/>
                <a:gd name="T43" fmla="*/ 408 h 671"/>
                <a:gd name="T44" fmla="*/ 141 w 670"/>
                <a:gd name="T45" fmla="*/ 456 h 671"/>
                <a:gd name="T46" fmla="*/ 128 w 670"/>
                <a:gd name="T47" fmla="*/ 506 h 671"/>
                <a:gd name="T48" fmla="*/ 119 w 670"/>
                <a:gd name="T49" fmla="*/ 559 h 671"/>
                <a:gd name="T50" fmla="*/ 117 w 670"/>
                <a:gd name="T51" fmla="*/ 613 h 671"/>
                <a:gd name="T52" fmla="*/ 114 w 670"/>
                <a:gd name="T53" fmla="*/ 631 h 671"/>
                <a:gd name="T54" fmla="*/ 106 w 670"/>
                <a:gd name="T55" fmla="*/ 647 h 671"/>
                <a:gd name="T56" fmla="*/ 92 w 670"/>
                <a:gd name="T57" fmla="*/ 660 h 671"/>
                <a:gd name="T58" fmla="*/ 76 w 670"/>
                <a:gd name="T59" fmla="*/ 668 h 671"/>
                <a:gd name="T60" fmla="*/ 58 w 670"/>
                <a:gd name="T61" fmla="*/ 671 h 671"/>
                <a:gd name="T62" fmla="*/ 39 w 670"/>
                <a:gd name="T63" fmla="*/ 668 h 671"/>
                <a:gd name="T64" fmla="*/ 23 w 670"/>
                <a:gd name="T65" fmla="*/ 660 h 671"/>
                <a:gd name="T66" fmla="*/ 11 w 670"/>
                <a:gd name="T67" fmla="*/ 647 h 671"/>
                <a:gd name="T68" fmla="*/ 3 w 670"/>
                <a:gd name="T69" fmla="*/ 631 h 671"/>
                <a:gd name="T70" fmla="*/ 0 w 670"/>
                <a:gd name="T71" fmla="*/ 613 h 671"/>
                <a:gd name="T72" fmla="*/ 3 w 670"/>
                <a:gd name="T73" fmla="*/ 550 h 671"/>
                <a:gd name="T74" fmla="*/ 12 w 670"/>
                <a:gd name="T75" fmla="*/ 489 h 671"/>
                <a:gd name="T76" fmla="*/ 27 w 670"/>
                <a:gd name="T77" fmla="*/ 430 h 671"/>
                <a:gd name="T78" fmla="*/ 47 w 670"/>
                <a:gd name="T79" fmla="*/ 374 h 671"/>
                <a:gd name="T80" fmla="*/ 73 w 670"/>
                <a:gd name="T81" fmla="*/ 320 h 671"/>
                <a:gd name="T82" fmla="*/ 105 w 670"/>
                <a:gd name="T83" fmla="*/ 270 h 671"/>
                <a:gd name="T84" fmla="*/ 139 w 670"/>
                <a:gd name="T85" fmla="*/ 223 h 671"/>
                <a:gd name="T86" fmla="*/ 179 w 670"/>
                <a:gd name="T87" fmla="*/ 180 h 671"/>
                <a:gd name="T88" fmla="*/ 223 w 670"/>
                <a:gd name="T89" fmla="*/ 140 h 671"/>
                <a:gd name="T90" fmla="*/ 270 w 670"/>
                <a:gd name="T91" fmla="*/ 104 h 671"/>
                <a:gd name="T92" fmla="*/ 321 w 670"/>
                <a:gd name="T93" fmla="*/ 74 h 671"/>
                <a:gd name="T94" fmla="*/ 374 w 670"/>
                <a:gd name="T95" fmla="*/ 48 h 671"/>
                <a:gd name="T96" fmla="*/ 430 w 670"/>
                <a:gd name="T97" fmla="*/ 28 h 671"/>
                <a:gd name="T98" fmla="*/ 489 w 670"/>
                <a:gd name="T99" fmla="*/ 12 h 671"/>
                <a:gd name="T100" fmla="*/ 549 w 670"/>
                <a:gd name="T101" fmla="*/ 3 h 671"/>
                <a:gd name="T102" fmla="*/ 612 w 670"/>
                <a:gd name="T103" fmla="*/ 0 h 6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670" h="671">
                  <a:moveTo>
                    <a:pt x="612" y="0"/>
                  </a:moveTo>
                  <a:lnTo>
                    <a:pt x="631" y="2"/>
                  </a:lnTo>
                  <a:lnTo>
                    <a:pt x="647" y="11"/>
                  </a:lnTo>
                  <a:lnTo>
                    <a:pt x="659" y="24"/>
                  </a:lnTo>
                  <a:lnTo>
                    <a:pt x="667" y="40"/>
                  </a:lnTo>
                  <a:lnTo>
                    <a:pt x="670" y="58"/>
                  </a:lnTo>
                  <a:lnTo>
                    <a:pt x="667" y="77"/>
                  </a:lnTo>
                  <a:lnTo>
                    <a:pt x="659" y="93"/>
                  </a:lnTo>
                  <a:lnTo>
                    <a:pt x="647" y="105"/>
                  </a:lnTo>
                  <a:lnTo>
                    <a:pt x="631" y="114"/>
                  </a:lnTo>
                  <a:lnTo>
                    <a:pt x="612" y="116"/>
                  </a:lnTo>
                  <a:lnTo>
                    <a:pt x="558" y="119"/>
                  </a:lnTo>
                  <a:lnTo>
                    <a:pt x="506" y="129"/>
                  </a:lnTo>
                  <a:lnTo>
                    <a:pt x="455" y="142"/>
                  </a:lnTo>
                  <a:lnTo>
                    <a:pt x="407" y="161"/>
                  </a:lnTo>
                  <a:lnTo>
                    <a:pt x="362" y="185"/>
                  </a:lnTo>
                  <a:lnTo>
                    <a:pt x="320" y="212"/>
                  </a:lnTo>
                  <a:lnTo>
                    <a:pt x="280" y="245"/>
                  </a:lnTo>
                  <a:lnTo>
                    <a:pt x="244" y="280"/>
                  </a:lnTo>
                  <a:lnTo>
                    <a:pt x="213" y="320"/>
                  </a:lnTo>
                  <a:lnTo>
                    <a:pt x="184" y="362"/>
                  </a:lnTo>
                  <a:lnTo>
                    <a:pt x="161" y="408"/>
                  </a:lnTo>
                  <a:lnTo>
                    <a:pt x="141" y="456"/>
                  </a:lnTo>
                  <a:lnTo>
                    <a:pt x="128" y="506"/>
                  </a:lnTo>
                  <a:lnTo>
                    <a:pt x="119" y="559"/>
                  </a:lnTo>
                  <a:lnTo>
                    <a:pt x="117" y="613"/>
                  </a:lnTo>
                  <a:lnTo>
                    <a:pt x="114" y="631"/>
                  </a:lnTo>
                  <a:lnTo>
                    <a:pt x="106" y="647"/>
                  </a:lnTo>
                  <a:lnTo>
                    <a:pt x="92" y="660"/>
                  </a:lnTo>
                  <a:lnTo>
                    <a:pt x="76" y="668"/>
                  </a:lnTo>
                  <a:lnTo>
                    <a:pt x="58" y="671"/>
                  </a:lnTo>
                  <a:lnTo>
                    <a:pt x="39" y="668"/>
                  </a:lnTo>
                  <a:lnTo>
                    <a:pt x="23" y="660"/>
                  </a:lnTo>
                  <a:lnTo>
                    <a:pt x="11" y="647"/>
                  </a:lnTo>
                  <a:lnTo>
                    <a:pt x="3" y="631"/>
                  </a:lnTo>
                  <a:lnTo>
                    <a:pt x="0" y="613"/>
                  </a:lnTo>
                  <a:lnTo>
                    <a:pt x="3" y="550"/>
                  </a:lnTo>
                  <a:lnTo>
                    <a:pt x="12" y="489"/>
                  </a:lnTo>
                  <a:lnTo>
                    <a:pt x="27" y="430"/>
                  </a:lnTo>
                  <a:lnTo>
                    <a:pt x="47" y="374"/>
                  </a:lnTo>
                  <a:lnTo>
                    <a:pt x="73" y="320"/>
                  </a:lnTo>
                  <a:lnTo>
                    <a:pt x="105" y="270"/>
                  </a:lnTo>
                  <a:lnTo>
                    <a:pt x="139" y="223"/>
                  </a:lnTo>
                  <a:lnTo>
                    <a:pt x="179" y="180"/>
                  </a:lnTo>
                  <a:lnTo>
                    <a:pt x="223" y="140"/>
                  </a:lnTo>
                  <a:lnTo>
                    <a:pt x="270" y="104"/>
                  </a:lnTo>
                  <a:lnTo>
                    <a:pt x="321" y="74"/>
                  </a:lnTo>
                  <a:lnTo>
                    <a:pt x="374" y="48"/>
                  </a:lnTo>
                  <a:lnTo>
                    <a:pt x="430" y="28"/>
                  </a:lnTo>
                  <a:lnTo>
                    <a:pt x="489" y="12"/>
                  </a:lnTo>
                  <a:lnTo>
                    <a:pt x="549" y="3"/>
                  </a:lnTo>
                  <a:lnTo>
                    <a:pt x="612" y="0"/>
                  </a:lnTo>
                  <a:close/>
                </a:path>
              </a:pathLst>
            </a:custGeom>
            <a:solidFill>
              <a:srgbClr val="F8D3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371600"/>
              <a:endParaRPr lang="en-GB" sz="270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sp>
          <p:nvSpPr>
            <p:cNvPr id="106" name="任意多边形: 形状 105"/>
            <p:cNvSpPr/>
            <p:nvPr/>
          </p:nvSpPr>
          <p:spPr bwMode="auto">
            <a:xfrm rot="10800000">
              <a:off x="5566356" y="2649328"/>
              <a:ext cx="1045288" cy="1199282"/>
            </a:xfrm>
            <a:custGeom>
              <a:avLst/>
              <a:gdLst>
                <a:gd name="T0" fmla="*/ 1111 w 1793"/>
                <a:gd name="T1" fmla="*/ 26 h 2056"/>
                <a:gd name="T2" fmla="*/ 1368 w 1793"/>
                <a:gd name="T3" fmla="*/ 134 h 2056"/>
                <a:gd name="T4" fmla="*/ 1577 w 1793"/>
                <a:gd name="T5" fmla="*/ 313 h 2056"/>
                <a:gd name="T6" fmla="*/ 1723 w 1793"/>
                <a:gd name="T7" fmla="*/ 548 h 2056"/>
                <a:gd name="T8" fmla="*/ 1790 w 1793"/>
                <a:gd name="T9" fmla="*/ 823 h 2056"/>
                <a:gd name="T10" fmla="*/ 1772 w 1793"/>
                <a:gd name="T11" fmla="*/ 1092 h 2056"/>
                <a:gd name="T12" fmla="*/ 1680 w 1793"/>
                <a:gd name="T13" fmla="*/ 1333 h 2056"/>
                <a:gd name="T14" fmla="*/ 1539 w 1793"/>
                <a:gd name="T15" fmla="*/ 1544 h 2056"/>
                <a:gd name="T16" fmla="*/ 1452 w 1793"/>
                <a:gd name="T17" fmla="*/ 1714 h 2056"/>
                <a:gd name="T18" fmla="*/ 1415 w 1793"/>
                <a:gd name="T19" fmla="*/ 1841 h 2056"/>
                <a:gd name="T20" fmla="*/ 1409 w 1793"/>
                <a:gd name="T21" fmla="*/ 1925 h 2056"/>
                <a:gd name="T22" fmla="*/ 1415 w 1793"/>
                <a:gd name="T23" fmla="*/ 1968 h 2056"/>
                <a:gd name="T24" fmla="*/ 1421 w 1793"/>
                <a:gd name="T25" fmla="*/ 2004 h 2056"/>
                <a:gd name="T26" fmla="*/ 1387 w 1793"/>
                <a:gd name="T27" fmla="*/ 2050 h 2056"/>
                <a:gd name="T28" fmla="*/ 1330 w 1793"/>
                <a:gd name="T29" fmla="*/ 2046 h 2056"/>
                <a:gd name="T30" fmla="*/ 1306 w 1793"/>
                <a:gd name="T31" fmla="*/ 2011 h 2056"/>
                <a:gd name="T32" fmla="*/ 1293 w 1793"/>
                <a:gd name="T33" fmla="*/ 1956 h 2056"/>
                <a:gd name="T34" fmla="*/ 1293 w 1793"/>
                <a:gd name="T35" fmla="*/ 1860 h 2056"/>
                <a:gd name="T36" fmla="*/ 1325 w 1793"/>
                <a:gd name="T37" fmla="*/ 1721 h 2056"/>
                <a:gd name="T38" fmla="*/ 1407 w 1793"/>
                <a:gd name="T39" fmla="*/ 1538 h 2056"/>
                <a:gd name="T40" fmla="*/ 1551 w 1793"/>
                <a:gd name="T41" fmla="*/ 1320 h 2056"/>
                <a:gd name="T42" fmla="*/ 1652 w 1793"/>
                <a:gd name="T43" fmla="*/ 1086 h 2056"/>
                <a:gd name="T44" fmla="*/ 1673 w 1793"/>
                <a:gd name="T45" fmla="*/ 825 h 2056"/>
                <a:gd name="T46" fmla="*/ 1600 w 1793"/>
                <a:gd name="T47" fmla="*/ 562 h 2056"/>
                <a:gd name="T48" fmla="*/ 1447 w 1793"/>
                <a:gd name="T49" fmla="*/ 345 h 2056"/>
                <a:gd name="T50" fmla="*/ 1230 w 1793"/>
                <a:gd name="T51" fmla="*/ 191 h 2056"/>
                <a:gd name="T52" fmla="*/ 967 w 1793"/>
                <a:gd name="T53" fmla="*/ 120 h 2056"/>
                <a:gd name="T54" fmla="*/ 689 w 1793"/>
                <a:gd name="T55" fmla="*/ 144 h 2056"/>
                <a:gd name="T56" fmla="*/ 447 w 1793"/>
                <a:gd name="T57" fmla="*/ 260 h 2056"/>
                <a:gd name="T58" fmla="*/ 260 w 1793"/>
                <a:gd name="T59" fmla="*/ 447 h 2056"/>
                <a:gd name="T60" fmla="*/ 145 w 1793"/>
                <a:gd name="T61" fmla="*/ 690 h 2056"/>
                <a:gd name="T62" fmla="*/ 119 w 1793"/>
                <a:gd name="T63" fmla="*/ 961 h 2056"/>
                <a:gd name="T64" fmla="*/ 180 w 1793"/>
                <a:gd name="T65" fmla="*/ 1206 h 2056"/>
                <a:gd name="T66" fmla="*/ 281 w 1793"/>
                <a:gd name="T67" fmla="*/ 1375 h 2056"/>
                <a:gd name="T68" fmla="*/ 414 w 1793"/>
                <a:gd name="T69" fmla="*/ 1590 h 2056"/>
                <a:gd name="T70" fmla="*/ 483 w 1793"/>
                <a:gd name="T71" fmla="*/ 1761 h 2056"/>
                <a:gd name="T72" fmla="*/ 505 w 1793"/>
                <a:gd name="T73" fmla="*/ 1889 h 2056"/>
                <a:gd name="T74" fmla="*/ 501 w 1793"/>
                <a:gd name="T75" fmla="*/ 1974 h 2056"/>
                <a:gd name="T76" fmla="*/ 489 w 1793"/>
                <a:gd name="T77" fmla="*/ 2017 h 2056"/>
                <a:gd name="T78" fmla="*/ 450 w 1793"/>
                <a:gd name="T79" fmla="*/ 2054 h 2056"/>
                <a:gd name="T80" fmla="*/ 396 w 1793"/>
                <a:gd name="T81" fmla="*/ 2042 h 2056"/>
                <a:gd name="T82" fmla="*/ 377 w 1793"/>
                <a:gd name="T83" fmla="*/ 1988 h 2056"/>
                <a:gd name="T84" fmla="*/ 384 w 1793"/>
                <a:gd name="T85" fmla="*/ 1961 h 2056"/>
                <a:gd name="T86" fmla="*/ 388 w 1793"/>
                <a:gd name="T87" fmla="*/ 1909 h 2056"/>
                <a:gd name="T88" fmla="*/ 376 w 1793"/>
                <a:gd name="T89" fmla="*/ 1816 h 2056"/>
                <a:gd name="T90" fmla="*/ 327 w 1793"/>
                <a:gd name="T91" fmla="*/ 1680 h 2056"/>
                <a:gd name="T92" fmla="*/ 225 w 1793"/>
                <a:gd name="T93" fmla="*/ 1499 h 2056"/>
                <a:gd name="T94" fmla="*/ 114 w 1793"/>
                <a:gd name="T95" fmla="*/ 1335 h 2056"/>
                <a:gd name="T96" fmla="*/ 21 w 1793"/>
                <a:gd name="T97" fmla="*/ 1093 h 2056"/>
                <a:gd name="T98" fmla="*/ 3 w 1793"/>
                <a:gd name="T99" fmla="*/ 823 h 2056"/>
                <a:gd name="T100" fmla="*/ 70 w 1793"/>
                <a:gd name="T101" fmla="*/ 548 h 2056"/>
                <a:gd name="T102" fmla="*/ 216 w 1793"/>
                <a:gd name="T103" fmla="*/ 313 h 2056"/>
                <a:gd name="T104" fmla="*/ 424 w 1793"/>
                <a:gd name="T105" fmla="*/ 134 h 2056"/>
                <a:gd name="T106" fmla="*/ 681 w 1793"/>
                <a:gd name="T107" fmla="*/ 26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93" h="2056">
                  <a:moveTo>
                    <a:pt x="896" y="0"/>
                  </a:moveTo>
                  <a:lnTo>
                    <a:pt x="969" y="3"/>
                  </a:lnTo>
                  <a:lnTo>
                    <a:pt x="1042" y="12"/>
                  </a:lnTo>
                  <a:lnTo>
                    <a:pt x="1111" y="26"/>
                  </a:lnTo>
                  <a:lnTo>
                    <a:pt x="1179" y="46"/>
                  </a:lnTo>
                  <a:lnTo>
                    <a:pt x="1245" y="70"/>
                  </a:lnTo>
                  <a:lnTo>
                    <a:pt x="1308" y="100"/>
                  </a:lnTo>
                  <a:lnTo>
                    <a:pt x="1368" y="134"/>
                  </a:lnTo>
                  <a:lnTo>
                    <a:pt x="1425" y="173"/>
                  </a:lnTo>
                  <a:lnTo>
                    <a:pt x="1479" y="216"/>
                  </a:lnTo>
                  <a:lnTo>
                    <a:pt x="1530" y="263"/>
                  </a:lnTo>
                  <a:lnTo>
                    <a:pt x="1577" y="313"/>
                  </a:lnTo>
                  <a:lnTo>
                    <a:pt x="1620" y="367"/>
                  </a:lnTo>
                  <a:lnTo>
                    <a:pt x="1658" y="425"/>
                  </a:lnTo>
                  <a:lnTo>
                    <a:pt x="1692" y="485"/>
                  </a:lnTo>
                  <a:lnTo>
                    <a:pt x="1723" y="548"/>
                  </a:lnTo>
                  <a:lnTo>
                    <a:pt x="1747" y="613"/>
                  </a:lnTo>
                  <a:lnTo>
                    <a:pt x="1766" y="682"/>
                  </a:lnTo>
                  <a:lnTo>
                    <a:pt x="1781" y="751"/>
                  </a:lnTo>
                  <a:lnTo>
                    <a:pt x="1790" y="823"/>
                  </a:lnTo>
                  <a:lnTo>
                    <a:pt x="1793" y="897"/>
                  </a:lnTo>
                  <a:lnTo>
                    <a:pt x="1790" y="962"/>
                  </a:lnTo>
                  <a:lnTo>
                    <a:pt x="1784" y="1027"/>
                  </a:lnTo>
                  <a:lnTo>
                    <a:pt x="1772" y="1092"/>
                  </a:lnTo>
                  <a:lnTo>
                    <a:pt x="1755" y="1155"/>
                  </a:lnTo>
                  <a:lnTo>
                    <a:pt x="1735" y="1216"/>
                  </a:lnTo>
                  <a:lnTo>
                    <a:pt x="1709" y="1275"/>
                  </a:lnTo>
                  <a:lnTo>
                    <a:pt x="1680" y="1333"/>
                  </a:lnTo>
                  <a:lnTo>
                    <a:pt x="1646" y="1389"/>
                  </a:lnTo>
                  <a:lnTo>
                    <a:pt x="1607" y="1442"/>
                  </a:lnTo>
                  <a:lnTo>
                    <a:pt x="1571" y="1494"/>
                  </a:lnTo>
                  <a:lnTo>
                    <a:pt x="1539" y="1544"/>
                  </a:lnTo>
                  <a:lnTo>
                    <a:pt x="1512" y="1591"/>
                  </a:lnTo>
                  <a:lnTo>
                    <a:pt x="1488" y="1635"/>
                  </a:lnTo>
                  <a:lnTo>
                    <a:pt x="1469" y="1676"/>
                  </a:lnTo>
                  <a:lnTo>
                    <a:pt x="1452" y="1714"/>
                  </a:lnTo>
                  <a:lnTo>
                    <a:pt x="1439" y="1750"/>
                  </a:lnTo>
                  <a:lnTo>
                    <a:pt x="1429" y="1783"/>
                  </a:lnTo>
                  <a:lnTo>
                    <a:pt x="1421" y="1813"/>
                  </a:lnTo>
                  <a:lnTo>
                    <a:pt x="1415" y="1841"/>
                  </a:lnTo>
                  <a:lnTo>
                    <a:pt x="1412" y="1866"/>
                  </a:lnTo>
                  <a:lnTo>
                    <a:pt x="1410" y="1889"/>
                  </a:lnTo>
                  <a:lnTo>
                    <a:pt x="1409" y="1908"/>
                  </a:lnTo>
                  <a:lnTo>
                    <a:pt x="1409" y="1925"/>
                  </a:lnTo>
                  <a:lnTo>
                    <a:pt x="1410" y="1940"/>
                  </a:lnTo>
                  <a:lnTo>
                    <a:pt x="1412" y="1952"/>
                  </a:lnTo>
                  <a:lnTo>
                    <a:pt x="1414" y="1961"/>
                  </a:lnTo>
                  <a:lnTo>
                    <a:pt x="1415" y="1968"/>
                  </a:lnTo>
                  <a:lnTo>
                    <a:pt x="1416" y="1972"/>
                  </a:lnTo>
                  <a:lnTo>
                    <a:pt x="1417" y="1973"/>
                  </a:lnTo>
                  <a:lnTo>
                    <a:pt x="1421" y="1989"/>
                  </a:lnTo>
                  <a:lnTo>
                    <a:pt x="1421" y="2004"/>
                  </a:lnTo>
                  <a:lnTo>
                    <a:pt x="1418" y="2018"/>
                  </a:lnTo>
                  <a:lnTo>
                    <a:pt x="1411" y="2031"/>
                  </a:lnTo>
                  <a:lnTo>
                    <a:pt x="1400" y="2042"/>
                  </a:lnTo>
                  <a:lnTo>
                    <a:pt x="1387" y="2050"/>
                  </a:lnTo>
                  <a:lnTo>
                    <a:pt x="1372" y="2055"/>
                  </a:lnTo>
                  <a:lnTo>
                    <a:pt x="1358" y="2055"/>
                  </a:lnTo>
                  <a:lnTo>
                    <a:pt x="1343" y="2052"/>
                  </a:lnTo>
                  <a:lnTo>
                    <a:pt x="1330" y="2046"/>
                  </a:lnTo>
                  <a:lnTo>
                    <a:pt x="1319" y="2036"/>
                  </a:lnTo>
                  <a:lnTo>
                    <a:pt x="1311" y="2022"/>
                  </a:lnTo>
                  <a:lnTo>
                    <a:pt x="1309" y="2018"/>
                  </a:lnTo>
                  <a:lnTo>
                    <a:pt x="1306" y="2011"/>
                  </a:lnTo>
                  <a:lnTo>
                    <a:pt x="1303" y="2001"/>
                  </a:lnTo>
                  <a:lnTo>
                    <a:pt x="1300" y="1989"/>
                  </a:lnTo>
                  <a:lnTo>
                    <a:pt x="1297" y="1974"/>
                  </a:lnTo>
                  <a:lnTo>
                    <a:pt x="1293" y="1956"/>
                  </a:lnTo>
                  <a:lnTo>
                    <a:pt x="1291" y="1937"/>
                  </a:lnTo>
                  <a:lnTo>
                    <a:pt x="1290" y="1913"/>
                  </a:lnTo>
                  <a:lnTo>
                    <a:pt x="1291" y="1888"/>
                  </a:lnTo>
                  <a:lnTo>
                    <a:pt x="1293" y="1860"/>
                  </a:lnTo>
                  <a:lnTo>
                    <a:pt x="1298" y="1829"/>
                  </a:lnTo>
                  <a:lnTo>
                    <a:pt x="1304" y="1796"/>
                  </a:lnTo>
                  <a:lnTo>
                    <a:pt x="1313" y="1759"/>
                  </a:lnTo>
                  <a:lnTo>
                    <a:pt x="1325" y="1721"/>
                  </a:lnTo>
                  <a:lnTo>
                    <a:pt x="1340" y="1679"/>
                  </a:lnTo>
                  <a:lnTo>
                    <a:pt x="1359" y="1635"/>
                  </a:lnTo>
                  <a:lnTo>
                    <a:pt x="1381" y="1588"/>
                  </a:lnTo>
                  <a:lnTo>
                    <a:pt x="1407" y="1538"/>
                  </a:lnTo>
                  <a:lnTo>
                    <a:pt x="1438" y="1486"/>
                  </a:lnTo>
                  <a:lnTo>
                    <a:pt x="1473" y="1430"/>
                  </a:lnTo>
                  <a:lnTo>
                    <a:pt x="1514" y="1373"/>
                  </a:lnTo>
                  <a:lnTo>
                    <a:pt x="1551" y="1320"/>
                  </a:lnTo>
                  <a:lnTo>
                    <a:pt x="1584" y="1264"/>
                  </a:lnTo>
                  <a:lnTo>
                    <a:pt x="1611" y="1207"/>
                  </a:lnTo>
                  <a:lnTo>
                    <a:pt x="1635" y="1148"/>
                  </a:lnTo>
                  <a:lnTo>
                    <a:pt x="1652" y="1086"/>
                  </a:lnTo>
                  <a:lnTo>
                    <a:pt x="1666" y="1024"/>
                  </a:lnTo>
                  <a:lnTo>
                    <a:pt x="1674" y="961"/>
                  </a:lnTo>
                  <a:lnTo>
                    <a:pt x="1676" y="897"/>
                  </a:lnTo>
                  <a:lnTo>
                    <a:pt x="1673" y="825"/>
                  </a:lnTo>
                  <a:lnTo>
                    <a:pt x="1663" y="756"/>
                  </a:lnTo>
                  <a:lnTo>
                    <a:pt x="1648" y="690"/>
                  </a:lnTo>
                  <a:lnTo>
                    <a:pt x="1627" y="625"/>
                  </a:lnTo>
                  <a:lnTo>
                    <a:pt x="1600" y="562"/>
                  </a:lnTo>
                  <a:lnTo>
                    <a:pt x="1570" y="503"/>
                  </a:lnTo>
                  <a:lnTo>
                    <a:pt x="1533" y="447"/>
                  </a:lnTo>
                  <a:lnTo>
                    <a:pt x="1492" y="394"/>
                  </a:lnTo>
                  <a:lnTo>
                    <a:pt x="1447" y="345"/>
                  </a:lnTo>
                  <a:lnTo>
                    <a:pt x="1398" y="300"/>
                  </a:lnTo>
                  <a:lnTo>
                    <a:pt x="1345" y="260"/>
                  </a:lnTo>
                  <a:lnTo>
                    <a:pt x="1289" y="223"/>
                  </a:lnTo>
                  <a:lnTo>
                    <a:pt x="1230" y="191"/>
                  </a:lnTo>
                  <a:lnTo>
                    <a:pt x="1168" y="166"/>
                  </a:lnTo>
                  <a:lnTo>
                    <a:pt x="1103" y="144"/>
                  </a:lnTo>
                  <a:lnTo>
                    <a:pt x="1037" y="129"/>
                  </a:lnTo>
                  <a:lnTo>
                    <a:pt x="967" y="120"/>
                  </a:lnTo>
                  <a:lnTo>
                    <a:pt x="896" y="117"/>
                  </a:lnTo>
                  <a:lnTo>
                    <a:pt x="826" y="120"/>
                  </a:lnTo>
                  <a:lnTo>
                    <a:pt x="756" y="129"/>
                  </a:lnTo>
                  <a:lnTo>
                    <a:pt x="689" y="144"/>
                  </a:lnTo>
                  <a:lnTo>
                    <a:pt x="625" y="166"/>
                  </a:lnTo>
                  <a:lnTo>
                    <a:pt x="563" y="191"/>
                  </a:lnTo>
                  <a:lnTo>
                    <a:pt x="503" y="223"/>
                  </a:lnTo>
                  <a:lnTo>
                    <a:pt x="447" y="260"/>
                  </a:lnTo>
                  <a:lnTo>
                    <a:pt x="394" y="300"/>
                  </a:lnTo>
                  <a:lnTo>
                    <a:pt x="345" y="345"/>
                  </a:lnTo>
                  <a:lnTo>
                    <a:pt x="301" y="394"/>
                  </a:lnTo>
                  <a:lnTo>
                    <a:pt x="260" y="447"/>
                  </a:lnTo>
                  <a:lnTo>
                    <a:pt x="223" y="503"/>
                  </a:lnTo>
                  <a:lnTo>
                    <a:pt x="191" y="562"/>
                  </a:lnTo>
                  <a:lnTo>
                    <a:pt x="166" y="625"/>
                  </a:lnTo>
                  <a:lnTo>
                    <a:pt x="145" y="690"/>
                  </a:lnTo>
                  <a:lnTo>
                    <a:pt x="129" y="756"/>
                  </a:lnTo>
                  <a:lnTo>
                    <a:pt x="120" y="825"/>
                  </a:lnTo>
                  <a:lnTo>
                    <a:pt x="117" y="897"/>
                  </a:lnTo>
                  <a:lnTo>
                    <a:pt x="119" y="961"/>
                  </a:lnTo>
                  <a:lnTo>
                    <a:pt x="127" y="1024"/>
                  </a:lnTo>
                  <a:lnTo>
                    <a:pt x="139" y="1086"/>
                  </a:lnTo>
                  <a:lnTo>
                    <a:pt x="158" y="1147"/>
                  </a:lnTo>
                  <a:lnTo>
                    <a:pt x="180" y="1206"/>
                  </a:lnTo>
                  <a:lnTo>
                    <a:pt x="208" y="1263"/>
                  </a:lnTo>
                  <a:lnTo>
                    <a:pt x="239" y="1317"/>
                  </a:lnTo>
                  <a:lnTo>
                    <a:pt x="277" y="1370"/>
                  </a:lnTo>
                  <a:lnTo>
                    <a:pt x="281" y="1375"/>
                  </a:lnTo>
                  <a:lnTo>
                    <a:pt x="321" y="1433"/>
                  </a:lnTo>
                  <a:lnTo>
                    <a:pt x="357" y="1488"/>
                  </a:lnTo>
                  <a:lnTo>
                    <a:pt x="387" y="1540"/>
                  </a:lnTo>
                  <a:lnTo>
                    <a:pt x="414" y="1590"/>
                  </a:lnTo>
                  <a:lnTo>
                    <a:pt x="436" y="1637"/>
                  </a:lnTo>
                  <a:lnTo>
                    <a:pt x="456" y="1681"/>
                  </a:lnTo>
                  <a:lnTo>
                    <a:pt x="471" y="1723"/>
                  </a:lnTo>
                  <a:lnTo>
                    <a:pt x="483" y="1761"/>
                  </a:lnTo>
                  <a:lnTo>
                    <a:pt x="492" y="1797"/>
                  </a:lnTo>
                  <a:lnTo>
                    <a:pt x="498" y="1831"/>
                  </a:lnTo>
                  <a:lnTo>
                    <a:pt x="503" y="1861"/>
                  </a:lnTo>
                  <a:lnTo>
                    <a:pt x="505" y="1889"/>
                  </a:lnTo>
                  <a:lnTo>
                    <a:pt x="506" y="1914"/>
                  </a:lnTo>
                  <a:lnTo>
                    <a:pt x="505" y="1937"/>
                  </a:lnTo>
                  <a:lnTo>
                    <a:pt x="503" y="1957"/>
                  </a:lnTo>
                  <a:lnTo>
                    <a:pt x="501" y="1974"/>
                  </a:lnTo>
                  <a:lnTo>
                    <a:pt x="498" y="1989"/>
                  </a:lnTo>
                  <a:lnTo>
                    <a:pt x="495" y="2001"/>
                  </a:lnTo>
                  <a:lnTo>
                    <a:pt x="492" y="2011"/>
                  </a:lnTo>
                  <a:lnTo>
                    <a:pt x="489" y="2017"/>
                  </a:lnTo>
                  <a:lnTo>
                    <a:pt x="487" y="2022"/>
                  </a:lnTo>
                  <a:lnTo>
                    <a:pt x="478" y="2037"/>
                  </a:lnTo>
                  <a:lnTo>
                    <a:pt x="466" y="2047"/>
                  </a:lnTo>
                  <a:lnTo>
                    <a:pt x="450" y="2054"/>
                  </a:lnTo>
                  <a:lnTo>
                    <a:pt x="434" y="2056"/>
                  </a:lnTo>
                  <a:lnTo>
                    <a:pt x="422" y="2055"/>
                  </a:lnTo>
                  <a:lnTo>
                    <a:pt x="410" y="2050"/>
                  </a:lnTo>
                  <a:lnTo>
                    <a:pt x="396" y="2042"/>
                  </a:lnTo>
                  <a:lnTo>
                    <a:pt x="386" y="2030"/>
                  </a:lnTo>
                  <a:lnTo>
                    <a:pt x="379" y="2017"/>
                  </a:lnTo>
                  <a:lnTo>
                    <a:pt x="376" y="2003"/>
                  </a:lnTo>
                  <a:lnTo>
                    <a:pt x="377" y="1988"/>
                  </a:lnTo>
                  <a:lnTo>
                    <a:pt x="381" y="1972"/>
                  </a:lnTo>
                  <a:lnTo>
                    <a:pt x="382" y="1971"/>
                  </a:lnTo>
                  <a:lnTo>
                    <a:pt x="383" y="1967"/>
                  </a:lnTo>
                  <a:lnTo>
                    <a:pt x="384" y="1961"/>
                  </a:lnTo>
                  <a:lnTo>
                    <a:pt x="386" y="1952"/>
                  </a:lnTo>
                  <a:lnTo>
                    <a:pt x="387" y="1941"/>
                  </a:lnTo>
                  <a:lnTo>
                    <a:pt x="388" y="1926"/>
                  </a:lnTo>
                  <a:lnTo>
                    <a:pt x="388" y="1909"/>
                  </a:lnTo>
                  <a:lnTo>
                    <a:pt x="387" y="1890"/>
                  </a:lnTo>
                  <a:lnTo>
                    <a:pt x="385" y="1868"/>
                  </a:lnTo>
                  <a:lnTo>
                    <a:pt x="381" y="1844"/>
                  </a:lnTo>
                  <a:lnTo>
                    <a:pt x="376" y="1816"/>
                  </a:lnTo>
                  <a:lnTo>
                    <a:pt x="368" y="1786"/>
                  </a:lnTo>
                  <a:lnTo>
                    <a:pt x="357" y="1753"/>
                  </a:lnTo>
                  <a:lnTo>
                    <a:pt x="343" y="1717"/>
                  </a:lnTo>
                  <a:lnTo>
                    <a:pt x="327" y="1680"/>
                  </a:lnTo>
                  <a:lnTo>
                    <a:pt x="308" y="1639"/>
                  </a:lnTo>
                  <a:lnTo>
                    <a:pt x="284" y="1595"/>
                  </a:lnTo>
                  <a:lnTo>
                    <a:pt x="257" y="1549"/>
                  </a:lnTo>
                  <a:lnTo>
                    <a:pt x="225" y="1499"/>
                  </a:lnTo>
                  <a:lnTo>
                    <a:pt x="189" y="1448"/>
                  </a:lnTo>
                  <a:lnTo>
                    <a:pt x="187" y="1445"/>
                  </a:lnTo>
                  <a:lnTo>
                    <a:pt x="149" y="1391"/>
                  </a:lnTo>
                  <a:lnTo>
                    <a:pt x="114" y="1335"/>
                  </a:lnTo>
                  <a:lnTo>
                    <a:pt x="84" y="1277"/>
                  </a:lnTo>
                  <a:lnTo>
                    <a:pt x="59" y="1218"/>
                  </a:lnTo>
                  <a:lnTo>
                    <a:pt x="38" y="1156"/>
                  </a:lnTo>
                  <a:lnTo>
                    <a:pt x="21" y="1093"/>
                  </a:lnTo>
                  <a:lnTo>
                    <a:pt x="9" y="1028"/>
                  </a:lnTo>
                  <a:lnTo>
                    <a:pt x="2" y="963"/>
                  </a:lnTo>
                  <a:lnTo>
                    <a:pt x="0" y="897"/>
                  </a:lnTo>
                  <a:lnTo>
                    <a:pt x="3" y="823"/>
                  </a:lnTo>
                  <a:lnTo>
                    <a:pt x="11" y="751"/>
                  </a:lnTo>
                  <a:lnTo>
                    <a:pt x="25" y="682"/>
                  </a:lnTo>
                  <a:lnTo>
                    <a:pt x="46" y="613"/>
                  </a:lnTo>
                  <a:lnTo>
                    <a:pt x="70" y="548"/>
                  </a:lnTo>
                  <a:lnTo>
                    <a:pt x="100" y="485"/>
                  </a:lnTo>
                  <a:lnTo>
                    <a:pt x="134" y="425"/>
                  </a:lnTo>
                  <a:lnTo>
                    <a:pt x="173" y="367"/>
                  </a:lnTo>
                  <a:lnTo>
                    <a:pt x="216" y="313"/>
                  </a:lnTo>
                  <a:lnTo>
                    <a:pt x="263" y="263"/>
                  </a:lnTo>
                  <a:lnTo>
                    <a:pt x="313" y="216"/>
                  </a:lnTo>
                  <a:lnTo>
                    <a:pt x="367" y="173"/>
                  </a:lnTo>
                  <a:lnTo>
                    <a:pt x="424" y="134"/>
                  </a:lnTo>
                  <a:lnTo>
                    <a:pt x="484" y="100"/>
                  </a:lnTo>
                  <a:lnTo>
                    <a:pt x="547" y="70"/>
                  </a:lnTo>
                  <a:lnTo>
                    <a:pt x="614" y="46"/>
                  </a:lnTo>
                  <a:lnTo>
                    <a:pt x="681" y="26"/>
                  </a:lnTo>
                  <a:lnTo>
                    <a:pt x="751" y="12"/>
                  </a:lnTo>
                  <a:lnTo>
                    <a:pt x="822" y="3"/>
                  </a:lnTo>
                  <a:lnTo>
                    <a:pt x="89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57150">
              <a:noFill/>
            </a:ln>
            <a:effectLst/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07" name="任意多边形: 形状 106"/>
            <p:cNvSpPr/>
            <p:nvPr/>
          </p:nvSpPr>
          <p:spPr bwMode="auto">
            <a:xfrm rot="10800000">
              <a:off x="5784513" y="2434671"/>
              <a:ext cx="627640" cy="195991"/>
            </a:xfrm>
            <a:custGeom>
              <a:avLst/>
              <a:gdLst>
                <a:gd name="T0" fmla="*/ 144 w 1077"/>
                <a:gd name="T1" fmla="*/ 117 h 337"/>
                <a:gd name="T2" fmla="*/ 134 w 1077"/>
                <a:gd name="T3" fmla="*/ 119 h 337"/>
                <a:gd name="T4" fmla="*/ 126 w 1077"/>
                <a:gd name="T5" fmla="*/ 125 h 337"/>
                <a:gd name="T6" fmla="*/ 120 w 1077"/>
                <a:gd name="T7" fmla="*/ 133 h 337"/>
                <a:gd name="T8" fmla="*/ 118 w 1077"/>
                <a:gd name="T9" fmla="*/ 143 h 337"/>
                <a:gd name="T10" fmla="*/ 118 w 1077"/>
                <a:gd name="T11" fmla="*/ 193 h 337"/>
                <a:gd name="T12" fmla="*/ 120 w 1077"/>
                <a:gd name="T13" fmla="*/ 203 h 337"/>
                <a:gd name="T14" fmla="*/ 126 w 1077"/>
                <a:gd name="T15" fmla="*/ 213 h 337"/>
                <a:gd name="T16" fmla="*/ 134 w 1077"/>
                <a:gd name="T17" fmla="*/ 218 h 337"/>
                <a:gd name="T18" fmla="*/ 144 w 1077"/>
                <a:gd name="T19" fmla="*/ 220 h 337"/>
                <a:gd name="T20" fmla="*/ 933 w 1077"/>
                <a:gd name="T21" fmla="*/ 220 h 337"/>
                <a:gd name="T22" fmla="*/ 943 w 1077"/>
                <a:gd name="T23" fmla="*/ 218 h 337"/>
                <a:gd name="T24" fmla="*/ 951 w 1077"/>
                <a:gd name="T25" fmla="*/ 213 h 337"/>
                <a:gd name="T26" fmla="*/ 958 w 1077"/>
                <a:gd name="T27" fmla="*/ 203 h 337"/>
                <a:gd name="T28" fmla="*/ 960 w 1077"/>
                <a:gd name="T29" fmla="*/ 193 h 337"/>
                <a:gd name="T30" fmla="*/ 960 w 1077"/>
                <a:gd name="T31" fmla="*/ 143 h 337"/>
                <a:gd name="T32" fmla="*/ 958 w 1077"/>
                <a:gd name="T33" fmla="*/ 133 h 337"/>
                <a:gd name="T34" fmla="*/ 951 w 1077"/>
                <a:gd name="T35" fmla="*/ 125 h 337"/>
                <a:gd name="T36" fmla="*/ 943 w 1077"/>
                <a:gd name="T37" fmla="*/ 119 h 337"/>
                <a:gd name="T38" fmla="*/ 933 w 1077"/>
                <a:gd name="T39" fmla="*/ 117 h 337"/>
                <a:gd name="T40" fmla="*/ 144 w 1077"/>
                <a:gd name="T41" fmla="*/ 117 h 337"/>
                <a:gd name="T42" fmla="*/ 144 w 1077"/>
                <a:gd name="T43" fmla="*/ 0 h 337"/>
                <a:gd name="T44" fmla="*/ 932 w 1077"/>
                <a:gd name="T45" fmla="*/ 0 h 337"/>
                <a:gd name="T46" fmla="*/ 962 w 1077"/>
                <a:gd name="T47" fmla="*/ 3 h 337"/>
                <a:gd name="T48" fmla="*/ 988 w 1077"/>
                <a:gd name="T49" fmla="*/ 11 h 337"/>
                <a:gd name="T50" fmla="*/ 1013 w 1077"/>
                <a:gd name="T51" fmla="*/ 24 h 337"/>
                <a:gd name="T52" fmla="*/ 1034 w 1077"/>
                <a:gd name="T53" fmla="*/ 41 h 337"/>
                <a:gd name="T54" fmla="*/ 1051 w 1077"/>
                <a:gd name="T55" fmla="*/ 63 h 337"/>
                <a:gd name="T56" fmla="*/ 1066 w 1077"/>
                <a:gd name="T57" fmla="*/ 87 h 337"/>
                <a:gd name="T58" fmla="*/ 1074 w 1077"/>
                <a:gd name="T59" fmla="*/ 115 h 337"/>
                <a:gd name="T60" fmla="*/ 1077 w 1077"/>
                <a:gd name="T61" fmla="*/ 143 h 337"/>
                <a:gd name="T62" fmla="*/ 1077 w 1077"/>
                <a:gd name="T63" fmla="*/ 193 h 337"/>
                <a:gd name="T64" fmla="*/ 1074 w 1077"/>
                <a:gd name="T65" fmla="*/ 222 h 337"/>
                <a:gd name="T66" fmla="*/ 1066 w 1077"/>
                <a:gd name="T67" fmla="*/ 249 h 337"/>
                <a:gd name="T68" fmla="*/ 1052 w 1077"/>
                <a:gd name="T69" fmla="*/ 274 h 337"/>
                <a:gd name="T70" fmla="*/ 1034 w 1077"/>
                <a:gd name="T71" fmla="*/ 295 h 337"/>
                <a:gd name="T72" fmla="*/ 1013 w 1077"/>
                <a:gd name="T73" fmla="*/ 313 h 337"/>
                <a:gd name="T74" fmla="*/ 988 w 1077"/>
                <a:gd name="T75" fmla="*/ 326 h 337"/>
                <a:gd name="T76" fmla="*/ 962 w 1077"/>
                <a:gd name="T77" fmla="*/ 334 h 337"/>
                <a:gd name="T78" fmla="*/ 933 w 1077"/>
                <a:gd name="T79" fmla="*/ 337 h 337"/>
                <a:gd name="T80" fmla="*/ 144 w 1077"/>
                <a:gd name="T81" fmla="*/ 337 h 337"/>
                <a:gd name="T82" fmla="*/ 116 w 1077"/>
                <a:gd name="T83" fmla="*/ 334 h 337"/>
                <a:gd name="T84" fmla="*/ 88 w 1077"/>
                <a:gd name="T85" fmla="*/ 326 h 337"/>
                <a:gd name="T86" fmla="*/ 64 w 1077"/>
                <a:gd name="T87" fmla="*/ 313 h 337"/>
                <a:gd name="T88" fmla="*/ 42 w 1077"/>
                <a:gd name="T89" fmla="*/ 295 h 337"/>
                <a:gd name="T90" fmla="*/ 25 w 1077"/>
                <a:gd name="T91" fmla="*/ 274 h 337"/>
                <a:gd name="T92" fmla="*/ 12 w 1077"/>
                <a:gd name="T93" fmla="*/ 249 h 337"/>
                <a:gd name="T94" fmla="*/ 3 w 1077"/>
                <a:gd name="T95" fmla="*/ 222 h 337"/>
                <a:gd name="T96" fmla="*/ 0 w 1077"/>
                <a:gd name="T97" fmla="*/ 193 h 337"/>
                <a:gd name="T98" fmla="*/ 0 w 1077"/>
                <a:gd name="T99" fmla="*/ 143 h 337"/>
                <a:gd name="T100" fmla="*/ 3 w 1077"/>
                <a:gd name="T101" fmla="*/ 115 h 337"/>
                <a:gd name="T102" fmla="*/ 12 w 1077"/>
                <a:gd name="T103" fmla="*/ 87 h 337"/>
                <a:gd name="T104" fmla="*/ 25 w 1077"/>
                <a:gd name="T105" fmla="*/ 63 h 337"/>
                <a:gd name="T106" fmla="*/ 42 w 1077"/>
                <a:gd name="T107" fmla="*/ 41 h 337"/>
                <a:gd name="T108" fmla="*/ 64 w 1077"/>
                <a:gd name="T109" fmla="*/ 24 h 337"/>
                <a:gd name="T110" fmla="*/ 88 w 1077"/>
                <a:gd name="T111" fmla="*/ 11 h 337"/>
                <a:gd name="T112" fmla="*/ 116 w 1077"/>
                <a:gd name="T113" fmla="*/ 3 h 337"/>
                <a:gd name="T114" fmla="*/ 144 w 1077"/>
                <a:gd name="T1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077" h="337">
                  <a:moveTo>
                    <a:pt x="144" y="117"/>
                  </a:moveTo>
                  <a:lnTo>
                    <a:pt x="134" y="119"/>
                  </a:lnTo>
                  <a:lnTo>
                    <a:pt x="126" y="125"/>
                  </a:lnTo>
                  <a:lnTo>
                    <a:pt x="120" y="133"/>
                  </a:lnTo>
                  <a:lnTo>
                    <a:pt x="118" y="143"/>
                  </a:lnTo>
                  <a:lnTo>
                    <a:pt x="118" y="193"/>
                  </a:lnTo>
                  <a:lnTo>
                    <a:pt x="120" y="203"/>
                  </a:lnTo>
                  <a:lnTo>
                    <a:pt x="126" y="213"/>
                  </a:lnTo>
                  <a:lnTo>
                    <a:pt x="134" y="218"/>
                  </a:lnTo>
                  <a:lnTo>
                    <a:pt x="144" y="220"/>
                  </a:lnTo>
                  <a:lnTo>
                    <a:pt x="933" y="220"/>
                  </a:lnTo>
                  <a:lnTo>
                    <a:pt x="943" y="218"/>
                  </a:lnTo>
                  <a:lnTo>
                    <a:pt x="951" y="213"/>
                  </a:lnTo>
                  <a:lnTo>
                    <a:pt x="958" y="203"/>
                  </a:lnTo>
                  <a:lnTo>
                    <a:pt x="960" y="193"/>
                  </a:lnTo>
                  <a:lnTo>
                    <a:pt x="960" y="143"/>
                  </a:lnTo>
                  <a:lnTo>
                    <a:pt x="958" y="133"/>
                  </a:lnTo>
                  <a:lnTo>
                    <a:pt x="951" y="125"/>
                  </a:lnTo>
                  <a:lnTo>
                    <a:pt x="943" y="119"/>
                  </a:lnTo>
                  <a:lnTo>
                    <a:pt x="933" y="117"/>
                  </a:lnTo>
                  <a:lnTo>
                    <a:pt x="144" y="117"/>
                  </a:lnTo>
                  <a:close/>
                  <a:moveTo>
                    <a:pt x="144" y="0"/>
                  </a:moveTo>
                  <a:lnTo>
                    <a:pt x="932" y="0"/>
                  </a:lnTo>
                  <a:lnTo>
                    <a:pt x="962" y="3"/>
                  </a:lnTo>
                  <a:lnTo>
                    <a:pt x="988" y="11"/>
                  </a:lnTo>
                  <a:lnTo>
                    <a:pt x="1013" y="24"/>
                  </a:lnTo>
                  <a:lnTo>
                    <a:pt x="1034" y="41"/>
                  </a:lnTo>
                  <a:lnTo>
                    <a:pt x="1051" y="63"/>
                  </a:lnTo>
                  <a:lnTo>
                    <a:pt x="1066" y="87"/>
                  </a:lnTo>
                  <a:lnTo>
                    <a:pt x="1074" y="115"/>
                  </a:lnTo>
                  <a:lnTo>
                    <a:pt x="1077" y="143"/>
                  </a:lnTo>
                  <a:lnTo>
                    <a:pt x="1077" y="193"/>
                  </a:lnTo>
                  <a:lnTo>
                    <a:pt x="1074" y="222"/>
                  </a:lnTo>
                  <a:lnTo>
                    <a:pt x="1066" y="249"/>
                  </a:lnTo>
                  <a:lnTo>
                    <a:pt x="1052" y="274"/>
                  </a:lnTo>
                  <a:lnTo>
                    <a:pt x="1034" y="295"/>
                  </a:lnTo>
                  <a:lnTo>
                    <a:pt x="1013" y="313"/>
                  </a:lnTo>
                  <a:lnTo>
                    <a:pt x="988" y="326"/>
                  </a:lnTo>
                  <a:lnTo>
                    <a:pt x="962" y="334"/>
                  </a:lnTo>
                  <a:lnTo>
                    <a:pt x="933" y="337"/>
                  </a:lnTo>
                  <a:lnTo>
                    <a:pt x="144" y="337"/>
                  </a:lnTo>
                  <a:lnTo>
                    <a:pt x="116" y="334"/>
                  </a:lnTo>
                  <a:lnTo>
                    <a:pt x="88" y="326"/>
                  </a:lnTo>
                  <a:lnTo>
                    <a:pt x="64" y="313"/>
                  </a:lnTo>
                  <a:lnTo>
                    <a:pt x="42" y="295"/>
                  </a:lnTo>
                  <a:lnTo>
                    <a:pt x="25" y="274"/>
                  </a:lnTo>
                  <a:lnTo>
                    <a:pt x="12" y="249"/>
                  </a:lnTo>
                  <a:lnTo>
                    <a:pt x="3" y="222"/>
                  </a:lnTo>
                  <a:lnTo>
                    <a:pt x="0" y="193"/>
                  </a:lnTo>
                  <a:lnTo>
                    <a:pt x="0" y="143"/>
                  </a:lnTo>
                  <a:lnTo>
                    <a:pt x="3" y="115"/>
                  </a:lnTo>
                  <a:lnTo>
                    <a:pt x="12" y="87"/>
                  </a:lnTo>
                  <a:lnTo>
                    <a:pt x="25" y="63"/>
                  </a:lnTo>
                  <a:lnTo>
                    <a:pt x="42" y="41"/>
                  </a:lnTo>
                  <a:lnTo>
                    <a:pt x="64" y="24"/>
                  </a:lnTo>
                  <a:lnTo>
                    <a:pt x="88" y="11"/>
                  </a:lnTo>
                  <a:lnTo>
                    <a:pt x="116" y="3"/>
                  </a:lnTo>
                  <a:lnTo>
                    <a:pt x="144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57150">
              <a:noFill/>
            </a:ln>
            <a:effectLst/>
          </p:spPr>
          <p:txBody>
            <a:bodyPr wrap="square" lIns="91440" tIns="45720" rIns="91440" bIns="45720" anchor="ctr">
              <a:normAutofit fontScale="40000" lnSpcReduction="20000"/>
            </a:bodyPr>
            <a:lstStyle/>
            <a:p>
              <a:pPr algn="ctr"/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08" name="任意多边形: 形状 107"/>
            <p:cNvSpPr/>
            <p:nvPr/>
          </p:nvSpPr>
          <p:spPr bwMode="auto">
            <a:xfrm rot="10800000">
              <a:off x="5869676" y="2139517"/>
              <a:ext cx="437482" cy="242656"/>
            </a:xfrm>
            <a:custGeom>
              <a:avLst/>
              <a:gdLst>
                <a:gd name="T0" fmla="*/ 58 w 748"/>
                <a:gd name="T1" fmla="*/ 0 h 416"/>
                <a:gd name="T2" fmla="*/ 76 w 748"/>
                <a:gd name="T3" fmla="*/ 3 h 416"/>
                <a:gd name="T4" fmla="*/ 93 w 748"/>
                <a:gd name="T5" fmla="*/ 11 h 416"/>
                <a:gd name="T6" fmla="*/ 105 w 748"/>
                <a:gd name="T7" fmla="*/ 24 h 416"/>
                <a:gd name="T8" fmla="*/ 114 w 748"/>
                <a:gd name="T9" fmla="*/ 39 h 416"/>
                <a:gd name="T10" fmla="*/ 116 w 748"/>
                <a:gd name="T11" fmla="*/ 58 h 416"/>
                <a:gd name="T12" fmla="*/ 116 w 748"/>
                <a:gd name="T13" fmla="*/ 175 h 416"/>
                <a:gd name="T14" fmla="*/ 373 w 748"/>
                <a:gd name="T15" fmla="*/ 292 h 416"/>
                <a:gd name="T16" fmla="*/ 631 w 748"/>
                <a:gd name="T17" fmla="*/ 171 h 416"/>
                <a:gd name="T18" fmla="*/ 631 w 748"/>
                <a:gd name="T19" fmla="*/ 58 h 416"/>
                <a:gd name="T20" fmla="*/ 634 w 748"/>
                <a:gd name="T21" fmla="*/ 39 h 416"/>
                <a:gd name="T22" fmla="*/ 642 w 748"/>
                <a:gd name="T23" fmla="*/ 24 h 416"/>
                <a:gd name="T24" fmla="*/ 655 w 748"/>
                <a:gd name="T25" fmla="*/ 11 h 416"/>
                <a:gd name="T26" fmla="*/ 671 w 748"/>
                <a:gd name="T27" fmla="*/ 3 h 416"/>
                <a:gd name="T28" fmla="*/ 689 w 748"/>
                <a:gd name="T29" fmla="*/ 0 h 416"/>
                <a:gd name="T30" fmla="*/ 708 w 748"/>
                <a:gd name="T31" fmla="*/ 3 h 416"/>
                <a:gd name="T32" fmla="*/ 724 w 748"/>
                <a:gd name="T33" fmla="*/ 11 h 416"/>
                <a:gd name="T34" fmla="*/ 737 w 748"/>
                <a:gd name="T35" fmla="*/ 24 h 416"/>
                <a:gd name="T36" fmla="*/ 745 w 748"/>
                <a:gd name="T37" fmla="*/ 39 h 416"/>
                <a:gd name="T38" fmla="*/ 748 w 748"/>
                <a:gd name="T39" fmla="*/ 58 h 416"/>
                <a:gd name="T40" fmla="*/ 748 w 748"/>
                <a:gd name="T41" fmla="*/ 208 h 416"/>
                <a:gd name="T42" fmla="*/ 745 w 748"/>
                <a:gd name="T43" fmla="*/ 224 h 416"/>
                <a:gd name="T44" fmla="*/ 739 w 748"/>
                <a:gd name="T45" fmla="*/ 239 h 416"/>
                <a:gd name="T46" fmla="*/ 729 w 748"/>
                <a:gd name="T47" fmla="*/ 251 h 416"/>
                <a:gd name="T48" fmla="*/ 714 w 748"/>
                <a:gd name="T49" fmla="*/ 261 h 416"/>
                <a:gd name="T50" fmla="*/ 398 w 748"/>
                <a:gd name="T51" fmla="*/ 410 h 416"/>
                <a:gd name="T52" fmla="*/ 386 w 748"/>
                <a:gd name="T53" fmla="*/ 414 h 416"/>
                <a:gd name="T54" fmla="*/ 373 w 748"/>
                <a:gd name="T55" fmla="*/ 416 h 416"/>
                <a:gd name="T56" fmla="*/ 361 w 748"/>
                <a:gd name="T57" fmla="*/ 414 h 416"/>
                <a:gd name="T58" fmla="*/ 349 w 748"/>
                <a:gd name="T59" fmla="*/ 410 h 416"/>
                <a:gd name="T60" fmla="*/ 33 w 748"/>
                <a:gd name="T61" fmla="*/ 266 h 416"/>
                <a:gd name="T62" fmla="*/ 19 w 748"/>
                <a:gd name="T63" fmla="*/ 257 h 416"/>
                <a:gd name="T64" fmla="*/ 9 w 748"/>
                <a:gd name="T65" fmla="*/ 244 h 416"/>
                <a:gd name="T66" fmla="*/ 2 w 748"/>
                <a:gd name="T67" fmla="*/ 229 h 416"/>
                <a:gd name="T68" fmla="*/ 0 w 748"/>
                <a:gd name="T69" fmla="*/ 213 h 416"/>
                <a:gd name="T70" fmla="*/ 0 w 748"/>
                <a:gd name="T71" fmla="*/ 58 h 416"/>
                <a:gd name="T72" fmla="*/ 3 w 748"/>
                <a:gd name="T73" fmla="*/ 39 h 416"/>
                <a:gd name="T74" fmla="*/ 11 w 748"/>
                <a:gd name="T75" fmla="*/ 24 h 416"/>
                <a:gd name="T76" fmla="*/ 23 w 748"/>
                <a:gd name="T77" fmla="*/ 11 h 416"/>
                <a:gd name="T78" fmla="*/ 40 w 748"/>
                <a:gd name="T79" fmla="*/ 3 h 416"/>
                <a:gd name="T80" fmla="*/ 58 w 748"/>
                <a:gd name="T81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48" h="416">
                  <a:moveTo>
                    <a:pt x="58" y="0"/>
                  </a:moveTo>
                  <a:lnTo>
                    <a:pt x="76" y="3"/>
                  </a:lnTo>
                  <a:lnTo>
                    <a:pt x="93" y="11"/>
                  </a:lnTo>
                  <a:lnTo>
                    <a:pt x="105" y="24"/>
                  </a:lnTo>
                  <a:lnTo>
                    <a:pt x="114" y="39"/>
                  </a:lnTo>
                  <a:lnTo>
                    <a:pt x="116" y="58"/>
                  </a:lnTo>
                  <a:lnTo>
                    <a:pt x="116" y="175"/>
                  </a:lnTo>
                  <a:lnTo>
                    <a:pt x="373" y="292"/>
                  </a:lnTo>
                  <a:lnTo>
                    <a:pt x="631" y="171"/>
                  </a:lnTo>
                  <a:lnTo>
                    <a:pt x="631" y="58"/>
                  </a:lnTo>
                  <a:lnTo>
                    <a:pt x="634" y="39"/>
                  </a:lnTo>
                  <a:lnTo>
                    <a:pt x="642" y="24"/>
                  </a:lnTo>
                  <a:lnTo>
                    <a:pt x="655" y="11"/>
                  </a:lnTo>
                  <a:lnTo>
                    <a:pt x="671" y="3"/>
                  </a:lnTo>
                  <a:lnTo>
                    <a:pt x="689" y="0"/>
                  </a:lnTo>
                  <a:lnTo>
                    <a:pt x="708" y="3"/>
                  </a:lnTo>
                  <a:lnTo>
                    <a:pt x="724" y="11"/>
                  </a:lnTo>
                  <a:lnTo>
                    <a:pt x="737" y="24"/>
                  </a:lnTo>
                  <a:lnTo>
                    <a:pt x="745" y="39"/>
                  </a:lnTo>
                  <a:lnTo>
                    <a:pt x="748" y="58"/>
                  </a:lnTo>
                  <a:lnTo>
                    <a:pt x="748" y="208"/>
                  </a:lnTo>
                  <a:lnTo>
                    <a:pt x="745" y="224"/>
                  </a:lnTo>
                  <a:lnTo>
                    <a:pt x="739" y="239"/>
                  </a:lnTo>
                  <a:lnTo>
                    <a:pt x="729" y="251"/>
                  </a:lnTo>
                  <a:lnTo>
                    <a:pt x="714" y="261"/>
                  </a:lnTo>
                  <a:lnTo>
                    <a:pt x="398" y="410"/>
                  </a:lnTo>
                  <a:lnTo>
                    <a:pt x="386" y="414"/>
                  </a:lnTo>
                  <a:lnTo>
                    <a:pt x="373" y="416"/>
                  </a:lnTo>
                  <a:lnTo>
                    <a:pt x="361" y="414"/>
                  </a:lnTo>
                  <a:lnTo>
                    <a:pt x="349" y="410"/>
                  </a:lnTo>
                  <a:lnTo>
                    <a:pt x="33" y="266"/>
                  </a:lnTo>
                  <a:lnTo>
                    <a:pt x="19" y="257"/>
                  </a:lnTo>
                  <a:lnTo>
                    <a:pt x="9" y="244"/>
                  </a:lnTo>
                  <a:lnTo>
                    <a:pt x="2" y="229"/>
                  </a:lnTo>
                  <a:lnTo>
                    <a:pt x="0" y="213"/>
                  </a:lnTo>
                  <a:lnTo>
                    <a:pt x="0" y="58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57150">
              <a:noFill/>
            </a:ln>
            <a:effectLst/>
          </p:spPr>
          <p:txBody>
            <a:bodyPr wrap="square" lIns="91440" tIns="45720" rIns="91440" bIns="45720" anchor="ctr">
              <a:normAutofit fontScale="62500" lnSpcReduction="20000"/>
            </a:bodyPr>
            <a:lstStyle/>
            <a:p>
              <a:pPr algn="ctr"/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09" name="任意多边形: 形状 108"/>
            <p:cNvSpPr/>
            <p:nvPr/>
          </p:nvSpPr>
          <p:spPr bwMode="auto">
            <a:xfrm rot="10800000">
              <a:off x="5287534" y="2694826"/>
              <a:ext cx="298654" cy="239157"/>
            </a:xfrm>
            <a:custGeom>
              <a:avLst/>
              <a:gdLst>
                <a:gd name="T0" fmla="*/ 64 w 513"/>
                <a:gd name="T1" fmla="*/ 0 h 408"/>
                <a:gd name="T2" fmla="*/ 79 w 513"/>
                <a:gd name="T3" fmla="*/ 3 h 408"/>
                <a:gd name="T4" fmla="*/ 93 w 513"/>
                <a:gd name="T5" fmla="*/ 10 h 408"/>
                <a:gd name="T6" fmla="*/ 490 w 513"/>
                <a:gd name="T7" fmla="*/ 302 h 408"/>
                <a:gd name="T8" fmla="*/ 501 w 513"/>
                <a:gd name="T9" fmla="*/ 314 h 408"/>
                <a:gd name="T10" fmla="*/ 509 w 513"/>
                <a:gd name="T11" fmla="*/ 327 h 408"/>
                <a:gd name="T12" fmla="*/ 513 w 513"/>
                <a:gd name="T13" fmla="*/ 341 h 408"/>
                <a:gd name="T14" fmla="*/ 513 w 513"/>
                <a:gd name="T15" fmla="*/ 356 h 408"/>
                <a:gd name="T16" fmla="*/ 510 w 513"/>
                <a:gd name="T17" fmla="*/ 371 h 408"/>
                <a:gd name="T18" fmla="*/ 502 w 513"/>
                <a:gd name="T19" fmla="*/ 385 h 408"/>
                <a:gd name="T20" fmla="*/ 493 w 513"/>
                <a:gd name="T21" fmla="*/ 395 h 408"/>
                <a:gd name="T22" fmla="*/ 481 w 513"/>
                <a:gd name="T23" fmla="*/ 402 h 408"/>
                <a:gd name="T24" fmla="*/ 468 w 513"/>
                <a:gd name="T25" fmla="*/ 407 h 408"/>
                <a:gd name="T26" fmla="*/ 455 w 513"/>
                <a:gd name="T27" fmla="*/ 408 h 408"/>
                <a:gd name="T28" fmla="*/ 443 w 513"/>
                <a:gd name="T29" fmla="*/ 407 h 408"/>
                <a:gd name="T30" fmla="*/ 431 w 513"/>
                <a:gd name="T31" fmla="*/ 403 h 408"/>
                <a:gd name="T32" fmla="*/ 420 w 513"/>
                <a:gd name="T33" fmla="*/ 397 h 408"/>
                <a:gd name="T34" fmla="*/ 24 w 513"/>
                <a:gd name="T35" fmla="*/ 105 h 408"/>
                <a:gd name="T36" fmla="*/ 13 w 513"/>
                <a:gd name="T37" fmla="*/ 93 h 408"/>
                <a:gd name="T38" fmla="*/ 4 w 513"/>
                <a:gd name="T39" fmla="*/ 80 h 408"/>
                <a:gd name="T40" fmla="*/ 0 w 513"/>
                <a:gd name="T41" fmla="*/ 66 h 408"/>
                <a:gd name="T42" fmla="*/ 0 w 513"/>
                <a:gd name="T43" fmla="*/ 51 h 408"/>
                <a:gd name="T44" fmla="*/ 3 w 513"/>
                <a:gd name="T45" fmla="*/ 36 h 408"/>
                <a:gd name="T46" fmla="*/ 11 w 513"/>
                <a:gd name="T47" fmla="*/ 22 h 408"/>
                <a:gd name="T48" fmla="*/ 22 w 513"/>
                <a:gd name="T49" fmla="*/ 11 h 408"/>
                <a:gd name="T50" fmla="*/ 35 w 513"/>
                <a:gd name="T51" fmla="*/ 4 h 408"/>
                <a:gd name="T52" fmla="*/ 49 w 513"/>
                <a:gd name="T53" fmla="*/ 0 h 408"/>
                <a:gd name="T54" fmla="*/ 64 w 513"/>
                <a:gd name="T55" fmla="*/ 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3" h="408">
                  <a:moveTo>
                    <a:pt x="64" y="0"/>
                  </a:moveTo>
                  <a:lnTo>
                    <a:pt x="79" y="3"/>
                  </a:lnTo>
                  <a:lnTo>
                    <a:pt x="93" y="10"/>
                  </a:lnTo>
                  <a:lnTo>
                    <a:pt x="490" y="302"/>
                  </a:lnTo>
                  <a:lnTo>
                    <a:pt x="501" y="314"/>
                  </a:lnTo>
                  <a:lnTo>
                    <a:pt x="509" y="327"/>
                  </a:lnTo>
                  <a:lnTo>
                    <a:pt x="513" y="341"/>
                  </a:lnTo>
                  <a:lnTo>
                    <a:pt x="513" y="356"/>
                  </a:lnTo>
                  <a:lnTo>
                    <a:pt x="510" y="371"/>
                  </a:lnTo>
                  <a:lnTo>
                    <a:pt x="502" y="385"/>
                  </a:lnTo>
                  <a:lnTo>
                    <a:pt x="493" y="395"/>
                  </a:lnTo>
                  <a:lnTo>
                    <a:pt x="481" y="402"/>
                  </a:lnTo>
                  <a:lnTo>
                    <a:pt x="468" y="407"/>
                  </a:lnTo>
                  <a:lnTo>
                    <a:pt x="455" y="408"/>
                  </a:lnTo>
                  <a:lnTo>
                    <a:pt x="443" y="407"/>
                  </a:lnTo>
                  <a:lnTo>
                    <a:pt x="431" y="403"/>
                  </a:lnTo>
                  <a:lnTo>
                    <a:pt x="420" y="397"/>
                  </a:lnTo>
                  <a:lnTo>
                    <a:pt x="24" y="105"/>
                  </a:lnTo>
                  <a:lnTo>
                    <a:pt x="13" y="93"/>
                  </a:lnTo>
                  <a:lnTo>
                    <a:pt x="4" y="80"/>
                  </a:lnTo>
                  <a:lnTo>
                    <a:pt x="0" y="66"/>
                  </a:lnTo>
                  <a:lnTo>
                    <a:pt x="0" y="51"/>
                  </a:lnTo>
                  <a:lnTo>
                    <a:pt x="3" y="36"/>
                  </a:lnTo>
                  <a:lnTo>
                    <a:pt x="11" y="22"/>
                  </a:lnTo>
                  <a:lnTo>
                    <a:pt x="22" y="11"/>
                  </a:lnTo>
                  <a:lnTo>
                    <a:pt x="35" y="4"/>
                  </a:lnTo>
                  <a:lnTo>
                    <a:pt x="49" y="0"/>
                  </a:lnTo>
                  <a:lnTo>
                    <a:pt x="64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0" name="任意多边形: 形状 109"/>
            <p:cNvSpPr/>
            <p:nvPr/>
          </p:nvSpPr>
          <p:spPr bwMode="auto">
            <a:xfrm rot="10800000">
              <a:off x="6596478" y="3660786"/>
              <a:ext cx="304488" cy="242656"/>
            </a:xfrm>
            <a:custGeom>
              <a:avLst/>
              <a:gdLst>
                <a:gd name="T0" fmla="*/ 65 w 522"/>
                <a:gd name="T1" fmla="*/ 0 h 416"/>
                <a:gd name="T2" fmla="*/ 80 w 522"/>
                <a:gd name="T3" fmla="*/ 4 h 416"/>
                <a:gd name="T4" fmla="*/ 93 w 522"/>
                <a:gd name="T5" fmla="*/ 11 h 416"/>
                <a:gd name="T6" fmla="*/ 499 w 522"/>
                <a:gd name="T7" fmla="*/ 311 h 416"/>
                <a:gd name="T8" fmla="*/ 510 w 522"/>
                <a:gd name="T9" fmla="*/ 321 h 416"/>
                <a:gd name="T10" fmla="*/ 518 w 522"/>
                <a:gd name="T11" fmla="*/ 334 h 416"/>
                <a:gd name="T12" fmla="*/ 522 w 522"/>
                <a:gd name="T13" fmla="*/ 349 h 416"/>
                <a:gd name="T14" fmla="*/ 522 w 522"/>
                <a:gd name="T15" fmla="*/ 364 h 416"/>
                <a:gd name="T16" fmla="*/ 519 w 522"/>
                <a:gd name="T17" fmla="*/ 379 h 416"/>
                <a:gd name="T18" fmla="*/ 511 w 522"/>
                <a:gd name="T19" fmla="*/ 392 h 416"/>
                <a:gd name="T20" fmla="*/ 502 w 522"/>
                <a:gd name="T21" fmla="*/ 403 h 416"/>
                <a:gd name="T22" fmla="*/ 491 w 522"/>
                <a:gd name="T23" fmla="*/ 410 h 416"/>
                <a:gd name="T24" fmla="*/ 477 w 522"/>
                <a:gd name="T25" fmla="*/ 415 h 416"/>
                <a:gd name="T26" fmla="*/ 464 w 522"/>
                <a:gd name="T27" fmla="*/ 416 h 416"/>
                <a:gd name="T28" fmla="*/ 452 w 522"/>
                <a:gd name="T29" fmla="*/ 415 h 416"/>
                <a:gd name="T30" fmla="*/ 441 w 522"/>
                <a:gd name="T31" fmla="*/ 411 h 416"/>
                <a:gd name="T32" fmla="*/ 430 w 522"/>
                <a:gd name="T33" fmla="*/ 405 h 416"/>
                <a:gd name="T34" fmla="*/ 24 w 522"/>
                <a:gd name="T35" fmla="*/ 106 h 416"/>
                <a:gd name="T36" fmla="*/ 13 w 522"/>
                <a:gd name="T37" fmla="*/ 95 h 416"/>
                <a:gd name="T38" fmla="*/ 4 w 522"/>
                <a:gd name="T39" fmla="*/ 81 h 416"/>
                <a:gd name="T40" fmla="*/ 0 w 522"/>
                <a:gd name="T41" fmla="*/ 67 h 416"/>
                <a:gd name="T42" fmla="*/ 0 w 522"/>
                <a:gd name="T43" fmla="*/ 52 h 416"/>
                <a:gd name="T44" fmla="*/ 4 w 522"/>
                <a:gd name="T45" fmla="*/ 38 h 416"/>
                <a:gd name="T46" fmla="*/ 12 w 522"/>
                <a:gd name="T47" fmla="*/ 23 h 416"/>
                <a:gd name="T48" fmla="*/ 23 w 522"/>
                <a:gd name="T49" fmla="*/ 12 h 416"/>
                <a:gd name="T50" fmla="*/ 36 w 522"/>
                <a:gd name="T51" fmla="*/ 5 h 416"/>
                <a:gd name="T52" fmla="*/ 50 w 522"/>
                <a:gd name="T53" fmla="*/ 1 h 416"/>
                <a:gd name="T54" fmla="*/ 65 w 522"/>
                <a:gd name="T55" fmla="*/ 0 h 4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22" h="416">
                  <a:moveTo>
                    <a:pt x="65" y="0"/>
                  </a:moveTo>
                  <a:lnTo>
                    <a:pt x="80" y="4"/>
                  </a:lnTo>
                  <a:lnTo>
                    <a:pt x="93" y="11"/>
                  </a:lnTo>
                  <a:lnTo>
                    <a:pt x="499" y="311"/>
                  </a:lnTo>
                  <a:lnTo>
                    <a:pt x="510" y="321"/>
                  </a:lnTo>
                  <a:lnTo>
                    <a:pt x="518" y="334"/>
                  </a:lnTo>
                  <a:lnTo>
                    <a:pt x="522" y="349"/>
                  </a:lnTo>
                  <a:lnTo>
                    <a:pt x="522" y="364"/>
                  </a:lnTo>
                  <a:lnTo>
                    <a:pt x="519" y="379"/>
                  </a:lnTo>
                  <a:lnTo>
                    <a:pt x="511" y="392"/>
                  </a:lnTo>
                  <a:lnTo>
                    <a:pt x="502" y="403"/>
                  </a:lnTo>
                  <a:lnTo>
                    <a:pt x="491" y="410"/>
                  </a:lnTo>
                  <a:lnTo>
                    <a:pt x="477" y="415"/>
                  </a:lnTo>
                  <a:lnTo>
                    <a:pt x="464" y="416"/>
                  </a:lnTo>
                  <a:lnTo>
                    <a:pt x="452" y="415"/>
                  </a:lnTo>
                  <a:lnTo>
                    <a:pt x="441" y="411"/>
                  </a:lnTo>
                  <a:lnTo>
                    <a:pt x="430" y="405"/>
                  </a:lnTo>
                  <a:lnTo>
                    <a:pt x="24" y="106"/>
                  </a:lnTo>
                  <a:lnTo>
                    <a:pt x="13" y="95"/>
                  </a:lnTo>
                  <a:lnTo>
                    <a:pt x="4" y="81"/>
                  </a:lnTo>
                  <a:lnTo>
                    <a:pt x="0" y="67"/>
                  </a:lnTo>
                  <a:lnTo>
                    <a:pt x="0" y="52"/>
                  </a:lnTo>
                  <a:lnTo>
                    <a:pt x="4" y="38"/>
                  </a:lnTo>
                  <a:lnTo>
                    <a:pt x="12" y="23"/>
                  </a:lnTo>
                  <a:lnTo>
                    <a:pt x="23" y="12"/>
                  </a:lnTo>
                  <a:lnTo>
                    <a:pt x="36" y="5"/>
                  </a:lnTo>
                  <a:lnTo>
                    <a:pt x="50" y="1"/>
                  </a:lnTo>
                  <a:lnTo>
                    <a:pt x="65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1" name="任意多边形: 形状 110"/>
            <p:cNvSpPr/>
            <p:nvPr/>
          </p:nvSpPr>
          <p:spPr bwMode="auto">
            <a:xfrm rot="10800000">
              <a:off x="6585979" y="2694826"/>
              <a:ext cx="314987" cy="250823"/>
            </a:xfrm>
            <a:custGeom>
              <a:avLst/>
              <a:gdLst>
                <a:gd name="T0" fmla="*/ 476 w 541"/>
                <a:gd name="T1" fmla="*/ 0 h 429"/>
                <a:gd name="T2" fmla="*/ 492 w 541"/>
                <a:gd name="T3" fmla="*/ 0 h 429"/>
                <a:gd name="T4" fmla="*/ 506 w 541"/>
                <a:gd name="T5" fmla="*/ 4 h 429"/>
                <a:gd name="T6" fmla="*/ 519 w 541"/>
                <a:gd name="T7" fmla="*/ 12 h 429"/>
                <a:gd name="T8" fmla="*/ 529 w 541"/>
                <a:gd name="T9" fmla="*/ 24 h 429"/>
                <a:gd name="T10" fmla="*/ 538 w 541"/>
                <a:gd name="T11" fmla="*/ 37 h 429"/>
                <a:gd name="T12" fmla="*/ 541 w 541"/>
                <a:gd name="T13" fmla="*/ 52 h 429"/>
                <a:gd name="T14" fmla="*/ 541 w 541"/>
                <a:gd name="T15" fmla="*/ 67 h 429"/>
                <a:gd name="T16" fmla="*/ 537 w 541"/>
                <a:gd name="T17" fmla="*/ 82 h 429"/>
                <a:gd name="T18" fmla="*/ 528 w 541"/>
                <a:gd name="T19" fmla="*/ 94 h 429"/>
                <a:gd name="T20" fmla="*/ 517 w 541"/>
                <a:gd name="T21" fmla="*/ 105 h 429"/>
                <a:gd name="T22" fmla="*/ 93 w 541"/>
                <a:gd name="T23" fmla="*/ 418 h 429"/>
                <a:gd name="T24" fmla="*/ 83 w 541"/>
                <a:gd name="T25" fmla="*/ 424 h 429"/>
                <a:gd name="T26" fmla="*/ 71 w 541"/>
                <a:gd name="T27" fmla="*/ 428 h 429"/>
                <a:gd name="T28" fmla="*/ 59 w 541"/>
                <a:gd name="T29" fmla="*/ 429 h 429"/>
                <a:gd name="T30" fmla="*/ 45 w 541"/>
                <a:gd name="T31" fmla="*/ 428 h 429"/>
                <a:gd name="T32" fmla="*/ 33 w 541"/>
                <a:gd name="T33" fmla="*/ 423 h 429"/>
                <a:gd name="T34" fmla="*/ 22 w 541"/>
                <a:gd name="T35" fmla="*/ 416 h 429"/>
                <a:gd name="T36" fmla="*/ 12 w 541"/>
                <a:gd name="T37" fmla="*/ 406 h 429"/>
                <a:gd name="T38" fmla="*/ 4 w 541"/>
                <a:gd name="T39" fmla="*/ 392 h 429"/>
                <a:gd name="T40" fmla="*/ 0 w 541"/>
                <a:gd name="T41" fmla="*/ 377 h 429"/>
                <a:gd name="T42" fmla="*/ 0 w 541"/>
                <a:gd name="T43" fmla="*/ 362 h 429"/>
                <a:gd name="T44" fmla="*/ 4 w 541"/>
                <a:gd name="T45" fmla="*/ 348 h 429"/>
                <a:gd name="T46" fmla="*/ 13 w 541"/>
                <a:gd name="T47" fmla="*/ 335 h 429"/>
                <a:gd name="T48" fmla="*/ 24 w 541"/>
                <a:gd name="T49" fmla="*/ 323 h 429"/>
                <a:gd name="T50" fmla="*/ 448 w 541"/>
                <a:gd name="T51" fmla="*/ 11 h 429"/>
                <a:gd name="T52" fmla="*/ 462 w 541"/>
                <a:gd name="T53" fmla="*/ 3 h 429"/>
                <a:gd name="T54" fmla="*/ 476 w 541"/>
                <a:gd name="T55" fmla="*/ 0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41" h="429">
                  <a:moveTo>
                    <a:pt x="476" y="0"/>
                  </a:moveTo>
                  <a:lnTo>
                    <a:pt x="492" y="0"/>
                  </a:lnTo>
                  <a:lnTo>
                    <a:pt x="506" y="4"/>
                  </a:lnTo>
                  <a:lnTo>
                    <a:pt x="519" y="12"/>
                  </a:lnTo>
                  <a:lnTo>
                    <a:pt x="529" y="24"/>
                  </a:lnTo>
                  <a:lnTo>
                    <a:pt x="538" y="37"/>
                  </a:lnTo>
                  <a:lnTo>
                    <a:pt x="541" y="52"/>
                  </a:lnTo>
                  <a:lnTo>
                    <a:pt x="541" y="67"/>
                  </a:lnTo>
                  <a:lnTo>
                    <a:pt x="537" y="82"/>
                  </a:lnTo>
                  <a:lnTo>
                    <a:pt x="528" y="94"/>
                  </a:lnTo>
                  <a:lnTo>
                    <a:pt x="517" y="105"/>
                  </a:lnTo>
                  <a:lnTo>
                    <a:pt x="93" y="418"/>
                  </a:lnTo>
                  <a:lnTo>
                    <a:pt x="83" y="424"/>
                  </a:lnTo>
                  <a:lnTo>
                    <a:pt x="71" y="428"/>
                  </a:lnTo>
                  <a:lnTo>
                    <a:pt x="59" y="429"/>
                  </a:lnTo>
                  <a:lnTo>
                    <a:pt x="45" y="428"/>
                  </a:lnTo>
                  <a:lnTo>
                    <a:pt x="33" y="423"/>
                  </a:lnTo>
                  <a:lnTo>
                    <a:pt x="22" y="416"/>
                  </a:lnTo>
                  <a:lnTo>
                    <a:pt x="12" y="406"/>
                  </a:lnTo>
                  <a:lnTo>
                    <a:pt x="4" y="392"/>
                  </a:lnTo>
                  <a:lnTo>
                    <a:pt x="0" y="377"/>
                  </a:lnTo>
                  <a:lnTo>
                    <a:pt x="0" y="362"/>
                  </a:lnTo>
                  <a:lnTo>
                    <a:pt x="4" y="348"/>
                  </a:lnTo>
                  <a:lnTo>
                    <a:pt x="13" y="335"/>
                  </a:lnTo>
                  <a:lnTo>
                    <a:pt x="24" y="323"/>
                  </a:lnTo>
                  <a:lnTo>
                    <a:pt x="448" y="11"/>
                  </a:lnTo>
                  <a:lnTo>
                    <a:pt x="462" y="3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2" name="任意多边形: 形状 111"/>
            <p:cNvSpPr/>
            <p:nvPr/>
          </p:nvSpPr>
          <p:spPr bwMode="auto">
            <a:xfrm rot="10800000">
              <a:off x="5287534" y="3671285"/>
              <a:ext cx="289321" cy="232157"/>
            </a:xfrm>
            <a:custGeom>
              <a:avLst/>
              <a:gdLst>
                <a:gd name="T0" fmla="*/ 431 w 495"/>
                <a:gd name="T1" fmla="*/ 0 h 398"/>
                <a:gd name="T2" fmla="*/ 446 w 495"/>
                <a:gd name="T3" fmla="*/ 1 h 398"/>
                <a:gd name="T4" fmla="*/ 460 w 495"/>
                <a:gd name="T5" fmla="*/ 5 h 398"/>
                <a:gd name="T6" fmla="*/ 474 w 495"/>
                <a:gd name="T7" fmla="*/ 12 h 398"/>
                <a:gd name="T8" fmla="*/ 484 w 495"/>
                <a:gd name="T9" fmla="*/ 23 h 398"/>
                <a:gd name="T10" fmla="*/ 492 w 495"/>
                <a:gd name="T11" fmla="*/ 38 h 398"/>
                <a:gd name="T12" fmla="*/ 495 w 495"/>
                <a:gd name="T13" fmla="*/ 52 h 398"/>
                <a:gd name="T14" fmla="*/ 495 w 495"/>
                <a:gd name="T15" fmla="*/ 67 h 398"/>
                <a:gd name="T16" fmla="*/ 491 w 495"/>
                <a:gd name="T17" fmla="*/ 81 h 398"/>
                <a:gd name="T18" fmla="*/ 483 w 495"/>
                <a:gd name="T19" fmla="*/ 95 h 398"/>
                <a:gd name="T20" fmla="*/ 472 w 495"/>
                <a:gd name="T21" fmla="*/ 106 h 398"/>
                <a:gd name="T22" fmla="*/ 92 w 495"/>
                <a:gd name="T23" fmla="*/ 385 h 398"/>
                <a:gd name="T24" fmla="*/ 81 w 495"/>
                <a:gd name="T25" fmla="*/ 391 h 398"/>
                <a:gd name="T26" fmla="*/ 70 w 495"/>
                <a:gd name="T27" fmla="*/ 395 h 398"/>
                <a:gd name="T28" fmla="*/ 58 w 495"/>
                <a:gd name="T29" fmla="*/ 398 h 398"/>
                <a:gd name="T30" fmla="*/ 44 w 495"/>
                <a:gd name="T31" fmla="*/ 395 h 398"/>
                <a:gd name="T32" fmla="*/ 31 w 495"/>
                <a:gd name="T33" fmla="*/ 390 h 398"/>
                <a:gd name="T34" fmla="*/ 20 w 495"/>
                <a:gd name="T35" fmla="*/ 383 h 398"/>
                <a:gd name="T36" fmla="*/ 11 w 495"/>
                <a:gd name="T37" fmla="*/ 373 h 398"/>
                <a:gd name="T38" fmla="*/ 3 w 495"/>
                <a:gd name="T39" fmla="*/ 359 h 398"/>
                <a:gd name="T40" fmla="*/ 0 w 495"/>
                <a:gd name="T41" fmla="*/ 345 h 398"/>
                <a:gd name="T42" fmla="*/ 0 w 495"/>
                <a:gd name="T43" fmla="*/ 329 h 398"/>
                <a:gd name="T44" fmla="*/ 4 w 495"/>
                <a:gd name="T45" fmla="*/ 315 h 398"/>
                <a:gd name="T46" fmla="*/ 12 w 495"/>
                <a:gd name="T47" fmla="*/ 302 h 398"/>
                <a:gd name="T48" fmla="*/ 23 w 495"/>
                <a:gd name="T49" fmla="*/ 291 h 398"/>
                <a:gd name="T50" fmla="*/ 402 w 495"/>
                <a:gd name="T51" fmla="*/ 11 h 398"/>
                <a:gd name="T52" fmla="*/ 417 w 495"/>
                <a:gd name="T53" fmla="*/ 4 h 398"/>
                <a:gd name="T54" fmla="*/ 431 w 495"/>
                <a:gd name="T55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95" h="398">
                  <a:moveTo>
                    <a:pt x="431" y="0"/>
                  </a:moveTo>
                  <a:lnTo>
                    <a:pt x="446" y="1"/>
                  </a:lnTo>
                  <a:lnTo>
                    <a:pt x="460" y="5"/>
                  </a:lnTo>
                  <a:lnTo>
                    <a:pt x="474" y="12"/>
                  </a:lnTo>
                  <a:lnTo>
                    <a:pt x="484" y="23"/>
                  </a:lnTo>
                  <a:lnTo>
                    <a:pt x="492" y="38"/>
                  </a:lnTo>
                  <a:lnTo>
                    <a:pt x="495" y="52"/>
                  </a:lnTo>
                  <a:lnTo>
                    <a:pt x="495" y="67"/>
                  </a:lnTo>
                  <a:lnTo>
                    <a:pt x="491" y="81"/>
                  </a:lnTo>
                  <a:lnTo>
                    <a:pt x="483" y="95"/>
                  </a:lnTo>
                  <a:lnTo>
                    <a:pt x="472" y="106"/>
                  </a:lnTo>
                  <a:lnTo>
                    <a:pt x="92" y="385"/>
                  </a:lnTo>
                  <a:lnTo>
                    <a:pt x="81" y="391"/>
                  </a:lnTo>
                  <a:lnTo>
                    <a:pt x="70" y="395"/>
                  </a:lnTo>
                  <a:lnTo>
                    <a:pt x="58" y="398"/>
                  </a:lnTo>
                  <a:lnTo>
                    <a:pt x="44" y="395"/>
                  </a:lnTo>
                  <a:lnTo>
                    <a:pt x="31" y="390"/>
                  </a:lnTo>
                  <a:lnTo>
                    <a:pt x="20" y="383"/>
                  </a:lnTo>
                  <a:lnTo>
                    <a:pt x="11" y="373"/>
                  </a:lnTo>
                  <a:lnTo>
                    <a:pt x="3" y="359"/>
                  </a:lnTo>
                  <a:lnTo>
                    <a:pt x="0" y="345"/>
                  </a:lnTo>
                  <a:lnTo>
                    <a:pt x="0" y="329"/>
                  </a:lnTo>
                  <a:lnTo>
                    <a:pt x="4" y="315"/>
                  </a:lnTo>
                  <a:lnTo>
                    <a:pt x="12" y="302"/>
                  </a:lnTo>
                  <a:lnTo>
                    <a:pt x="23" y="291"/>
                  </a:lnTo>
                  <a:lnTo>
                    <a:pt x="402" y="11"/>
                  </a:lnTo>
                  <a:lnTo>
                    <a:pt x="417" y="4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3" name="任意多边形: 形状 112"/>
            <p:cNvSpPr/>
            <p:nvPr/>
          </p:nvSpPr>
          <p:spPr bwMode="auto">
            <a:xfrm rot="10800000">
              <a:off x="5125375" y="3265302"/>
              <a:ext cx="328986" cy="67664"/>
            </a:xfrm>
            <a:custGeom>
              <a:avLst/>
              <a:gdLst>
                <a:gd name="T0" fmla="*/ 58 w 563"/>
                <a:gd name="T1" fmla="*/ 0 h 117"/>
                <a:gd name="T2" fmla="*/ 505 w 563"/>
                <a:gd name="T3" fmla="*/ 0 h 117"/>
                <a:gd name="T4" fmla="*/ 524 w 563"/>
                <a:gd name="T5" fmla="*/ 3 h 117"/>
                <a:gd name="T6" fmla="*/ 540 w 563"/>
                <a:gd name="T7" fmla="*/ 11 h 117"/>
                <a:gd name="T8" fmla="*/ 552 w 563"/>
                <a:gd name="T9" fmla="*/ 24 h 117"/>
                <a:gd name="T10" fmla="*/ 560 w 563"/>
                <a:gd name="T11" fmla="*/ 39 h 117"/>
                <a:gd name="T12" fmla="*/ 563 w 563"/>
                <a:gd name="T13" fmla="*/ 59 h 117"/>
                <a:gd name="T14" fmla="*/ 560 w 563"/>
                <a:gd name="T15" fmla="*/ 77 h 117"/>
                <a:gd name="T16" fmla="*/ 552 w 563"/>
                <a:gd name="T17" fmla="*/ 92 h 117"/>
                <a:gd name="T18" fmla="*/ 540 w 563"/>
                <a:gd name="T19" fmla="*/ 106 h 117"/>
                <a:gd name="T20" fmla="*/ 524 w 563"/>
                <a:gd name="T21" fmla="*/ 114 h 117"/>
                <a:gd name="T22" fmla="*/ 505 w 563"/>
                <a:gd name="T23" fmla="*/ 117 h 117"/>
                <a:gd name="T24" fmla="*/ 58 w 563"/>
                <a:gd name="T25" fmla="*/ 117 h 117"/>
                <a:gd name="T26" fmla="*/ 39 w 563"/>
                <a:gd name="T27" fmla="*/ 114 h 117"/>
                <a:gd name="T28" fmla="*/ 23 w 563"/>
                <a:gd name="T29" fmla="*/ 106 h 117"/>
                <a:gd name="T30" fmla="*/ 11 w 563"/>
                <a:gd name="T31" fmla="*/ 92 h 117"/>
                <a:gd name="T32" fmla="*/ 3 w 563"/>
                <a:gd name="T33" fmla="*/ 77 h 117"/>
                <a:gd name="T34" fmla="*/ 0 w 563"/>
                <a:gd name="T35" fmla="*/ 59 h 117"/>
                <a:gd name="T36" fmla="*/ 3 w 563"/>
                <a:gd name="T37" fmla="*/ 39 h 117"/>
                <a:gd name="T38" fmla="*/ 11 w 563"/>
                <a:gd name="T39" fmla="*/ 24 h 117"/>
                <a:gd name="T40" fmla="*/ 23 w 563"/>
                <a:gd name="T41" fmla="*/ 11 h 117"/>
                <a:gd name="T42" fmla="*/ 39 w 563"/>
                <a:gd name="T43" fmla="*/ 3 h 117"/>
                <a:gd name="T44" fmla="*/ 58 w 563"/>
                <a:gd name="T4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63" h="117">
                  <a:moveTo>
                    <a:pt x="58" y="0"/>
                  </a:moveTo>
                  <a:lnTo>
                    <a:pt x="505" y="0"/>
                  </a:lnTo>
                  <a:lnTo>
                    <a:pt x="524" y="3"/>
                  </a:lnTo>
                  <a:lnTo>
                    <a:pt x="540" y="11"/>
                  </a:lnTo>
                  <a:lnTo>
                    <a:pt x="552" y="24"/>
                  </a:lnTo>
                  <a:lnTo>
                    <a:pt x="560" y="39"/>
                  </a:lnTo>
                  <a:lnTo>
                    <a:pt x="563" y="59"/>
                  </a:lnTo>
                  <a:lnTo>
                    <a:pt x="560" y="77"/>
                  </a:lnTo>
                  <a:lnTo>
                    <a:pt x="552" y="92"/>
                  </a:lnTo>
                  <a:lnTo>
                    <a:pt x="540" y="106"/>
                  </a:lnTo>
                  <a:lnTo>
                    <a:pt x="524" y="114"/>
                  </a:lnTo>
                  <a:lnTo>
                    <a:pt x="505" y="117"/>
                  </a:lnTo>
                  <a:lnTo>
                    <a:pt x="58" y="117"/>
                  </a:lnTo>
                  <a:lnTo>
                    <a:pt x="39" y="114"/>
                  </a:lnTo>
                  <a:lnTo>
                    <a:pt x="23" y="106"/>
                  </a:lnTo>
                  <a:lnTo>
                    <a:pt x="11" y="92"/>
                  </a:lnTo>
                  <a:lnTo>
                    <a:pt x="3" y="77"/>
                  </a:lnTo>
                  <a:lnTo>
                    <a:pt x="0" y="59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3" y="11"/>
                  </a:lnTo>
                  <a:lnTo>
                    <a:pt x="39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4" name="任意多边形: 形状 113"/>
            <p:cNvSpPr/>
            <p:nvPr/>
          </p:nvSpPr>
          <p:spPr bwMode="auto">
            <a:xfrm rot="10800000">
              <a:off x="6728306" y="3265302"/>
              <a:ext cx="338319" cy="67664"/>
            </a:xfrm>
            <a:custGeom>
              <a:avLst/>
              <a:gdLst>
                <a:gd name="T0" fmla="*/ 58 w 579"/>
                <a:gd name="T1" fmla="*/ 0 h 117"/>
                <a:gd name="T2" fmla="*/ 520 w 579"/>
                <a:gd name="T3" fmla="*/ 0 h 117"/>
                <a:gd name="T4" fmla="*/ 539 w 579"/>
                <a:gd name="T5" fmla="*/ 3 h 117"/>
                <a:gd name="T6" fmla="*/ 555 w 579"/>
                <a:gd name="T7" fmla="*/ 11 h 117"/>
                <a:gd name="T8" fmla="*/ 568 w 579"/>
                <a:gd name="T9" fmla="*/ 24 h 117"/>
                <a:gd name="T10" fmla="*/ 576 w 579"/>
                <a:gd name="T11" fmla="*/ 39 h 117"/>
                <a:gd name="T12" fmla="*/ 579 w 579"/>
                <a:gd name="T13" fmla="*/ 59 h 117"/>
                <a:gd name="T14" fmla="*/ 576 w 579"/>
                <a:gd name="T15" fmla="*/ 77 h 117"/>
                <a:gd name="T16" fmla="*/ 568 w 579"/>
                <a:gd name="T17" fmla="*/ 92 h 117"/>
                <a:gd name="T18" fmla="*/ 555 w 579"/>
                <a:gd name="T19" fmla="*/ 106 h 117"/>
                <a:gd name="T20" fmla="*/ 538 w 579"/>
                <a:gd name="T21" fmla="*/ 114 h 117"/>
                <a:gd name="T22" fmla="*/ 520 w 579"/>
                <a:gd name="T23" fmla="*/ 117 h 117"/>
                <a:gd name="T24" fmla="*/ 58 w 579"/>
                <a:gd name="T25" fmla="*/ 117 h 117"/>
                <a:gd name="T26" fmla="*/ 40 w 579"/>
                <a:gd name="T27" fmla="*/ 114 h 117"/>
                <a:gd name="T28" fmla="*/ 24 w 579"/>
                <a:gd name="T29" fmla="*/ 106 h 117"/>
                <a:gd name="T30" fmla="*/ 11 w 579"/>
                <a:gd name="T31" fmla="*/ 92 h 117"/>
                <a:gd name="T32" fmla="*/ 3 w 579"/>
                <a:gd name="T33" fmla="*/ 77 h 117"/>
                <a:gd name="T34" fmla="*/ 0 w 579"/>
                <a:gd name="T35" fmla="*/ 59 h 117"/>
                <a:gd name="T36" fmla="*/ 0 w 579"/>
                <a:gd name="T37" fmla="*/ 58 h 117"/>
                <a:gd name="T38" fmla="*/ 3 w 579"/>
                <a:gd name="T39" fmla="*/ 39 h 117"/>
                <a:gd name="T40" fmla="*/ 11 w 579"/>
                <a:gd name="T41" fmla="*/ 24 h 117"/>
                <a:gd name="T42" fmla="*/ 24 w 579"/>
                <a:gd name="T43" fmla="*/ 11 h 117"/>
                <a:gd name="T44" fmla="*/ 40 w 579"/>
                <a:gd name="T45" fmla="*/ 3 h 117"/>
                <a:gd name="T46" fmla="*/ 58 w 579"/>
                <a:gd name="T47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79" h="117">
                  <a:moveTo>
                    <a:pt x="58" y="0"/>
                  </a:moveTo>
                  <a:lnTo>
                    <a:pt x="520" y="0"/>
                  </a:lnTo>
                  <a:lnTo>
                    <a:pt x="539" y="3"/>
                  </a:lnTo>
                  <a:lnTo>
                    <a:pt x="555" y="11"/>
                  </a:lnTo>
                  <a:lnTo>
                    <a:pt x="568" y="24"/>
                  </a:lnTo>
                  <a:lnTo>
                    <a:pt x="576" y="39"/>
                  </a:lnTo>
                  <a:lnTo>
                    <a:pt x="579" y="59"/>
                  </a:lnTo>
                  <a:lnTo>
                    <a:pt x="576" y="77"/>
                  </a:lnTo>
                  <a:lnTo>
                    <a:pt x="568" y="92"/>
                  </a:lnTo>
                  <a:lnTo>
                    <a:pt x="555" y="106"/>
                  </a:lnTo>
                  <a:lnTo>
                    <a:pt x="538" y="114"/>
                  </a:lnTo>
                  <a:lnTo>
                    <a:pt x="520" y="117"/>
                  </a:lnTo>
                  <a:lnTo>
                    <a:pt x="58" y="117"/>
                  </a:lnTo>
                  <a:lnTo>
                    <a:pt x="40" y="114"/>
                  </a:lnTo>
                  <a:lnTo>
                    <a:pt x="24" y="106"/>
                  </a:lnTo>
                  <a:lnTo>
                    <a:pt x="11" y="92"/>
                  </a:lnTo>
                  <a:lnTo>
                    <a:pt x="3" y="77"/>
                  </a:lnTo>
                  <a:lnTo>
                    <a:pt x="0" y="59"/>
                  </a:lnTo>
                  <a:lnTo>
                    <a:pt x="0" y="58"/>
                  </a:lnTo>
                  <a:lnTo>
                    <a:pt x="3" y="39"/>
                  </a:lnTo>
                  <a:lnTo>
                    <a:pt x="11" y="24"/>
                  </a:lnTo>
                  <a:lnTo>
                    <a:pt x="24" y="11"/>
                  </a:lnTo>
                  <a:lnTo>
                    <a:pt x="40" y="3"/>
                  </a:lnTo>
                  <a:lnTo>
                    <a:pt x="58" y="0"/>
                  </a:lnTo>
                  <a:close/>
                </a:path>
              </a:pathLst>
            </a:custGeom>
            <a:solidFill>
              <a:srgbClr val="F8D35E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tx1"/>
                  </a:solidFill>
                </a:defRPr>
              </a:lvl9pPr>
            </a:lstStyle>
            <a:p>
              <a:endParaRPr lang="en-GB" dirty="0">
                <a:cs typeface="+mn-ea"/>
                <a:sym typeface="+mn-lt"/>
              </a:endParaRPr>
            </a:p>
          </p:txBody>
        </p:sp>
        <p:sp>
          <p:nvSpPr>
            <p:cNvPr id="115" name="矩形: 圆角 114"/>
            <p:cNvSpPr/>
            <p:nvPr/>
          </p:nvSpPr>
          <p:spPr>
            <a:xfrm rot="10800000">
              <a:off x="6068585" y="3938457"/>
              <a:ext cx="63301" cy="345354"/>
            </a:xfrm>
            <a:prstGeom prst="roundRect">
              <a:avLst>
                <a:gd name="adj" fmla="val 50000"/>
              </a:avLst>
            </a:prstGeom>
            <a:solidFill>
              <a:srgbClr val="F8D35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1pPr>
              <a:lvl2pPr marL="6858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2pPr>
              <a:lvl3pPr marL="13716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3pPr>
              <a:lvl4pPr marL="20574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4pPr>
              <a:lvl5pPr marL="27432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5pPr>
              <a:lvl6pPr marL="34290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6pPr>
              <a:lvl7pPr marL="41148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7pPr>
              <a:lvl8pPr marL="48006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8pPr>
              <a:lvl9pPr marL="5486400" algn="l" defTabSz="1371600" rtl="0" eaLnBrk="1" latinLnBrk="0" hangingPunct="1">
                <a:defRPr sz="27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en-GB" dirty="0">
                <a:cs typeface="+mn-ea"/>
                <a:sym typeface="+mn-lt"/>
              </a:endParaRPr>
            </a:p>
          </p:txBody>
        </p:sp>
        <p:cxnSp>
          <p:nvCxnSpPr>
            <p:cNvPr id="116" name="直接连接符 115"/>
            <p:cNvCxnSpPr>
              <a:cxnSpLocks/>
            </p:cNvCxnSpPr>
            <p:nvPr/>
          </p:nvCxnSpPr>
          <p:spPr>
            <a:xfrm flipV="1">
              <a:off x="6088417" y="0"/>
              <a:ext cx="0" cy="2139518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 w="57150">
              <a:solidFill>
                <a:schemeClr val="bg1">
                  <a:lumMod val="75000"/>
                </a:schemeClr>
              </a:solidFill>
            </a:ln>
            <a:effectLst/>
          </p:spPr>
        </p:cxnSp>
      </p:grpSp>
      <p:sp>
        <p:nvSpPr>
          <p:cNvPr id="103" name="文本框 102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1268424" y="1655368"/>
            <a:ext cx="307086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04" name="矩形 103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>
            <a:off x="1268424" y="2073129"/>
            <a:ext cx="307086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78" name="椭圆 77"/>
          <p:cNvSpPr/>
          <p:nvPr/>
        </p:nvSpPr>
        <p:spPr>
          <a:xfrm>
            <a:off x="673100" y="3378876"/>
            <a:ext cx="518400" cy="51934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01" name="文本框 100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1268424" y="3161148"/>
            <a:ext cx="307086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02" name="矩形 101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>
            <a:off x="1268424" y="3578909"/>
            <a:ext cx="307086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80" name="椭圆 79"/>
          <p:cNvSpPr/>
          <p:nvPr/>
        </p:nvSpPr>
        <p:spPr>
          <a:xfrm>
            <a:off x="673100" y="4884657"/>
            <a:ext cx="518400" cy="51934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9" name="文本框 98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>
            <a:off x="1268424" y="4666929"/>
            <a:ext cx="307086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100" name="矩形 99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>
            <a:off x="1268424" y="5084690"/>
            <a:ext cx="307086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82" name="椭圆 81"/>
          <p:cNvSpPr/>
          <p:nvPr/>
        </p:nvSpPr>
        <p:spPr>
          <a:xfrm flipH="1">
            <a:off x="11000500" y="1873096"/>
            <a:ext cx="518400" cy="5193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7" name="文本框 96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 flipH="1">
            <a:off x="8073686" y="1655368"/>
            <a:ext cx="292681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8" name="矩形 97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 flipH="1">
            <a:off x="8073686" y="2073129"/>
            <a:ext cx="292681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84" name="椭圆 83"/>
          <p:cNvSpPr/>
          <p:nvPr/>
        </p:nvSpPr>
        <p:spPr>
          <a:xfrm flipH="1">
            <a:off x="11000500" y="3378876"/>
            <a:ext cx="518400" cy="5193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5" name="文本框 94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 flipH="1">
            <a:off x="8073686" y="3161148"/>
            <a:ext cx="292681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6" name="矩形 95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 flipH="1">
            <a:off x="8073686" y="3578909"/>
            <a:ext cx="292681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86" name="椭圆 85"/>
          <p:cNvSpPr/>
          <p:nvPr/>
        </p:nvSpPr>
        <p:spPr>
          <a:xfrm flipH="1">
            <a:off x="11000500" y="4884657"/>
            <a:ext cx="518400" cy="51934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93" name="文本框 92">
            <a:extLst>
              <a:ext uri="{FF2B5EF4-FFF2-40B4-BE49-F238E27FC236}">
                <a16:creationId xmlns:a16="http://schemas.microsoft.com/office/drawing/2014/main" id="{E4E3EAFC-D4D9-4B62-A60F-220C199D46C7}"/>
              </a:ext>
            </a:extLst>
          </p:cNvPr>
          <p:cNvSpPr txBox="1"/>
          <p:nvPr/>
        </p:nvSpPr>
        <p:spPr bwMode="auto">
          <a:xfrm flipH="1">
            <a:off x="8073686" y="4666929"/>
            <a:ext cx="2926814" cy="417762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ctr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</a:pPr>
            <a:r>
              <a:rPr lang="en-US" altLang="zh-CN" sz="2000" b="1" dirty="0">
                <a:cs typeface="+mn-ea"/>
                <a:sym typeface="+mn-lt"/>
              </a:rPr>
              <a:t>Text here</a:t>
            </a:r>
          </a:p>
        </p:txBody>
      </p:sp>
      <p:sp>
        <p:nvSpPr>
          <p:cNvPr id="94" name="矩形 93">
            <a:extLst>
              <a:ext uri="{FF2B5EF4-FFF2-40B4-BE49-F238E27FC236}">
                <a16:creationId xmlns:a16="http://schemas.microsoft.com/office/drawing/2014/main" id="{5F048FD8-1250-40A5-95C2-4290C32466C0}"/>
              </a:ext>
            </a:extLst>
          </p:cNvPr>
          <p:cNvSpPr/>
          <p:nvPr/>
        </p:nvSpPr>
        <p:spPr bwMode="auto">
          <a:xfrm flipH="1">
            <a:off x="8073686" y="5084690"/>
            <a:ext cx="2926814" cy="5370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r">
              <a:lnSpc>
                <a:spcPct val="120000"/>
              </a:lnSpc>
            </a:pPr>
            <a:r>
              <a:rPr lang="en-US" altLang="zh-CN" sz="11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52" name="任意多边形: 形状 51">
            <a:extLst>
              <a:ext uri="{FF2B5EF4-FFF2-40B4-BE49-F238E27FC236}">
                <a16:creationId xmlns:a16="http://schemas.microsoft.com/office/drawing/2014/main" id="{F98E2F83-358C-4CAB-9C6D-F3A019529D21}"/>
              </a:ext>
            </a:extLst>
          </p:cNvPr>
          <p:cNvSpPr/>
          <p:nvPr/>
        </p:nvSpPr>
        <p:spPr bwMode="auto">
          <a:xfrm>
            <a:off x="11131119" y="5006454"/>
            <a:ext cx="257162" cy="275752"/>
          </a:xfrm>
          <a:custGeom>
            <a:avLst/>
            <a:gdLst>
              <a:gd name="T0" fmla="*/ 156 w 208"/>
              <a:gd name="T1" fmla="*/ 0 h 220"/>
              <a:gd name="T2" fmla="*/ 156 w 208"/>
              <a:gd name="T3" fmla="*/ 8 h 220"/>
              <a:gd name="T4" fmla="*/ 140 w 208"/>
              <a:gd name="T5" fmla="*/ 8 h 220"/>
              <a:gd name="T6" fmla="*/ 140 w 208"/>
              <a:gd name="T7" fmla="*/ 60 h 220"/>
              <a:gd name="T8" fmla="*/ 208 w 208"/>
              <a:gd name="T9" fmla="*/ 204 h 220"/>
              <a:gd name="T10" fmla="*/ 202 w 208"/>
              <a:gd name="T11" fmla="*/ 220 h 220"/>
              <a:gd name="T12" fmla="*/ 6 w 208"/>
              <a:gd name="T13" fmla="*/ 220 h 220"/>
              <a:gd name="T14" fmla="*/ 0 w 208"/>
              <a:gd name="T15" fmla="*/ 204 h 220"/>
              <a:gd name="T16" fmla="*/ 68 w 208"/>
              <a:gd name="T17" fmla="*/ 60 h 220"/>
              <a:gd name="T18" fmla="*/ 68 w 208"/>
              <a:gd name="T19" fmla="*/ 8 h 220"/>
              <a:gd name="T20" fmla="*/ 52 w 208"/>
              <a:gd name="T21" fmla="*/ 8 h 220"/>
              <a:gd name="T22" fmla="*/ 52 w 208"/>
              <a:gd name="T23" fmla="*/ 0 h 220"/>
              <a:gd name="T24" fmla="*/ 156 w 208"/>
              <a:gd name="T25" fmla="*/ 0 h 220"/>
              <a:gd name="T26" fmla="*/ 109 w 208"/>
              <a:gd name="T27" fmla="*/ 170 h 220"/>
              <a:gd name="T28" fmla="*/ 107 w 208"/>
              <a:gd name="T29" fmla="*/ 170 h 220"/>
              <a:gd name="T30" fmla="*/ 105 w 208"/>
              <a:gd name="T31" fmla="*/ 172 h 220"/>
              <a:gd name="T32" fmla="*/ 25 w 208"/>
              <a:gd name="T33" fmla="*/ 175 h 220"/>
              <a:gd name="T34" fmla="*/ 23 w 208"/>
              <a:gd name="T35" fmla="*/ 174 h 220"/>
              <a:gd name="T36" fmla="*/ 9 w 208"/>
              <a:gd name="T37" fmla="*/ 204 h 220"/>
              <a:gd name="T38" fmla="*/ 12 w 208"/>
              <a:gd name="T39" fmla="*/ 212 h 220"/>
              <a:gd name="T40" fmla="*/ 196 w 208"/>
              <a:gd name="T41" fmla="*/ 212 h 220"/>
              <a:gd name="T42" fmla="*/ 199 w 208"/>
              <a:gd name="T43" fmla="*/ 204 h 220"/>
              <a:gd name="T44" fmla="*/ 180 w 208"/>
              <a:gd name="T45" fmla="*/ 163 h 220"/>
              <a:gd name="T46" fmla="*/ 109 w 208"/>
              <a:gd name="T47" fmla="*/ 170 h 220"/>
              <a:gd name="T48" fmla="*/ 130 w 208"/>
              <a:gd name="T49" fmla="*/ 108 h 220"/>
              <a:gd name="T50" fmla="*/ 116 w 208"/>
              <a:gd name="T51" fmla="*/ 122 h 220"/>
              <a:gd name="T52" fmla="*/ 130 w 208"/>
              <a:gd name="T53" fmla="*/ 136 h 220"/>
              <a:gd name="T54" fmla="*/ 144 w 208"/>
              <a:gd name="T55" fmla="*/ 122 h 220"/>
              <a:gd name="T56" fmla="*/ 130 w 208"/>
              <a:gd name="T57" fmla="*/ 108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08" h="220">
                <a:moveTo>
                  <a:pt x="156" y="0"/>
                </a:moveTo>
                <a:cubicBezTo>
                  <a:pt x="156" y="8"/>
                  <a:pt x="156" y="8"/>
                  <a:pt x="156" y="8"/>
                </a:cubicBezTo>
                <a:cubicBezTo>
                  <a:pt x="140" y="8"/>
                  <a:pt x="140" y="8"/>
                  <a:pt x="140" y="8"/>
                </a:cubicBezTo>
                <a:cubicBezTo>
                  <a:pt x="140" y="60"/>
                  <a:pt x="140" y="60"/>
                  <a:pt x="140" y="60"/>
                </a:cubicBezTo>
                <a:cubicBezTo>
                  <a:pt x="208" y="204"/>
                  <a:pt x="208" y="204"/>
                  <a:pt x="208" y="204"/>
                </a:cubicBezTo>
                <a:cubicBezTo>
                  <a:pt x="202" y="220"/>
                  <a:pt x="202" y="220"/>
                  <a:pt x="202" y="220"/>
                </a:cubicBezTo>
                <a:cubicBezTo>
                  <a:pt x="6" y="220"/>
                  <a:pt x="6" y="220"/>
                  <a:pt x="6" y="220"/>
                </a:cubicBezTo>
                <a:cubicBezTo>
                  <a:pt x="0" y="204"/>
                  <a:pt x="0" y="204"/>
                  <a:pt x="0" y="204"/>
                </a:cubicBezTo>
                <a:cubicBezTo>
                  <a:pt x="68" y="60"/>
                  <a:pt x="68" y="60"/>
                  <a:pt x="68" y="60"/>
                </a:cubicBezTo>
                <a:cubicBezTo>
                  <a:pt x="68" y="8"/>
                  <a:pt x="68" y="8"/>
                  <a:pt x="68" y="8"/>
                </a:cubicBezTo>
                <a:cubicBezTo>
                  <a:pt x="52" y="8"/>
                  <a:pt x="52" y="8"/>
                  <a:pt x="52" y="8"/>
                </a:cubicBezTo>
                <a:cubicBezTo>
                  <a:pt x="52" y="0"/>
                  <a:pt x="52" y="0"/>
                  <a:pt x="52" y="0"/>
                </a:cubicBezTo>
                <a:lnTo>
                  <a:pt x="156" y="0"/>
                </a:lnTo>
                <a:close/>
                <a:moveTo>
                  <a:pt x="109" y="170"/>
                </a:moveTo>
                <a:cubicBezTo>
                  <a:pt x="107" y="170"/>
                  <a:pt x="107" y="170"/>
                  <a:pt x="107" y="170"/>
                </a:cubicBezTo>
                <a:cubicBezTo>
                  <a:pt x="105" y="172"/>
                  <a:pt x="105" y="172"/>
                  <a:pt x="105" y="172"/>
                </a:cubicBezTo>
                <a:cubicBezTo>
                  <a:pt x="85" y="185"/>
                  <a:pt x="52" y="186"/>
                  <a:pt x="25" y="175"/>
                </a:cubicBezTo>
                <a:cubicBezTo>
                  <a:pt x="23" y="174"/>
                  <a:pt x="23" y="174"/>
                  <a:pt x="23" y="174"/>
                </a:cubicBezTo>
                <a:cubicBezTo>
                  <a:pt x="9" y="204"/>
                  <a:pt x="9" y="204"/>
                  <a:pt x="9" y="204"/>
                </a:cubicBezTo>
                <a:cubicBezTo>
                  <a:pt x="12" y="212"/>
                  <a:pt x="12" y="212"/>
                  <a:pt x="12" y="212"/>
                </a:cubicBezTo>
                <a:cubicBezTo>
                  <a:pt x="196" y="212"/>
                  <a:pt x="196" y="212"/>
                  <a:pt x="196" y="212"/>
                </a:cubicBezTo>
                <a:cubicBezTo>
                  <a:pt x="199" y="204"/>
                  <a:pt x="199" y="204"/>
                  <a:pt x="199" y="204"/>
                </a:cubicBezTo>
                <a:cubicBezTo>
                  <a:pt x="180" y="163"/>
                  <a:pt x="180" y="163"/>
                  <a:pt x="180" y="163"/>
                </a:cubicBezTo>
                <a:cubicBezTo>
                  <a:pt x="155" y="157"/>
                  <a:pt x="126" y="159"/>
                  <a:pt x="109" y="170"/>
                </a:cubicBezTo>
                <a:close/>
                <a:moveTo>
                  <a:pt x="130" y="108"/>
                </a:moveTo>
                <a:cubicBezTo>
                  <a:pt x="122" y="108"/>
                  <a:pt x="116" y="114"/>
                  <a:pt x="116" y="122"/>
                </a:cubicBezTo>
                <a:cubicBezTo>
                  <a:pt x="116" y="130"/>
                  <a:pt x="122" y="136"/>
                  <a:pt x="130" y="136"/>
                </a:cubicBezTo>
                <a:cubicBezTo>
                  <a:pt x="138" y="136"/>
                  <a:pt x="144" y="130"/>
                  <a:pt x="144" y="122"/>
                </a:cubicBezTo>
                <a:cubicBezTo>
                  <a:pt x="144" y="114"/>
                  <a:pt x="138" y="108"/>
                  <a:pt x="130" y="1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9428E7EB-3498-4F76-80C2-A665CAF4977E}"/>
              </a:ext>
            </a:extLst>
          </p:cNvPr>
          <p:cNvSpPr/>
          <p:nvPr/>
        </p:nvSpPr>
        <p:spPr bwMode="auto">
          <a:xfrm>
            <a:off x="11134506" y="1978091"/>
            <a:ext cx="250390" cy="309356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cs typeface="+mn-ea"/>
              <a:sym typeface="+mn-lt"/>
            </a:endParaRPr>
          </a:p>
        </p:txBody>
      </p:sp>
      <p:sp>
        <p:nvSpPr>
          <p:cNvPr id="53" name="任意多边形: 形状 52">
            <a:extLst>
              <a:ext uri="{FF2B5EF4-FFF2-40B4-BE49-F238E27FC236}">
                <a16:creationId xmlns:a16="http://schemas.microsoft.com/office/drawing/2014/main" id="{963C238D-A50D-4E6D-A704-23200C047436}"/>
              </a:ext>
            </a:extLst>
          </p:cNvPr>
          <p:cNvSpPr/>
          <p:nvPr/>
        </p:nvSpPr>
        <p:spPr bwMode="auto">
          <a:xfrm>
            <a:off x="830806" y="5005025"/>
            <a:ext cx="202987" cy="278610"/>
          </a:xfrm>
          <a:custGeom>
            <a:avLst/>
            <a:gdLst>
              <a:gd name="T0" fmla="*/ 57 w 255"/>
              <a:gd name="T1" fmla="*/ 26 h 350"/>
              <a:gd name="T2" fmla="*/ 57 w 255"/>
              <a:gd name="T3" fmla="*/ 65 h 350"/>
              <a:gd name="T4" fmla="*/ 198 w 255"/>
              <a:gd name="T5" fmla="*/ 65 h 350"/>
              <a:gd name="T6" fmla="*/ 198 w 255"/>
              <a:gd name="T7" fmla="*/ 26 h 350"/>
              <a:gd name="T8" fmla="*/ 255 w 255"/>
              <a:gd name="T9" fmla="*/ 26 h 350"/>
              <a:gd name="T10" fmla="*/ 255 w 255"/>
              <a:gd name="T11" fmla="*/ 350 h 350"/>
              <a:gd name="T12" fmla="*/ 0 w 255"/>
              <a:gd name="T13" fmla="*/ 350 h 350"/>
              <a:gd name="T14" fmla="*/ 0 w 255"/>
              <a:gd name="T15" fmla="*/ 26 h 350"/>
              <a:gd name="T16" fmla="*/ 57 w 255"/>
              <a:gd name="T17" fmla="*/ 26 h 350"/>
              <a:gd name="T18" fmla="*/ 128 w 255"/>
              <a:gd name="T19" fmla="*/ 227 h 350"/>
              <a:gd name="T20" fmla="*/ 51 w 255"/>
              <a:gd name="T21" fmla="*/ 227 h 350"/>
              <a:gd name="T22" fmla="*/ 51 w 255"/>
              <a:gd name="T23" fmla="*/ 240 h 350"/>
              <a:gd name="T24" fmla="*/ 128 w 255"/>
              <a:gd name="T25" fmla="*/ 240 h 350"/>
              <a:gd name="T26" fmla="*/ 128 w 255"/>
              <a:gd name="T27" fmla="*/ 227 h 350"/>
              <a:gd name="T28" fmla="*/ 204 w 255"/>
              <a:gd name="T29" fmla="*/ 175 h 350"/>
              <a:gd name="T30" fmla="*/ 51 w 255"/>
              <a:gd name="T31" fmla="*/ 175 h 350"/>
              <a:gd name="T32" fmla="*/ 51 w 255"/>
              <a:gd name="T33" fmla="*/ 188 h 350"/>
              <a:gd name="T34" fmla="*/ 204 w 255"/>
              <a:gd name="T35" fmla="*/ 188 h 350"/>
              <a:gd name="T36" fmla="*/ 204 w 255"/>
              <a:gd name="T37" fmla="*/ 175 h 350"/>
              <a:gd name="T38" fmla="*/ 204 w 255"/>
              <a:gd name="T39" fmla="*/ 123 h 350"/>
              <a:gd name="T40" fmla="*/ 51 w 255"/>
              <a:gd name="T41" fmla="*/ 123 h 350"/>
              <a:gd name="T42" fmla="*/ 51 w 255"/>
              <a:gd name="T43" fmla="*/ 136 h 350"/>
              <a:gd name="T44" fmla="*/ 204 w 255"/>
              <a:gd name="T45" fmla="*/ 136 h 350"/>
              <a:gd name="T46" fmla="*/ 204 w 255"/>
              <a:gd name="T47" fmla="*/ 123 h 350"/>
              <a:gd name="T48" fmla="*/ 185 w 255"/>
              <a:gd name="T49" fmla="*/ 0 h 350"/>
              <a:gd name="T50" fmla="*/ 185 w 255"/>
              <a:gd name="T51" fmla="*/ 52 h 350"/>
              <a:gd name="T52" fmla="*/ 70 w 255"/>
              <a:gd name="T53" fmla="*/ 52 h 350"/>
              <a:gd name="T54" fmla="*/ 70 w 255"/>
              <a:gd name="T55" fmla="*/ 0 h 350"/>
              <a:gd name="T56" fmla="*/ 185 w 255"/>
              <a:gd name="T57" fmla="*/ 0 h 3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55" h="350">
                <a:moveTo>
                  <a:pt x="57" y="26"/>
                </a:moveTo>
                <a:lnTo>
                  <a:pt x="57" y="65"/>
                </a:lnTo>
                <a:lnTo>
                  <a:pt x="198" y="65"/>
                </a:lnTo>
                <a:lnTo>
                  <a:pt x="198" y="26"/>
                </a:lnTo>
                <a:lnTo>
                  <a:pt x="255" y="26"/>
                </a:lnTo>
                <a:lnTo>
                  <a:pt x="255" y="350"/>
                </a:lnTo>
                <a:lnTo>
                  <a:pt x="0" y="350"/>
                </a:lnTo>
                <a:lnTo>
                  <a:pt x="0" y="26"/>
                </a:lnTo>
                <a:lnTo>
                  <a:pt x="57" y="26"/>
                </a:lnTo>
                <a:close/>
                <a:moveTo>
                  <a:pt x="128" y="227"/>
                </a:moveTo>
                <a:lnTo>
                  <a:pt x="51" y="227"/>
                </a:lnTo>
                <a:lnTo>
                  <a:pt x="51" y="240"/>
                </a:lnTo>
                <a:lnTo>
                  <a:pt x="128" y="240"/>
                </a:lnTo>
                <a:lnTo>
                  <a:pt x="128" y="227"/>
                </a:lnTo>
                <a:close/>
                <a:moveTo>
                  <a:pt x="204" y="175"/>
                </a:moveTo>
                <a:lnTo>
                  <a:pt x="51" y="175"/>
                </a:lnTo>
                <a:lnTo>
                  <a:pt x="51" y="188"/>
                </a:lnTo>
                <a:lnTo>
                  <a:pt x="204" y="188"/>
                </a:lnTo>
                <a:lnTo>
                  <a:pt x="204" y="175"/>
                </a:lnTo>
                <a:close/>
                <a:moveTo>
                  <a:pt x="204" y="123"/>
                </a:moveTo>
                <a:lnTo>
                  <a:pt x="51" y="123"/>
                </a:lnTo>
                <a:lnTo>
                  <a:pt x="51" y="136"/>
                </a:lnTo>
                <a:lnTo>
                  <a:pt x="204" y="136"/>
                </a:lnTo>
                <a:lnTo>
                  <a:pt x="204" y="123"/>
                </a:lnTo>
                <a:close/>
                <a:moveTo>
                  <a:pt x="185" y="0"/>
                </a:moveTo>
                <a:lnTo>
                  <a:pt x="185" y="52"/>
                </a:lnTo>
                <a:lnTo>
                  <a:pt x="70" y="52"/>
                </a:lnTo>
                <a:lnTo>
                  <a:pt x="70" y="0"/>
                </a:lnTo>
                <a:lnTo>
                  <a:pt x="185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6EE69A41-B3AF-45AD-9C46-F5F04BC893EB}"/>
              </a:ext>
            </a:extLst>
          </p:cNvPr>
          <p:cNvSpPr/>
          <p:nvPr/>
        </p:nvSpPr>
        <p:spPr bwMode="auto">
          <a:xfrm>
            <a:off x="11105758" y="3485467"/>
            <a:ext cx="307884" cy="306164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cs typeface="+mn-ea"/>
              <a:sym typeface="+mn-lt"/>
            </a:endParaRPr>
          </a:p>
        </p:txBody>
      </p:sp>
      <p:sp>
        <p:nvSpPr>
          <p:cNvPr id="54" name="任意多边形: 形状 53">
            <a:extLst>
              <a:ext uri="{FF2B5EF4-FFF2-40B4-BE49-F238E27FC236}">
                <a16:creationId xmlns:a16="http://schemas.microsoft.com/office/drawing/2014/main" id="{97830D01-598A-497C-BDE0-608DAF95DC16}"/>
              </a:ext>
            </a:extLst>
          </p:cNvPr>
          <p:cNvSpPr/>
          <p:nvPr/>
        </p:nvSpPr>
        <p:spPr bwMode="auto">
          <a:xfrm>
            <a:off x="788695" y="3478940"/>
            <a:ext cx="287209" cy="319218"/>
          </a:xfrm>
          <a:custGeom>
            <a:avLst/>
            <a:gdLst>
              <a:gd name="T0" fmla="*/ 104 w 208"/>
              <a:gd name="T1" fmla="*/ 0 h 228"/>
              <a:gd name="T2" fmla="*/ 208 w 208"/>
              <a:gd name="T3" fmla="*/ 104 h 228"/>
              <a:gd name="T4" fmla="*/ 136 w 208"/>
              <a:gd name="T5" fmla="*/ 203 h 228"/>
              <a:gd name="T6" fmla="*/ 145 w 208"/>
              <a:gd name="T7" fmla="*/ 220 h 228"/>
              <a:gd name="T8" fmla="*/ 176 w 208"/>
              <a:gd name="T9" fmla="*/ 220 h 228"/>
              <a:gd name="T10" fmla="*/ 176 w 208"/>
              <a:gd name="T11" fmla="*/ 228 h 228"/>
              <a:gd name="T12" fmla="*/ 32 w 208"/>
              <a:gd name="T13" fmla="*/ 228 h 228"/>
              <a:gd name="T14" fmla="*/ 32 w 208"/>
              <a:gd name="T15" fmla="*/ 220 h 228"/>
              <a:gd name="T16" fmla="*/ 63 w 208"/>
              <a:gd name="T17" fmla="*/ 220 h 228"/>
              <a:gd name="T18" fmla="*/ 72 w 208"/>
              <a:gd name="T19" fmla="*/ 203 h 228"/>
              <a:gd name="T20" fmla="*/ 0 w 208"/>
              <a:gd name="T21" fmla="*/ 104 h 228"/>
              <a:gd name="T22" fmla="*/ 104 w 208"/>
              <a:gd name="T23" fmla="*/ 0 h 228"/>
              <a:gd name="T24" fmla="*/ 80 w 208"/>
              <a:gd name="T25" fmla="*/ 205 h 228"/>
              <a:gd name="T26" fmla="*/ 72 w 208"/>
              <a:gd name="T27" fmla="*/ 220 h 228"/>
              <a:gd name="T28" fmla="*/ 136 w 208"/>
              <a:gd name="T29" fmla="*/ 220 h 228"/>
              <a:gd name="T30" fmla="*/ 128 w 208"/>
              <a:gd name="T31" fmla="*/ 205 h 228"/>
              <a:gd name="T32" fmla="*/ 104 w 208"/>
              <a:gd name="T33" fmla="*/ 208 h 228"/>
              <a:gd name="T34" fmla="*/ 80 w 208"/>
              <a:gd name="T35" fmla="*/ 205 h 228"/>
              <a:gd name="T36" fmla="*/ 104 w 208"/>
              <a:gd name="T37" fmla="*/ 60 h 228"/>
              <a:gd name="T38" fmla="*/ 60 w 208"/>
              <a:gd name="T39" fmla="*/ 104 h 228"/>
              <a:gd name="T40" fmla="*/ 104 w 208"/>
              <a:gd name="T41" fmla="*/ 148 h 228"/>
              <a:gd name="T42" fmla="*/ 148 w 208"/>
              <a:gd name="T43" fmla="*/ 104 h 228"/>
              <a:gd name="T44" fmla="*/ 104 w 208"/>
              <a:gd name="T45" fmla="*/ 60 h 228"/>
              <a:gd name="T46" fmla="*/ 154 w 208"/>
              <a:gd name="T47" fmla="*/ 48 h 228"/>
              <a:gd name="T48" fmla="*/ 148 w 208"/>
              <a:gd name="T49" fmla="*/ 54 h 228"/>
              <a:gd name="T50" fmla="*/ 154 w 208"/>
              <a:gd name="T51" fmla="*/ 60 h 228"/>
              <a:gd name="T52" fmla="*/ 160 w 208"/>
              <a:gd name="T53" fmla="*/ 54 h 228"/>
              <a:gd name="T54" fmla="*/ 154 w 208"/>
              <a:gd name="T55" fmla="*/ 4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8" h="228">
                <a:moveTo>
                  <a:pt x="104" y="0"/>
                </a:moveTo>
                <a:cubicBezTo>
                  <a:pt x="161" y="0"/>
                  <a:pt x="208" y="47"/>
                  <a:pt x="208" y="104"/>
                </a:cubicBezTo>
                <a:cubicBezTo>
                  <a:pt x="208" y="150"/>
                  <a:pt x="178" y="190"/>
                  <a:pt x="136" y="203"/>
                </a:cubicBezTo>
                <a:cubicBezTo>
                  <a:pt x="145" y="220"/>
                  <a:pt x="145" y="220"/>
                  <a:pt x="145" y="220"/>
                </a:cubicBezTo>
                <a:cubicBezTo>
                  <a:pt x="176" y="220"/>
                  <a:pt x="176" y="220"/>
                  <a:pt x="176" y="220"/>
                </a:cubicBezTo>
                <a:cubicBezTo>
                  <a:pt x="176" y="228"/>
                  <a:pt x="176" y="228"/>
                  <a:pt x="176" y="228"/>
                </a:cubicBezTo>
                <a:cubicBezTo>
                  <a:pt x="32" y="228"/>
                  <a:pt x="32" y="228"/>
                  <a:pt x="32" y="228"/>
                </a:cubicBezTo>
                <a:cubicBezTo>
                  <a:pt x="32" y="220"/>
                  <a:pt x="32" y="220"/>
                  <a:pt x="32" y="220"/>
                </a:cubicBezTo>
                <a:cubicBezTo>
                  <a:pt x="63" y="220"/>
                  <a:pt x="63" y="220"/>
                  <a:pt x="63" y="220"/>
                </a:cubicBezTo>
                <a:cubicBezTo>
                  <a:pt x="72" y="203"/>
                  <a:pt x="72" y="203"/>
                  <a:pt x="72" y="203"/>
                </a:cubicBezTo>
                <a:cubicBezTo>
                  <a:pt x="30" y="190"/>
                  <a:pt x="0" y="150"/>
                  <a:pt x="0" y="104"/>
                </a:cubicBezTo>
                <a:cubicBezTo>
                  <a:pt x="0" y="47"/>
                  <a:pt x="47" y="0"/>
                  <a:pt x="104" y="0"/>
                </a:cubicBezTo>
                <a:close/>
                <a:moveTo>
                  <a:pt x="80" y="205"/>
                </a:moveTo>
                <a:cubicBezTo>
                  <a:pt x="72" y="220"/>
                  <a:pt x="72" y="220"/>
                  <a:pt x="72" y="220"/>
                </a:cubicBezTo>
                <a:cubicBezTo>
                  <a:pt x="136" y="220"/>
                  <a:pt x="136" y="220"/>
                  <a:pt x="136" y="220"/>
                </a:cubicBezTo>
                <a:cubicBezTo>
                  <a:pt x="128" y="205"/>
                  <a:pt x="128" y="205"/>
                  <a:pt x="128" y="205"/>
                </a:cubicBezTo>
                <a:cubicBezTo>
                  <a:pt x="120" y="207"/>
                  <a:pt x="112" y="208"/>
                  <a:pt x="104" y="208"/>
                </a:cubicBezTo>
                <a:cubicBezTo>
                  <a:pt x="96" y="208"/>
                  <a:pt x="88" y="207"/>
                  <a:pt x="80" y="205"/>
                </a:cubicBezTo>
                <a:close/>
                <a:moveTo>
                  <a:pt x="104" y="60"/>
                </a:moveTo>
                <a:cubicBezTo>
                  <a:pt x="80" y="60"/>
                  <a:pt x="60" y="80"/>
                  <a:pt x="60" y="104"/>
                </a:cubicBezTo>
                <a:cubicBezTo>
                  <a:pt x="60" y="128"/>
                  <a:pt x="80" y="148"/>
                  <a:pt x="104" y="148"/>
                </a:cubicBezTo>
                <a:cubicBezTo>
                  <a:pt x="128" y="148"/>
                  <a:pt x="148" y="128"/>
                  <a:pt x="148" y="104"/>
                </a:cubicBezTo>
                <a:cubicBezTo>
                  <a:pt x="148" y="80"/>
                  <a:pt x="128" y="60"/>
                  <a:pt x="104" y="60"/>
                </a:cubicBezTo>
                <a:close/>
                <a:moveTo>
                  <a:pt x="154" y="48"/>
                </a:moveTo>
                <a:cubicBezTo>
                  <a:pt x="151" y="48"/>
                  <a:pt x="148" y="51"/>
                  <a:pt x="148" y="54"/>
                </a:cubicBezTo>
                <a:cubicBezTo>
                  <a:pt x="148" y="57"/>
                  <a:pt x="151" y="60"/>
                  <a:pt x="154" y="60"/>
                </a:cubicBezTo>
                <a:cubicBezTo>
                  <a:pt x="157" y="60"/>
                  <a:pt x="160" y="57"/>
                  <a:pt x="160" y="54"/>
                </a:cubicBezTo>
                <a:cubicBezTo>
                  <a:pt x="160" y="51"/>
                  <a:pt x="157" y="48"/>
                  <a:pt x="154" y="48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317025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EEB3F1A-0603-495E-B0E7-8DC790C74D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4809638-9FB2-48D8-9444-C6AFB85AE1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080B918-767C-4A96-AFE6-5D4D73518B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4A518481-BB1A-4AE8-9607-CDE7658F6834}"/>
              </a:ext>
            </a:extLst>
          </p:cNvPr>
          <p:cNvSpPr/>
          <p:nvPr/>
        </p:nvSpPr>
        <p:spPr>
          <a:xfrm>
            <a:off x="0" y="1130301"/>
            <a:ext cx="12192000" cy="224939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7" name="矩形 6">
            <a:extLst>
              <a:ext uri="{FF2B5EF4-FFF2-40B4-BE49-F238E27FC236}">
                <a16:creationId xmlns:a16="http://schemas.microsoft.com/office/drawing/2014/main" id="{80055AE2-1B6D-4E81-A422-3DDBE0D80E1D}"/>
              </a:ext>
            </a:extLst>
          </p:cNvPr>
          <p:cNvSpPr/>
          <p:nvPr/>
        </p:nvSpPr>
        <p:spPr>
          <a:xfrm>
            <a:off x="660399" y="1130301"/>
            <a:ext cx="10858500" cy="2249394"/>
          </a:xfrm>
          <a:prstGeom prst="rect">
            <a:avLst/>
          </a:prstGeom>
          <a:blipFill>
            <a:blip r:embed="rId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tretch>
              <a:fillRect t="-111488" b="-110237"/>
            </a:stretch>
          </a:blip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6685A8B8-65F5-486D-BB62-B1F4653ED923}"/>
              </a:ext>
            </a:extLst>
          </p:cNvPr>
          <p:cNvSpPr/>
          <p:nvPr/>
        </p:nvSpPr>
        <p:spPr>
          <a:xfrm>
            <a:off x="1510688" y="2689412"/>
            <a:ext cx="2761130" cy="3444688"/>
          </a:xfrm>
          <a:prstGeom prst="roundRect">
            <a:avLst>
              <a:gd name="adj" fmla="val 3489"/>
            </a:avLst>
          </a:prstGeom>
          <a:solidFill>
            <a:schemeClr val="bg1"/>
          </a:solidFill>
          <a:ln w="3175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15890B63-F1F2-4ECA-A98B-1E0D86752DE1}"/>
              </a:ext>
            </a:extLst>
          </p:cNvPr>
          <p:cNvGrpSpPr/>
          <p:nvPr/>
        </p:nvGrpSpPr>
        <p:grpSpPr>
          <a:xfrm>
            <a:off x="1530859" y="3337350"/>
            <a:ext cx="2720789" cy="2148812"/>
            <a:chOff x="1129552" y="3086576"/>
            <a:chExt cx="2761130" cy="2148812"/>
          </a:xfrm>
        </p:grpSpPr>
        <p:sp>
          <p:nvSpPr>
            <p:cNvPr id="31" name="文本框 30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1129552" y="3086576"/>
              <a:ext cx="276113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id-ID" sz="1600" b="1" dirty="0">
                <a:cs typeface="+mn-ea"/>
                <a:sym typeface="+mn-lt"/>
              </a:endParaRPr>
            </a:p>
          </p:txBody>
        </p:sp>
        <p:sp>
          <p:nvSpPr>
            <p:cNvPr id="32" name="矩形 3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129552" y="3519099"/>
              <a:ext cx="2761130" cy="1716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sp>
        <p:nvSpPr>
          <p:cNvPr id="29" name="椭圆 28">
            <a:extLst>
              <a:ext uri="{FF2B5EF4-FFF2-40B4-BE49-F238E27FC236}">
                <a16:creationId xmlns:a16="http://schemas.microsoft.com/office/drawing/2014/main" id="{ADB23A2C-654E-471F-9460-ED1327E17A7A}"/>
              </a:ext>
            </a:extLst>
          </p:cNvPr>
          <p:cNvSpPr/>
          <p:nvPr/>
        </p:nvSpPr>
        <p:spPr>
          <a:xfrm>
            <a:off x="2501895" y="2300054"/>
            <a:ext cx="778716" cy="778716"/>
          </a:xfrm>
          <a:prstGeom prst="ellipse">
            <a:avLst/>
          </a:prstGeom>
          <a:solidFill>
            <a:schemeClr val="accent1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E0377326-3738-4CF0-822D-823F239745E8}"/>
              </a:ext>
            </a:extLst>
          </p:cNvPr>
          <p:cNvSpPr/>
          <p:nvPr/>
        </p:nvSpPr>
        <p:spPr>
          <a:xfrm>
            <a:off x="2722855" y="2504821"/>
            <a:ext cx="336797" cy="369182"/>
          </a:xfrm>
          <a:custGeom>
            <a:avLst/>
            <a:gdLst>
              <a:gd name="connsiteX0" fmla="*/ 247650 w 495300"/>
              <a:gd name="connsiteY0" fmla="*/ 0 h 542925"/>
              <a:gd name="connsiteX1" fmla="*/ 495300 w 495300"/>
              <a:gd name="connsiteY1" fmla="*/ 247650 h 542925"/>
              <a:gd name="connsiteX2" fmla="*/ 322707 w 495300"/>
              <a:gd name="connsiteY2" fmla="*/ 483775 h 542925"/>
              <a:gd name="connsiteX3" fmla="*/ 345853 w 495300"/>
              <a:gd name="connsiteY3" fmla="*/ 523875 h 542925"/>
              <a:gd name="connsiteX4" fmla="*/ 419100 w 495300"/>
              <a:gd name="connsiteY4" fmla="*/ 523875 h 542925"/>
              <a:gd name="connsiteX5" fmla="*/ 419100 w 495300"/>
              <a:gd name="connsiteY5" fmla="*/ 542925 h 542925"/>
              <a:gd name="connsiteX6" fmla="*/ 76200 w 495300"/>
              <a:gd name="connsiteY6" fmla="*/ 542925 h 542925"/>
              <a:gd name="connsiteX7" fmla="*/ 76200 w 495300"/>
              <a:gd name="connsiteY7" fmla="*/ 523875 h 542925"/>
              <a:gd name="connsiteX8" fmla="*/ 149447 w 495300"/>
              <a:gd name="connsiteY8" fmla="*/ 523875 h 542925"/>
              <a:gd name="connsiteX9" fmla="*/ 172593 w 495300"/>
              <a:gd name="connsiteY9" fmla="*/ 483775 h 542925"/>
              <a:gd name="connsiteX10" fmla="*/ 0 w 495300"/>
              <a:gd name="connsiteY10" fmla="*/ 247650 h 542925"/>
              <a:gd name="connsiteX11" fmla="*/ 247650 w 495300"/>
              <a:gd name="connsiteY11" fmla="*/ 0 h 542925"/>
              <a:gd name="connsiteX12" fmla="*/ 191643 w 495300"/>
              <a:gd name="connsiteY12" fmla="*/ 488918 h 542925"/>
              <a:gd name="connsiteX13" fmla="*/ 171450 w 495300"/>
              <a:gd name="connsiteY13" fmla="*/ 523875 h 542925"/>
              <a:gd name="connsiteX14" fmla="*/ 323850 w 495300"/>
              <a:gd name="connsiteY14" fmla="*/ 523875 h 542925"/>
              <a:gd name="connsiteX15" fmla="*/ 303657 w 495300"/>
              <a:gd name="connsiteY15" fmla="*/ 488918 h 542925"/>
              <a:gd name="connsiteX16" fmla="*/ 247650 w 495300"/>
              <a:gd name="connsiteY16" fmla="*/ 495300 h 542925"/>
              <a:gd name="connsiteX17" fmla="*/ 191643 w 495300"/>
              <a:gd name="connsiteY17" fmla="*/ 488918 h 542925"/>
              <a:gd name="connsiteX18" fmla="*/ 247650 w 495300"/>
              <a:gd name="connsiteY18" fmla="*/ 142875 h 542925"/>
              <a:gd name="connsiteX19" fmla="*/ 142875 w 495300"/>
              <a:gd name="connsiteY19" fmla="*/ 247650 h 542925"/>
              <a:gd name="connsiteX20" fmla="*/ 247650 w 495300"/>
              <a:gd name="connsiteY20" fmla="*/ 352425 h 542925"/>
              <a:gd name="connsiteX21" fmla="*/ 352425 w 495300"/>
              <a:gd name="connsiteY21" fmla="*/ 247650 h 542925"/>
              <a:gd name="connsiteX22" fmla="*/ 247650 w 495300"/>
              <a:gd name="connsiteY22" fmla="*/ 142875 h 542925"/>
              <a:gd name="connsiteX23" fmla="*/ 366713 w 495300"/>
              <a:gd name="connsiteY23" fmla="*/ 114300 h 542925"/>
              <a:gd name="connsiteX24" fmla="*/ 352425 w 495300"/>
              <a:gd name="connsiteY24" fmla="*/ 128588 h 542925"/>
              <a:gd name="connsiteX25" fmla="*/ 366713 w 495300"/>
              <a:gd name="connsiteY25" fmla="*/ 142875 h 542925"/>
              <a:gd name="connsiteX26" fmla="*/ 381000 w 495300"/>
              <a:gd name="connsiteY26" fmla="*/ 128588 h 542925"/>
              <a:gd name="connsiteX27" fmla="*/ 366713 w 495300"/>
              <a:gd name="connsiteY27" fmla="*/ 114300 h 542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495300" h="542925">
                <a:moveTo>
                  <a:pt x="247650" y="0"/>
                </a:moveTo>
                <a:cubicBezTo>
                  <a:pt x="384429" y="0"/>
                  <a:pt x="495300" y="110871"/>
                  <a:pt x="495300" y="247650"/>
                </a:cubicBezTo>
                <a:cubicBezTo>
                  <a:pt x="495300" y="358235"/>
                  <a:pt x="422815" y="451961"/>
                  <a:pt x="322707" y="483775"/>
                </a:cubicBezTo>
                <a:lnTo>
                  <a:pt x="345853" y="523875"/>
                </a:lnTo>
                <a:lnTo>
                  <a:pt x="419100" y="523875"/>
                </a:lnTo>
                <a:lnTo>
                  <a:pt x="419100" y="542925"/>
                </a:lnTo>
                <a:lnTo>
                  <a:pt x="76200" y="542925"/>
                </a:lnTo>
                <a:lnTo>
                  <a:pt x="76200" y="523875"/>
                </a:lnTo>
                <a:lnTo>
                  <a:pt x="149447" y="523875"/>
                </a:lnTo>
                <a:lnTo>
                  <a:pt x="172593" y="483775"/>
                </a:lnTo>
                <a:cubicBezTo>
                  <a:pt x="72485" y="451961"/>
                  <a:pt x="0" y="358235"/>
                  <a:pt x="0" y="247650"/>
                </a:cubicBezTo>
                <a:cubicBezTo>
                  <a:pt x="0" y="110871"/>
                  <a:pt x="110871" y="0"/>
                  <a:pt x="247650" y="0"/>
                </a:cubicBezTo>
                <a:close/>
                <a:moveTo>
                  <a:pt x="191643" y="488918"/>
                </a:moveTo>
                <a:lnTo>
                  <a:pt x="171450" y="523875"/>
                </a:lnTo>
                <a:lnTo>
                  <a:pt x="323850" y="523875"/>
                </a:lnTo>
                <a:lnTo>
                  <a:pt x="303657" y="488918"/>
                </a:lnTo>
                <a:cubicBezTo>
                  <a:pt x="285655" y="493109"/>
                  <a:pt x="266891" y="495300"/>
                  <a:pt x="247650" y="495300"/>
                </a:cubicBezTo>
                <a:cubicBezTo>
                  <a:pt x="228409" y="495300"/>
                  <a:pt x="209645" y="493109"/>
                  <a:pt x="191643" y="488918"/>
                </a:cubicBezTo>
                <a:close/>
                <a:moveTo>
                  <a:pt x="247650" y="142875"/>
                </a:moveTo>
                <a:cubicBezTo>
                  <a:pt x="189738" y="142875"/>
                  <a:pt x="142875" y="189738"/>
                  <a:pt x="142875" y="247650"/>
                </a:cubicBezTo>
                <a:cubicBezTo>
                  <a:pt x="142875" y="305562"/>
                  <a:pt x="189738" y="352425"/>
                  <a:pt x="247650" y="352425"/>
                </a:cubicBezTo>
                <a:cubicBezTo>
                  <a:pt x="305562" y="352425"/>
                  <a:pt x="352425" y="305562"/>
                  <a:pt x="352425" y="247650"/>
                </a:cubicBezTo>
                <a:cubicBezTo>
                  <a:pt x="352425" y="189738"/>
                  <a:pt x="305562" y="142875"/>
                  <a:pt x="247650" y="142875"/>
                </a:cubicBezTo>
                <a:close/>
                <a:moveTo>
                  <a:pt x="366713" y="114300"/>
                </a:moveTo>
                <a:cubicBezTo>
                  <a:pt x="358807" y="114300"/>
                  <a:pt x="352425" y="120682"/>
                  <a:pt x="352425" y="128588"/>
                </a:cubicBezTo>
                <a:cubicBezTo>
                  <a:pt x="352425" y="136493"/>
                  <a:pt x="358807" y="142875"/>
                  <a:pt x="366713" y="142875"/>
                </a:cubicBezTo>
                <a:cubicBezTo>
                  <a:pt x="374618" y="142875"/>
                  <a:pt x="381000" y="136493"/>
                  <a:pt x="381000" y="128588"/>
                </a:cubicBezTo>
                <a:cubicBezTo>
                  <a:pt x="381000" y="120682"/>
                  <a:pt x="374618" y="114300"/>
                  <a:pt x="366713" y="114300"/>
                </a:cubicBez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F6C0B8BD-8162-4FCA-B7AC-235FD87189C5}"/>
              </a:ext>
            </a:extLst>
          </p:cNvPr>
          <p:cNvSpPr txBox="1"/>
          <p:nvPr/>
        </p:nvSpPr>
        <p:spPr>
          <a:xfrm>
            <a:off x="660400" y="1130300"/>
            <a:ext cx="10858500" cy="779576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ctr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buSzPct val="25000"/>
            </a:pPr>
            <a:r>
              <a:rPr lang="en-US" sz="2000" b="1" dirty="0">
                <a:cs typeface="+mn-ea"/>
                <a:sym typeface="+mn-lt"/>
              </a:rPr>
              <a:t>Unified fonts make reading more fluent.</a:t>
            </a: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50494BB5-448C-4EF1-B64C-6382FCE74C1D}"/>
              </a:ext>
            </a:extLst>
          </p:cNvPr>
          <p:cNvSpPr/>
          <p:nvPr/>
        </p:nvSpPr>
        <p:spPr>
          <a:xfrm>
            <a:off x="4709085" y="2689412"/>
            <a:ext cx="2761130" cy="3444688"/>
          </a:xfrm>
          <a:prstGeom prst="roundRect">
            <a:avLst>
              <a:gd name="adj" fmla="val 3489"/>
            </a:avLst>
          </a:prstGeom>
          <a:solidFill>
            <a:schemeClr val="bg1"/>
          </a:solidFill>
          <a:ln w="3175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20" name="组合 19">
            <a:extLst>
              <a:ext uri="{FF2B5EF4-FFF2-40B4-BE49-F238E27FC236}">
                <a16:creationId xmlns:a16="http://schemas.microsoft.com/office/drawing/2014/main" id="{32384D24-1DE8-48EC-AB29-3D641FF737CD}"/>
              </a:ext>
            </a:extLst>
          </p:cNvPr>
          <p:cNvGrpSpPr/>
          <p:nvPr/>
        </p:nvGrpSpPr>
        <p:grpSpPr>
          <a:xfrm>
            <a:off x="4729256" y="3337350"/>
            <a:ext cx="2720789" cy="2148812"/>
            <a:chOff x="1129552" y="3086576"/>
            <a:chExt cx="2761130" cy="2148812"/>
          </a:xfrm>
        </p:grpSpPr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1129552" y="3086576"/>
              <a:ext cx="276113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id-ID" sz="1600" b="1" dirty="0">
                <a:cs typeface="+mn-ea"/>
                <a:sym typeface="+mn-lt"/>
              </a:endParaRP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129552" y="3519099"/>
              <a:ext cx="2761130" cy="1716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sp>
        <p:nvSpPr>
          <p:cNvPr id="22" name="椭圆 21">
            <a:extLst>
              <a:ext uri="{FF2B5EF4-FFF2-40B4-BE49-F238E27FC236}">
                <a16:creationId xmlns:a16="http://schemas.microsoft.com/office/drawing/2014/main" id="{95D1D5EA-E64E-404F-BF1E-D6CB2C5BBDA7}"/>
              </a:ext>
            </a:extLst>
          </p:cNvPr>
          <p:cNvSpPr/>
          <p:nvPr/>
        </p:nvSpPr>
        <p:spPr>
          <a:xfrm>
            <a:off x="5700292" y="2300054"/>
            <a:ext cx="778716" cy="778716"/>
          </a:xfrm>
          <a:prstGeom prst="ellipse">
            <a:avLst/>
          </a:prstGeom>
          <a:solidFill>
            <a:schemeClr val="accent2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4" name="任意多边形: 形状 33">
            <a:extLst>
              <a:ext uri="{FF2B5EF4-FFF2-40B4-BE49-F238E27FC236}">
                <a16:creationId xmlns:a16="http://schemas.microsoft.com/office/drawing/2014/main" id="{2A67E079-F752-4726-BD8C-FE9485A894B5}"/>
              </a:ext>
            </a:extLst>
          </p:cNvPr>
          <p:cNvSpPr/>
          <p:nvPr/>
        </p:nvSpPr>
        <p:spPr>
          <a:xfrm>
            <a:off x="5905059" y="2519258"/>
            <a:ext cx="369182" cy="340307"/>
          </a:xfrm>
          <a:custGeom>
            <a:avLst/>
            <a:gdLst>
              <a:gd name="T0" fmla="*/ 83 w 358"/>
              <a:gd name="T1" fmla="*/ 155 h 330"/>
              <a:gd name="T2" fmla="*/ 83 w 358"/>
              <a:gd name="T3" fmla="*/ 187 h 330"/>
              <a:gd name="T4" fmla="*/ 96 w 358"/>
              <a:gd name="T5" fmla="*/ 187 h 330"/>
              <a:gd name="T6" fmla="*/ 96 w 358"/>
              <a:gd name="T7" fmla="*/ 155 h 330"/>
              <a:gd name="T8" fmla="*/ 262 w 358"/>
              <a:gd name="T9" fmla="*/ 155 h 330"/>
              <a:gd name="T10" fmla="*/ 262 w 358"/>
              <a:gd name="T11" fmla="*/ 187 h 330"/>
              <a:gd name="T12" fmla="*/ 275 w 358"/>
              <a:gd name="T13" fmla="*/ 187 h 330"/>
              <a:gd name="T14" fmla="*/ 275 w 358"/>
              <a:gd name="T15" fmla="*/ 155 h 330"/>
              <a:gd name="T16" fmla="*/ 358 w 358"/>
              <a:gd name="T17" fmla="*/ 155 h 330"/>
              <a:gd name="T18" fmla="*/ 358 w 358"/>
              <a:gd name="T19" fmla="*/ 330 h 330"/>
              <a:gd name="T20" fmla="*/ 0 w 358"/>
              <a:gd name="T21" fmla="*/ 330 h 330"/>
              <a:gd name="T22" fmla="*/ 0 w 358"/>
              <a:gd name="T23" fmla="*/ 155 h 330"/>
              <a:gd name="T24" fmla="*/ 83 w 358"/>
              <a:gd name="T25" fmla="*/ 155 h 330"/>
              <a:gd name="T26" fmla="*/ 275 w 358"/>
              <a:gd name="T27" fmla="*/ 0 h 330"/>
              <a:gd name="T28" fmla="*/ 275 w 358"/>
              <a:gd name="T29" fmla="*/ 77 h 330"/>
              <a:gd name="T30" fmla="*/ 358 w 358"/>
              <a:gd name="T31" fmla="*/ 77 h 330"/>
              <a:gd name="T32" fmla="*/ 358 w 358"/>
              <a:gd name="T33" fmla="*/ 142 h 330"/>
              <a:gd name="T34" fmla="*/ 0 w 358"/>
              <a:gd name="T35" fmla="*/ 142 h 330"/>
              <a:gd name="T36" fmla="*/ 0 w 358"/>
              <a:gd name="T37" fmla="*/ 77 h 330"/>
              <a:gd name="T38" fmla="*/ 83 w 358"/>
              <a:gd name="T39" fmla="*/ 77 h 330"/>
              <a:gd name="T40" fmla="*/ 83 w 358"/>
              <a:gd name="T41" fmla="*/ 0 h 330"/>
              <a:gd name="T42" fmla="*/ 275 w 358"/>
              <a:gd name="T43" fmla="*/ 0 h 330"/>
              <a:gd name="T44" fmla="*/ 262 w 358"/>
              <a:gd name="T45" fmla="*/ 12 h 330"/>
              <a:gd name="T46" fmla="*/ 96 w 358"/>
              <a:gd name="T47" fmla="*/ 12 h 330"/>
              <a:gd name="T48" fmla="*/ 96 w 358"/>
              <a:gd name="T49" fmla="*/ 77 h 330"/>
              <a:gd name="T50" fmla="*/ 262 w 358"/>
              <a:gd name="T51" fmla="*/ 77 h 330"/>
              <a:gd name="T52" fmla="*/ 262 w 358"/>
              <a:gd name="T53" fmla="*/ 12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58" h="330">
                <a:moveTo>
                  <a:pt x="83" y="155"/>
                </a:moveTo>
                <a:lnTo>
                  <a:pt x="83" y="187"/>
                </a:lnTo>
                <a:lnTo>
                  <a:pt x="96" y="187"/>
                </a:lnTo>
                <a:lnTo>
                  <a:pt x="96" y="155"/>
                </a:lnTo>
                <a:lnTo>
                  <a:pt x="262" y="155"/>
                </a:lnTo>
                <a:lnTo>
                  <a:pt x="262" y="187"/>
                </a:lnTo>
                <a:lnTo>
                  <a:pt x="275" y="187"/>
                </a:lnTo>
                <a:lnTo>
                  <a:pt x="275" y="155"/>
                </a:lnTo>
                <a:lnTo>
                  <a:pt x="358" y="155"/>
                </a:lnTo>
                <a:lnTo>
                  <a:pt x="358" y="330"/>
                </a:lnTo>
                <a:lnTo>
                  <a:pt x="0" y="330"/>
                </a:lnTo>
                <a:lnTo>
                  <a:pt x="0" y="155"/>
                </a:lnTo>
                <a:lnTo>
                  <a:pt x="83" y="155"/>
                </a:lnTo>
                <a:close/>
                <a:moveTo>
                  <a:pt x="275" y="0"/>
                </a:moveTo>
                <a:lnTo>
                  <a:pt x="275" y="77"/>
                </a:lnTo>
                <a:lnTo>
                  <a:pt x="358" y="77"/>
                </a:lnTo>
                <a:lnTo>
                  <a:pt x="358" y="142"/>
                </a:lnTo>
                <a:lnTo>
                  <a:pt x="0" y="142"/>
                </a:lnTo>
                <a:lnTo>
                  <a:pt x="0" y="77"/>
                </a:lnTo>
                <a:lnTo>
                  <a:pt x="83" y="77"/>
                </a:lnTo>
                <a:lnTo>
                  <a:pt x="83" y="0"/>
                </a:lnTo>
                <a:lnTo>
                  <a:pt x="275" y="0"/>
                </a:lnTo>
                <a:close/>
                <a:moveTo>
                  <a:pt x="262" y="12"/>
                </a:moveTo>
                <a:lnTo>
                  <a:pt x="96" y="12"/>
                </a:lnTo>
                <a:lnTo>
                  <a:pt x="96" y="77"/>
                </a:lnTo>
                <a:lnTo>
                  <a:pt x="262" y="77"/>
                </a:lnTo>
                <a:lnTo>
                  <a:pt x="262" y="12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48310BF9-61D6-4D1F-B407-0059E93D8D9A}"/>
              </a:ext>
            </a:extLst>
          </p:cNvPr>
          <p:cNvSpPr/>
          <p:nvPr/>
        </p:nvSpPr>
        <p:spPr>
          <a:xfrm>
            <a:off x="7907482" y="2689412"/>
            <a:ext cx="2761130" cy="3444688"/>
          </a:xfrm>
          <a:prstGeom prst="roundRect">
            <a:avLst>
              <a:gd name="adj" fmla="val 3489"/>
            </a:avLst>
          </a:prstGeom>
          <a:solidFill>
            <a:schemeClr val="bg1"/>
          </a:solidFill>
          <a:ln w="3175" cap="rnd">
            <a:solidFill>
              <a:schemeClr val="bg1">
                <a:lumMod val="75000"/>
              </a:schemeClr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altLang="zh-CN" dirty="0">
              <a:cs typeface="+mn-ea"/>
              <a:sym typeface="+mn-lt"/>
            </a:endParaRPr>
          </a:p>
        </p:txBody>
      </p:sp>
      <p:grpSp>
        <p:nvGrpSpPr>
          <p:cNvPr id="13" name="组合 12">
            <a:extLst>
              <a:ext uri="{FF2B5EF4-FFF2-40B4-BE49-F238E27FC236}">
                <a16:creationId xmlns:a16="http://schemas.microsoft.com/office/drawing/2014/main" id="{6083F3F3-1B79-423D-8789-65020B6096BD}"/>
              </a:ext>
            </a:extLst>
          </p:cNvPr>
          <p:cNvGrpSpPr/>
          <p:nvPr/>
        </p:nvGrpSpPr>
        <p:grpSpPr>
          <a:xfrm>
            <a:off x="7927653" y="3337350"/>
            <a:ext cx="2720789" cy="2148812"/>
            <a:chOff x="1129552" y="3086576"/>
            <a:chExt cx="2761130" cy="2148812"/>
          </a:xfrm>
        </p:grpSpPr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1129552" y="3086576"/>
              <a:ext cx="2761130" cy="432521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id-ID" sz="1600" b="1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1129552" y="3519099"/>
              <a:ext cx="2761130" cy="17162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Copy paste fonts. Choose the only option to retain text.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endParaRPr lang="en-US" altLang="zh-CN" sz="1000" dirty="0">
                <a:cs typeface="+mn-ea"/>
                <a:sym typeface="+mn-lt"/>
              </a:endParaRP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</p:grpSp>
      <p:sp>
        <p:nvSpPr>
          <p:cNvPr id="15" name="椭圆 14">
            <a:extLst>
              <a:ext uri="{FF2B5EF4-FFF2-40B4-BE49-F238E27FC236}">
                <a16:creationId xmlns:a16="http://schemas.microsoft.com/office/drawing/2014/main" id="{21C64F2D-99A5-4436-8837-92FCF683B44B}"/>
              </a:ext>
            </a:extLst>
          </p:cNvPr>
          <p:cNvSpPr/>
          <p:nvPr/>
        </p:nvSpPr>
        <p:spPr>
          <a:xfrm>
            <a:off x="8898689" y="2300054"/>
            <a:ext cx="778716" cy="778716"/>
          </a:xfrm>
          <a:prstGeom prst="ellipse">
            <a:avLst/>
          </a:prstGeom>
          <a:solidFill>
            <a:schemeClr val="accent1"/>
          </a:solidFill>
          <a:ln w="28575" cap="rnd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6" name="任意多边形: 形状 35">
            <a:extLst>
              <a:ext uri="{FF2B5EF4-FFF2-40B4-BE49-F238E27FC236}">
                <a16:creationId xmlns:a16="http://schemas.microsoft.com/office/drawing/2014/main" id="{2AEFDFAB-E92B-4693-9F6C-70A83EE1F6A2}"/>
              </a:ext>
            </a:extLst>
          </p:cNvPr>
          <p:cNvSpPr/>
          <p:nvPr/>
        </p:nvSpPr>
        <p:spPr>
          <a:xfrm>
            <a:off x="9103456" y="2505852"/>
            <a:ext cx="369182" cy="367119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bg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5651115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CBEB1240-50C9-4E3A-A62D-0D13AC4879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0AD1B05-33B3-40DF-99AC-F01ED65A0D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DD4BD2DE-EF80-42EF-9F2F-95BC71C47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矩形 37">
            <a:extLst>
              <a:ext uri="{FF2B5EF4-FFF2-40B4-BE49-F238E27FC236}">
                <a16:creationId xmlns:a16="http://schemas.microsoft.com/office/drawing/2014/main" id="{3C61D6EC-D512-4BCE-A9B7-C2FF211924B6}"/>
              </a:ext>
            </a:extLst>
          </p:cNvPr>
          <p:cNvSpPr/>
          <p:nvPr/>
        </p:nvSpPr>
        <p:spPr bwMode="auto">
          <a:xfrm rot="2534512">
            <a:off x="735983" y="5104952"/>
            <a:ext cx="570505" cy="186581"/>
          </a:xfrm>
          <a:prstGeom prst="rect">
            <a:avLst/>
          </a:prstGeom>
          <a:solidFill>
            <a:srgbClr val="EDED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39" name="矩形 38">
            <a:extLst>
              <a:ext uri="{FF2B5EF4-FFF2-40B4-BE49-F238E27FC236}">
                <a16:creationId xmlns:a16="http://schemas.microsoft.com/office/drawing/2014/main" id="{93E6BA3B-0B45-47D2-A409-B551E88DC019}"/>
              </a:ext>
            </a:extLst>
          </p:cNvPr>
          <p:cNvSpPr/>
          <p:nvPr/>
        </p:nvSpPr>
        <p:spPr bwMode="auto">
          <a:xfrm rot="2534512">
            <a:off x="773021" y="5009070"/>
            <a:ext cx="285253" cy="18658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40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0" name="任意多边形: 形状 39">
            <a:extLst>
              <a:ext uri="{FF2B5EF4-FFF2-40B4-BE49-F238E27FC236}">
                <a16:creationId xmlns:a16="http://schemas.microsoft.com/office/drawing/2014/main" id="{49C51C80-EA24-45AC-8742-99DF6801C7FE}"/>
              </a:ext>
            </a:extLst>
          </p:cNvPr>
          <p:cNvSpPr/>
          <p:nvPr/>
        </p:nvSpPr>
        <p:spPr bwMode="auto">
          <a:xfrm rot="2534512">
            <a:off x="164241" y="4374661"/>
            <a:ext cx="1989059" cy="1344250"/>
          </a:xfrm>
          <a:custGeom>
            <a:avLst/>
            <a:gdLst>
              <a:gd name="T0" fmla="*/ 5045 w 9030"/>
              <a:gd name="T1" fmla="*/ 3318 h 6163"/>
              <a:gd name="T2" fmla="*/ 5723 w 9030"/>
              <a:gd name="T3" fmla="*/ 3451 h 6163"/>
              <a:gd name="T4" fmla="*/ 6361 w 9030"/>
              <a:gd name="T5" fmla="*/ 3681 h 6163"/>
              <a:gd name="T6" fmla="*/ 6951 w 9030"/>
              <a:gd name="T7" fmla="*/ 4001 h 6163"/>
              <a:gd name="T8" fmla="*/ 7483 w 9030"/>
              <a:gd name="T9" fmla="*/ 4402 h 6163"/>
              <a:gd name="T10" fmla="*/ 7950 w 9030"/>
              <a:gd name="T11" fmla="*/ 4874 h 6163"/>
              <a:gd name="T12" fmla="*/ 8344 w 9030"/>
              <a:gd name="T13" fmla="*/ 5413 h 6163"/>
              <a:gd name="T14" fmla="*/ 8657 w 9030"/>
              <a:gd name="T15" fmla="*/ 6007 h 6163"/>
              <a:gd name="T16" fmla="*/ 8775 w 9030"/>
              <a:gd name="T17" fmla="*/ 6018 h 6163"/>
              <a:gd name="T18" fmla="*/ 8839 w 9030"/>
              <a:gd name="T19" fmla="*/ 5822 h 6163"/>
              <a:gd name="T20" fmla="*/ 8894 w 9030"/>
              <a:gd name="T21" fmla="*/ 5623 h 6163"/>
              <a:gd name="T22" fmla="*/ 8940 w 9030"/>
              <a:gd name="T23" fmla="*/ 5419 h 6163"/>
              <a:gd name="T24" fmla="*/ 8977 w 9030"/>
              <a:gd name="T25" fmla="*/ 5212 h 6163"/>
              <a:gd name="T26" fmla="*/ 9005 w 9030"/>
              <a:gd name="T27" fmla="*/ 5003 h 6163"/>
              <a:gd name="T28" fmla="*/ 9022 w 9030"/>
              <a:gd name="T29" fmla="*/ 4789 h 6163"/>
              <a:gd name="T30" fmla="*/ 9030 w 9030"/>
              <a:gd name="T31" fmla="*/ 4574 h 6163"/>
              <a:gd name="T32" fmla="*/ 8978 w 9030"/>
              <a:gd name="T33" fmla="*/ 3831 h 6163"/>
              <a:gd name="T34" fmla="*/ 8756 w 9030"/>
              <a:gd name="T35" fmla="*/ 2966 h 6163"/>
              <a:gd name="T36" fmla="*/ 8376 w 9030"/>
              <a:gd name="T37" fmla="*/ 2176 h 6163"/>
              <a:gd name="T38" fmla="*/ 7857 w 9030"/>
              <a:gd name="T39" fmla="*/ 1481 h 6163"/>
              <a:gd name="T40" fmla="*/ 7217 w 9030"/>
              <a:gd name="T41" fmla="*/ 899 h 6163"/>
              <a:gd name="T42" fmla="*/ 6472 w 9030"/>
              <a:gd name="T43" fmla="*/ 446 h 6163"/>
              <a:gd name="T44" fmla="*/ 5643 w 9030"/>
              <a:gd name="T45" fmla="*/ 144 h 6163"/>
              <a:gd name="T46" fmla="*/ 4748 w 9030"/>
              <a:gd name="T47" fmla="*/ 7 h 6163"/>
              <a:gd name="T48" fmla="*/ 3828 w 9030"/>
              <a:gd name="T49" fmla="*/ 53 h 6163"/>
              <a:gd name="T50" fmla="*/ 2963 w 9030"/>
              <a:gd name="T51" fmla="*/ 275 h 6163"/>
              <a:gd name="T52" fmla="*/ 2174 w 9030"/>
              <a:gd name="T53" fmla="*/ 655 h 6163"/>
              <a:gd name="T54" fmla="*/ 1480 w 9030"/>
              <a:gd name="T55" fmla="*/ 1175 h 6163"/>
              <a:gd name="T56" fmla="*/ 897 w 9030"/>
              <a:gd name="T57" fmla="*/ 1816 h 6163"/>
              <a:gd name="T58" fmla="*/ 446 w 9030"/>
              <a:gd name="T59" fmla="*/ 2561 h 6163"/>
              <a:gd name="T60" fmla="*/ 142 w 9030"/>
              <a:gd name="T61" fmla="*/ 3391 h 6163"/>
              <a:gd name="T62" fmla="*/ 6 w 9030"/>
              <a:gd name="T63" fmla="*/ 4287 h 6163"/>
              <a:gd name="T64" fmla="*/ 3 w 9030"/>
              <a:gd name="T65" fmla="*/ 4682 h 6163"/>
              <a:gd name="T66" fmla="*/ 16 w 9030"/>
              <a:gd name="T67" fmla="*/ 4896 h 6163"/>
              <a:gd name="T68" fmla="*/ 38 w 9030"/>
              <a:gd name="T69" fmla="*/ 5108 h 6163"/>
              <a:gd name="T70" fmla="*/ 71 w 9030"/>
              <a:gd name="T71" fmla="*/ 5317 h 6163"/>
              <a:gd name="T72" fmla="*/ 112 w 9030"/>
              <a:gd name="T73" fmla="*/ 5522 h 6163"/>
              <a:gd name="T74" fmla="*/ 163 w 9030"/>
              <a:gd name="T75" fmla="*/ 5722 h 6163"/>
              <a:gd name="T76" fmla="*/ 222 w 9030"/>
              <a:gd name="T77" fmla="*/ 5921 h 6163"/>
              <a:gd name="T78" fmla="*/ 291 w 9030"/>
              <a:gd name="T79" fmla="*/ 6114 h 6163"/>
              <a:gd name="T80" fmla="*/ 519 w 9030"/>
              <a:gd name="T81" fmla="*/ 5703 h 6163"/>
              <a:gd name="T82" fmla="*/ 874 w 9030"/>
              <a:gd name="T83" fmla="*/ 5135 h 6163"/>
              <a:gd name="T84" fmla="*/ 1305 w 9030"/>
              <a:gd name="T85" fmla="*/ 4630 h 6163"/>
              <a:gd name="T86" fmla="*/ 1805 w 9030"/>
              <a:gd name="T87" fmla="*/ 4192 h 6163"/>
              <a:gd name="T88" fmla="*/ 2367 w 9030"/>
              <a:gd name="T89" fmla="*/ 3831 h 6163"/>
              <a:gd name="T90" fmla="*/ 2981 w 9030"/>
              <a:gd name="T91" fmla="*/ 3555 h 6163"/>
              <a:gd name="T92" fmla="*/ 3641 w 9030"/>
              <a:gd name="T93" fmla="*/ 3371 h 6163"/>
              <a:gd name="T94" fmla="*/ 4336 w 9030"/>
              <a:gd name="T95" fmla="*/ 3291 h 61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9030" h="6163">
                <a:moveTo>
                  <a:pt x="4515" y="3288"/>
                </a:moveTo>
                <a:lnTo>
                  <a:pt x="4694" y="3291"/>
                </a:lnTo>
                <a:lnTo>
                  <a:pt x="4870" y="3301"/>
                </a:lnTo>
                <a:lnTo>
                  <a:pt x="5045" y="3318"/>
                </a:lnTo>
                <a:lnTo>
                  <a:pt x="5218" y="3342"/>
                </a:lnTo>
                <a:lnTo>
                  <a:pt x="5389" y="3371"/>
                </a:lnTo>
                <a:lnTo>
                  <a:pt x="5557" y="3408"/>
                </a:lnTo>
                <a:lnTo>
                  <a:pt x="5723" y="3451"/>
                </a:lnTo>
                <a:lnTo>
                  <a:pt x="5887" y="3500"/>
                </a:lnTo>
                <a:lnTo>
                  <a:pt x="6049" y="3555"/>
                </a:lnTo>
                <a:lnTo>
                  <a:pt x="6207" y="3616"/>
                </a:lnTo>
                <a:lnTo>
                  <a:pt x="6361" y="3681"/>
                </a:lnTo>
                <a:lnTo>
                  <a:pt x="6514" y="3753"/>
                </a:lnTo>
                <a:lnTo>
                  <a:pt x="6663" y="3831"/>
                </a:lnTo>
                <a:lnTo>
                  <a:pt x="6808" y="3914"/>
                </a:lnTo>
                <a:lnTo>
                  <a:pt x="6951" y="4001"/>
                </a:lnTo>
                <a:lnTo>
                  <a:pt x="7090" y="4094"/>
                </a:lnTo>
                <a:lnTo>
                  <a:pt x="7225" y="4192"/>
                </a:lnTo>
                <a:lnTo>
                  <a:pt x="7355" y="4294"/>
                </a:lnTo>
                <a:lnTo>
                  <a:pt x="7483" y="4402"/>
                </a:lnTo>
                <a:lnTo>
                  <a:pt x="7606" y="4513"/>
                </a:lnTo>
                <a:lnTo>
                  <a:pt x="7725" y="4630"/>
                </a:lnTo>
                <a:lnTo>
                  <a:pt x="7840" y="4750"/>
                </a:lnTo>
                <a:lnTo>
                  <a:pt x="7950" y="4874"/>
                </a:lnTo>
                <a:lnTo>
                  <a:pt x="8055" y="5004"/>
                </a:lnTo>
                <a:lnTo>
                  <a:pt x="8156" y="5135"/>
                </a:lnTo>
                <a:lnTo>
                  <a:pt x="8252" y="5272"/>
                </a:lnTo>
                <a:lnTo>
                  <a:pt x="8344" y="5413"/>
                </a:lnTo>
                <a:lnTo>
                  <a:pt x="8430" y="5556"/>
                </a:lnTo>
                <a:lnTo>
                  <a:pt x="8511" y="5703"/>
                </a:lnTo>
                <a:lnTo>
                  <a:pt x="8586" y="5853"/>
                </a:lnTo>
                <a:lnTo>
                  <a:pt x="8657" y="6007"/>
                </a:lnTo>
                <a:lnTo>
                  <a:pt x="8721" y="6163"/>
                </a:lnTo>
                <a:lnTo>
                  <a:pt x="8739" y="6114"/>
                </a:lnTo>
                <a:lnTo>
                  <a:pt x="8756" y="6066"/>
                </a:lnTo>
                <a:lnTo>
                  <a:pt x="8775" y="6018"/>
                </a:lnTo>
                <a:lnTo>
                  <a:pt x="8791" y="5970"/>
                </a:lnTo>
                <a:lnTo>
                  <a:pt x="8808" y="5921"/>
                </a:lnTo>
                <a:lnTo>
                  <a:pt x="8823" y="5871"/>
                </a:lnTo>
                <a:lnTo>
                  <a:pt x="8839" y="5822"/>
                </a:lnTo>
                <a:lnTo>
                  <a:pt x="8852" y="5773"/>
                </a:lnTo>
                <a:lnTo>
                  <a:pt x="8867" y="5722"/>
                </a:lnTo>
                <a:lnTo>
                  <a:pt x="8880" y="5673"/>
                </a:lnTo>
                <a:lnTo>
                  <a:pt x="8894" y="5623"/>
                </a:lnTo>
                <a:lnTo>
                  <a:pt x="8906" y="5572"/>
                </a:lnTo>
                <a:lnTo>
                  <a:pt x="8918" y="5522"/>
                </a:lnTo>
                <a:lnTo>
                  <a:pt x="8929" y="5470"/>
                </a:lnTo>
                <a:lnTo>
                  <a:pt x="8940" y="5419"/>
                </a:lnTo>
                <a:lnTo>
                  <a:pt x="8950" y="5368"/>
                </a:lnTo>
                <a:lnTo>
                  <a:pt x="8959" y="5317"/>
                </a:lnTo>
                <a:lnTo>
                  <a:pt x="8968" y="5264"/>
                </a:lnTo>
                <a:lnTo>
                  <a:pt x="8977" y="5212"/>
                </a:lnTo>
                <a:lnTo>
                  <a:pt x="8984" y="5161"/>
                </a:lnTo>
                <a:lnTo>
                  <a:pt x="8992" y="5108"/>
                </a:lnTo>
                <a:lnTo>
                  <a:pt x="8998" y="5055"/>
                </a:lnTo>
                <a:lnTo>
                  <a:pt x="9005" y="5003"/>
                </a:lnTo>
                <a:lnTo>
                  <a:pt x="9009" y="4950"/>
                </a:lnTo>
                <a:lnTo>
                  <a:pt x="9014" y="4896"/>
                </a:lnTo>
                <a:lnTo>
                  <a:pt x="9019" y="4843"/>
                </a:lnTo>
                <a:lnTo>
                  <a:pt x="9022" y="4789"/>
                </a:lnTo>
                <a:lnTo>
                  <a:pt x="9025" y="4735"/>
                </a:lnTo>
                <a:lnTo>
                  <a:pt x="9027" y="4683"/>
                </a:lnTo>
                <a:lnTo>
                  <a:pt x="9029" y="4628"/>
                </a:lnTo>
                <a:lnTo>
                  <a:pt x="9030" y="4574"/>
                </a:lnTo>
                <a:lnTo>
                  <a:pt x="9030" y="4520"/>
                </a:lnTo>
                <a:lnTo>
                  <a:pt x="9024" y="4287"/>
                </a:lnTo>
                <a:lnTo>
                  <a:pt x="9007" y="4058"/>
                </a:lnTo>
                <a:lnTo>
                  <a:pt x="8978" y="3831"/>
                </a:lnTo>
                <a:lnTo>
                  <a:pt x="8938" y="3609"/>
                </a:lnTo>
                <a:lnTo>
                  <a:pt x="8888" y="3391"/>
                </a:lnTo>
                <a:lnTo>
                  <a:pt x="8827" y="3175"/>
                </a:lnTo>
                <a:lnTo>
                  <a:pt x="8756" y="2966"/>
                </a:lnTo>
                <a:lnTo>
                  <a:pt x="8675" y="2760"/>
                </a:lnTo>
                <a:lnTo>
                  <a:pt x="8584" y="2561"/>
                </a:lnTo>
                <a:lnTo>
                  <a:pt x="8485" y="2366"/>
                </a:lnTo>
                <a:lnTo>
                  <a:pt x="8376" y="2176"/>
                </a:lnTo>
                <a:lnTo>
                  <a:pt x="8259" y="1994"/>
                </a:lnTo>
                <a:lnTo>
                  <a:pt x="8133" y="1816"/>
                </a:lnTo>
                <a:lnTo>
                  <a:pt x="7999" y="1645"/>
                </a:lnTo>
                <a:lnTo>
                  <a:pt x="7857" y="1481"/>
                </a:lnTo>
                <a:lnTo>
                  <a:pt x="7707" y="1324"/>
                </a:lnTo>
                <a:lnTo>
                  <a:pt x="7551" y="1175"/>
                </a:lnTo>
                <a:lnTo>
                  <a:pt x="7386" y="1033"/>
                </a:lnTo>
                <a:lnTo>
                  <a:pt x="7217" y="899"/>
                </a:lnTo>
                <a:lnTo>
                  <a:pt x="7039" y="773"/>
                </a:lnTo>
                <a:lnTo>
                  <a:pt x="6856" y="655"/>
                </a:lnTo>
                <a:lnTo>
                  <a:pt x="6667" y="546"/>
                </a:lnTo>
                <a:lnTo>
                  <a:pt x="6472" y="446"/>
                </a:lnTo>
                <a:lnTo>
                  <a:pt x="6272" y="356"/>
                </a:lnTo>
                <a:lnTo>
                  <a:pt x="6067" y="275"/>
                </a:lnTo>
                <a:lnTo>
                  <a:pt x="5857" y="204"/>
                </a:lnTo>
                <a:lnTo>
                  <a:pt x="5643" y="144"/>
                </a:lnTo>
                <a:lnTo>
                  <a:pt x="5426" y="93"/>
                </a:lnTo>
                <a:lnTo>
                  <a:pt x="5202" y="53"/>
                </a:lnTo>
                <a:lnTo>
                  <a:pt x="4977" y="24"/>
                </a:lnTo>
                <a:lnTo>
                  <a:pt x="4748" y="7"/>
                </a:lnTo>
                <a:lnTo>
                  <a:pt x="4515" y="0"/>
                </a:lnTo>
                <a:lnTo>
                  <a:pt x="4282" y="7"/>
                </a:lnTo>
                <a:lnTo>
                  <a:pt x="4053" y="24"/>
                </a:lnTo>
                <a:lnTo>
                  <a:pt x="3828" y="53"/>
                </a:lnTo>
                <a:lnTo>
                  <a:pt x="3606" y="93"/>
                </a:lnTo>
                <a:lnTo>
                  <a:pt x="3387" y="144"/>
                </a:lnTo>
                <a:lnTo>
                  <a:pt x="3173" y="204"/>
                </a:lnTo>
                <a:lnTo>
                  <a:pt x="2963" y="275"/>
                </a:lnTo>
                <a:lnTo>
                  <a:pt x="2758" y="356"/>
                </a:lnTo>
                <a:lnTo>
                  <a:pt x="2558" y="446"/>
                </a:lnTo>
                <a:lnTo>
                  <a:pt x="2363" y="546"/>
                </a:lnTo>
                <a:lnTo>
                  <a:pt x="2174" y="655"/>
                </a:lnTo>
                <a:lnTo>
                  <a:pt x="1991" y="773"/>
                </a:lnTo>
                <a:lnTo>
                  <a:pt x="1814" y="899"/>
                </a:lnTo>
                <a:lnTo>
                  <a:pt x="1644" y="1033"/>
                </a:lnTo>
                <a:lnTo>
                  <a:pt x="1480" y="1175"/>
                </a:lnTo>
                <a:lnTo>
                  <a:pt x="1323" y="1324"/>
                </a:lnTo>
                <a:lnTo>
                  <a:pt x="1173" y="1481"/>
                </a:lnTo>
                <a:lnTo>
                  <a:pt x="1031" y="1645"/>
                </a:lnTo>
                <a:lnTo>
                  <a:pt x="897" y="1816"/>
                </a:lnTo>
                <a:lnTo>
                  <a:pt x="771" y="1994"/>
                </a:lnTo>
                <a:lnTo>
                  <a:pt x="654" y="2177"/>
                </a:lnTo>
                <a:lnTo>
                  <a:pt x="545" y="2366"/>
                </a:lnTo>
                <a:lnTo>
                  <a:pt x="446" y="2561"/>
                </a:lnTo>
                <a:lnTo>
                  <a:pt x="355" y="2760"/>
                </a:lnTo>
                <a:lnTo>
                  <a:pt x="274" y="2966"/>
                </a:lnTo>
                <a:lnTo>
                  <a:pt x="203" y="3175"/>
                </a:lnTo>
                <a:lnTo>
                  <a:pt x="142" y="3391"/>
                </a:lnTo>
                <a:lnTo>
                  <a:pt x="92" y="3609"/>
                </a:lnTo>
                <a:lnTo>
                  <a:pt x="52" y="3831"/>
                </a:lnTo>
                <a:lnTo>
                  <a:pt x="23" y="4058"/>
                </a:lnTo>
                <a:lnTo>
                  <a:pt x="6" y="4287"/>
                </a:lnTo>
                <a:lnTo>
                  <a:pt x="0" y="4520"/>
                </a:lnTo>
                <a:lnTo>
                  <a:pt x="0" y="4574"/>
                </a:lnTo>
                <a:lnTo>
                  <a:pt x="1" y="4628"/>
                </a:lnTo>
                <a:lnTo>
                  <a:pt x="3" y="4682"/>
                </a:lnTo>
                <a:lnTo>
                  <a:pt x="5" y="4735"/>
                </a:lnTo>
                <a:lnTo>
                  <a:pt x="8" y="4789"/>
                </a:lnTo>
                <a:lnTo>
                  <a:pt x="11" y="4843"/>
                </a:lnTo>
                <a:lnTo>
                  <a:pt x="16" y="4896"/>
                </a:lnTo>
                <a:lnTo>
                  <a:pt x="21" y="4950"/>
                </a:lnTo>
                <a:lnTo>
                  <a:pt x="25" y="5003"/>
                </a:lnTo>
                <a:lnTo>
                  <a:pt x="32" y="5055"/>
                </a:lnTo>
                <a:lnTo>
                  <a:pt x="38" y="5108"/>
                </a:lnTo>
                <a:lnTo>
                  <a:pt x="46" y="5161"/>
                </a:lnTo>
                <a:lnTo>
                  <a:pt x="53" y="5212"/>
                </a:lnTo>
                <a:lnTo>
                  <a:pt x="62" y="5264"/>
                </a:lnTo>
                <a:lnTo>
                  <a:pt x="71" y="5317"/>
                </a:lnTo>
                <a:lnTo>
                  <a:pt x="80" y="5368"/>
                </a:lnTo>
                <a:lnTo>
                  <a:pt x="90" y="5419"/>
                </a:lnTo>
                <a:lnTo>
                  <a:pt x="101" y="5470"/>
                </a:lnTo>
                <a:lnTo>
                  <a:pt x="112" y="5522"/>
                </a:lnTo>
                <a:lnTo>
                  <a:pt x="124" y="5572"/>
                </a:lnTo>
                <a:lnTo>
                  <a:pt x="136" y="5623"/>
                </a:lnTo>
                <a:lnTo>
                  <a:pt x="149" y="5673"/>
                </a:lnTo>
                <a:lnTo>
                  <a:pt x="163" y="5722"/>
                </a:lnTo>
                <a:lnTo>
                  <a:pt x="176" y="5773"/>
                </a:lnTo>
                <a:lnTo>
                  <a:pt x="191" y="5822"/>
                </a:lnTo>
                <a:lnTo>
                  <a:pt x="207" y="5871"/>
                </a:lnTo>
                <a:lnTo>
                  <a:pt x="222" y="5921"/>
                </a:lnTo>
                <a:lnTo>
                  <a:pt x="238" y="5970"/>
                </a:lnTo>
                <a:lnTo>
                  <a:pt x="255" y="6018"/>
                </a:lnTo>
                <a:lnTo>
                  <a:pt x="273" y="6066"/>
                </a:lnTo>
                <a:lnTo>
                  <a:pt x="291" y="6114"/>
                </a:lnTo>
                <a:lnTo>
                  <a:pt x="309" y="6163"/>
                </a:lnTo>
                <a:lnTo>
                  <a:pt x="373" y="6007"/>
                </a:lnTo>
                <a:lnTo>
                  <a:pt x="443" y="5853"/>
                </a:lnTo>
                <a:lnTo>
                  <a:pt x="519" y="5703"/>
                </a:lnTo>
                <a:lnTo>
                  <a:pt x="600" y="5556"/>
                </a:lnTo>
                <a:lnTo>
                  <a:pt x="686" y="5413"/>
                </a:lnTo>
                <a:lnTo>
                  <a:pt x="778" y="5272"/>
                </a:lnTo>
                <a:lnTo>
                  <a:pt x="874" y="5135"/>
                </a:lnTo>
                <a:lnTo>
                  <a:pt x="975" y="5004"/>
                </a:lnTo>
                <a:lnTo>
                  <a:pt x="1080" y="4874"/>
                </a:lnTo>
                <a:lnTo>
                  <a:pt x="1190" y="4750"/>
                </a:lnTo>
                <a:lnTo>
                  <a:pt x="1305" y="4630"/>
                </a:lnTo>
                <a:lnTo>
                  <a:pt x="1424" y="4513"/>
                </a:lnTo>
                <a:lnTo>
                  <a:pt x="1547" y="4402"/>
                </a:lnTo>
                <a:lnTo>
                  <a:pt x="1675" y="4294"/>
                </a:lnTo>
                <a:lnTo>
                  <a:pt x="1805" y="4192"/>
                </a:lnTo>
                <a:lnTo>
                  <a:pt x="1940" y="4094"/>
                </a:lnTo>
                <a:lnTo>
                  <a:pt x="2079" y="4001"/>
                </a:lnTo>
                <a:lnTo>
                  <a:pt x="2222" y="3914"/>
                </a:lnTo>
                <a:lnTo>
                  <a:pt x="2367" y="3831"/>
                </a:lnTo>
                <a:lnTo>
                  <a:pt x="2516" y="3753"/>
                </a:lnTo>
                <a:lnTo>
                  <a:pt x="2669" y="3681"/>
                </a:lnTo>
                <a:lnTo>
                  <a:pt x="2823" y="3616"/>
                </a:lnTo>
                <a:lnTo>
                  <a:pt x="2981" y="3555"/>
                </a:lnTo>
                <a:lnTo>
                  <a:pt x="3143" y="3500"/>
                </a:lnTo>
                <a:lnTo>
                  <a:pt x="3307" y="3451"/>
                </a:lnTo>
                <a:lnTo>
                  <a:pt x="3473" y="3408"/>
                </a:lnTo>
                <a:lnTo>
                  <a:pt x="3641" y="3371"/>
                </a:lnTo>
                <a:lnTo>
                  <a:pt x="3812" y="3342"/>
                </a:lnTo>
                <a:lnTo>
                  <a:pt x="3985" y="3318"/>
                </a:lnTo>
                <a:lnTo>
                  <a:pt x="4160" y="3301"/>
                </a:lnTo>
                <a:lnTo>
                  <a:pt x="4336" y="3291"/>
                </a:lnTo>
                <a:lnTo>
                  <a:pt x="4515" y="3288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1" name="任意多边形: 形状 40">
            <a:extLst>
              <a:ext uri="{FF2B5EF4-FFF2-40B4-BE49-F238E27FC236}">
                <a16:creationId xmlns:a16="http://schemas.microsoft.com/office/drawing/2014/main" id="{07C97420-F52C-48E9-AB7B-D6A12565DD1D}"/>
              </a:ext>
            </a:extLst>
          </p:cNvPr>
          <p:cNvSpPr/>
          <p:nvPr/>
        </p:nvSpPr>
        <p:spPr bwMode="auto">
          <a:xfrm rot="2534512">
            <a:off x="1239057" y="4822583"/>
            <a:ext cx="741217" cy="1311517"/>
          </a:xfrm>
          <a:custGeom>
            <a:avLst/>
            <a:gdLst>
              <a:gd name="T0" fmla="*/ 0 w 3363"/>
              <a:gd name="T1" fmla="*/ 3289 h 6013"/>
              <a:gd name="T2" fmla="*/ 260 w 3363"/>
              <a:gd name="T3" fmla="*/ 3366 h 6013"/>
              <a:gd name="T4" fmla="*/ 512 w 3363"/>
              <a:gd name="T5" fmla="*/ 3458 h 6013"/>
              <a:gd name="T6" fmla="*/ 757 w 3363"/>
              <a:gd name="T7" fmla="*/ 3563 h 6013"/>
              <a:gd name="T8" fmla="*/ 994 w 3363"/>
              <a:gd name="T9" fmla="*/ 3683 h 6013"/>
              <a:gd name="T10" fmla="*/ 1225 w 3363"/>
              <a:gd name="T11" fmla="*/ 3816 h 6013"/>
              <a:gd name="T12" fmla="*/ 1445 w 3363"/>
              <a:gd name="T13" fmla="*/ 3962 h 6013"/>
              <a:gd name="T14" fmla="*/ 1655 w 3363"/>
              <a:gd name="T15" fmla="*/ 4120 h 6013"/>
              <a:gd name="T16" fmla="*/ 1857 w 3363"/>
              <a:gd name="T17" fmla="*/ 4290 h 6013"/>
              <a:gd name="T18" fmla="*/ 2048 w 3363"/>
              <a:gd name="T19" fmla="*/ 4471 h 6013"/>
              <a:gd name="T20" fmla="*/ 2228 w 3363"/>
              <a:gd name="T21" fmla="*/ 4663 h 6013"/>
              <a:gd name="T22" fmla="*/ 2397 w 3363"/>
              <a:gd name="T23" fmla="*/ 4865 h 6013"/>
              <a:gd name="T24" fmla="*/ 2554 w 3363"/>
              <a:gd name="T25" fmla="*/ 5077 h 6013"/>
              <a:gd name="T26" fmla="*/ 2699 w 3363"/>
              <a:gd name="T27" fmla="*/ 5298 h 6013"/>
              <a:gd name="T28" fmla="*/ 2830 w 3363"/>
              <a:gd name="T29" fmla="*/ 5529 h 6013"/>
              <a:gd name="T30" fmla="*/ 2948 w 3363"/>
              <a:gd name="T31" fmla="*/ 5766 h 6013"/>
              <a:gd name="T32" fmla="*/ 3054 w 3363"/>
              <a:gd name="T33" fmla="*/ 6013 h 6013"/>
              <a:gd name="T34" fmla="*/ 3089 w 3363"/>
              <a:gd name="T35" fmla="*/ 5916 h 6013"/>
              <a:gd name="T36" fmla="*/ 3124 w 3363"/>
              <a:gd name="T37" fmla="*/ 5820 h 6013"/>
              <a:gd name="T38" fmla="*/ 3156 w 3363"/>
              <a:gd name="T39" fmla="*/ 5721 h 6013"/>
              <a:gd name="T40" fmla="*/ 3185 w 3363"/>
              <a:gd name="T41" fmla="*/ 5623 h 6013"/>
              <a:gd name="T42" fmla="*/ 3213 w 3363"/>
              <a:gd name="T43" fmla="*/ 5523 h 6013"/>
              <a:gd name="T44" fmla="*/ 3239 w 3363"/>
              <a:gd name="T45" fmla="*/ 5422 h 6013"/>
              <a:gd name="T46" fmla="*/ 3262 w 3363"/>
              <a:gd name="T47" fmla="*/ 5320 h 6013"/>
              <a:gd name="T48" fmla="*/ 3283 w 3363"/>
              <a:gd name="T49" fmla="*/ 5218 h 6013"/>
              <a:gd name="T50" fmla="*/ 3301 w 3363"/>
              <a:gd name="T51" fmla="*/ 5114 h 6013"/>
              <a:gd name="T52" fmla="*/ 3317 w 3363"/>
              <a:gd name="T53" fmla="*/ 5011 h 6013"/>
              <a:gd name="T54" fmla="*/ 3331 w 3363"/>
              <a:gd name="T55" fmla="*/ 4905 h 6013"/>
              <a:gd name="T56" fmla="*/ 3342 w 3363"/>
              <a:gd name="T57" fmla="*/ 4800 h 6013"/>
              <a:gd name="T58" fmla="*/ 3352 w 3363"/>
              <a:gd name="T59" fmla="*/ 4693 h 6013"/>
              <a:gd name="T60" fmla="*/ 3358 w 3363"/>
              <a:gd name="T61" fmla="*/ 4585 h 6013"/>
              <a:gd name="T62" fmla="*/ 3362 w 3363"/>
              <a:gd name="T63" fmla="*/ 4478 h 6013"/>
              <a:gd name="T64" fmla="*/ 3363 w 3363"/>
              <a:gd name="T65" fmla="*/ 4370 h 6013"/>
              <a:gd name="T66" fmla="*/ 3347 w 3363"/>
              <a:gd name="T67" fmla="*/ 3980 h 6013"/>
              <a:gd name="T68" fmla="*/ 3298 w 3363"/>
              <a:gd name="T69" fmla="*/ 3601 h 6013"/>
              <a:gd name="T70" fmla="*/ 3219 w 3363"/>
              <a:gd name="T71" fmla="*/ 3232 h 6013"/>
              <a:gd name="T72" fmla="*/ 3110 w 3363"/>
              <a:gd name="T73" fmla="*/ 2874 h 6013"/>
              <a:gd name="T74" fmla="*/ 2972 w 3363"/>
              <a:gd name="T75" fmla="*/ 2530 h 6013"/>
              <a:gd name="T76" fmla="*/ 2810 w 3363"/>
              <a:gd name="T77" fmla="*/ 2200 h 6013"/>
              <a:gd name="T78" fmla="*/ 2621 w 3363"/>
              <a:gd name="T79" fmla="*/ 1886 h 6013"/>
              <a:gd name="T80" fmla="*/ 2408 w 3363"/>
              <a:gd name="T81" fmla="*/ 1590 h 6013"/>
              <a:gd name="T82" fmla="*/ 2172 w 3363"/>
              <a:gd name="T83" fmla="*/ 1312 h 6013"/>
              <a:gd name="T84" fmla="*/ 1915 w 3363"/>
              <a:gd name="T85" fmla="*/ 1054 h 6013"/>
              <a:gd name="T86" fmla="*/ 1638 w 3363"/>
              <a:gd name="T87" fmla="*/ 818 h 6013"/>
              <a:gd name="T88" fmla="*/ 1343 w 3363"/>
              <a:gd name="T89" fmla="*/ 603 h 6013"/>
              <a:gd name="T90" fmla="*/ 1030 w 3363"/>
              <a:gd name="T91" fmla="*/ 413 h 6013"/>
              <a:gd name="T92" fmla="*/ 701 w 3363"/>
              <a:gd name="T93" fmla="*/ 248 h 6013"/>
              <a:gd name="T94" fmla="*/ 358 w 3363"/>
              <a:gd name="T95" fmla="*/ 110 h 6013"/>
              <a:gd name="T96" fmla="*/ 0 w 3363"/>
              <a:gd name="T97" fmla="*/ 0 h 60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363" h="6013">
                <a:moveTo>
                  <a:pt x="0" y="0"/>
                </a:moveTo>
                <a:lnTo>
                  <a:pt x="0" y="3289"/>
                </a:lnTo>
                <a:lnTo>
                  <a:pt x="131" y="3326"/>
                </a:lnTo>
                <a:lnTo>
                  <a:pt x="260" y="3366"/>
                </a:lnTo>
                <a:lnTo>
                  <a:pt x="387" y="3409"/>
                </a:lnTo>
                <a:lnTo>
                  <a:pt x="512" y="3458"/>
                </a:lnTo>
                <a:lnTo>
                  <a:pt x="636" y="3509"/>
                </a:lnTo>
                <a:lnTo>
                  <a:pt x="757" y="3563"/>
                </a:lnTo>
                <a:lnTo>
                  <a:pt x="878" y="3621"/>
                </a:lnTo>
                <a:lnTo>
                  <a:pt x="994" y="3683"/>
                </a:lnTo>
                <a:lnTo>
                  <a:pt x="1110" y="3748"/>
                </a:lnTo>
                <a:lnTo>
                  <a:pt x="1225" y="3816"/>
                </a:lnTo>
                <a:lnTo>
                  <a:pt x="1336" y="3887"/>
                </a:lnTo>
                <a:lnTo>
                  <a:pt x="1445" y="3962"/>
                </a:lnTo>
                <a:lnTo>
                  <a:pt x="1551" y="4040"/>
                </a:lnTo>
                <a:lnTo>
                  <a:pt x="1655" y="4120"/>
                </a:lnTo>
                <a:lnTo>
                  <a:pt x="1757" y="4204"/>
                </a:lnTo>
                <a:lnTo>
                  <a:pt x="1857" y="4290"/>
                </a:lnTo>
                <a:lnTo>
                  <a:pt x="1954" y="4379"/>
                </a:lnTo>
                <a:lnTo>
                  <a:pt x="2048" y="4471"/>
                </a:lnTo>
                <a:lnTo>
                  <a:pt x="2140" y="4566"/>
                </a:lnTo>
                <a:lnTo>
                  <a:pt x="2228" y="4663"/>
                </a:lnTo>
                <a:lnTo>
                  <a:pt x="2314" y="4763"/>
                </a:lnTo>
                <a:lnTo>
                  <a:pt x="2397" y="4865"/>
                </a:lnTo>
                <a:lnTo>
                  <a:pt x="2476" y="4969"/>
                </a:lnTo>
                <a:lnTo>
                  <a:pt x="2554" y="5077"/>
                </a:lnTo>
                <a:lnTo>
                  <a:pt x="2628" y="5186"/>
                </a:lnTo>
                <a:lnTo>
                  <a:pt x="2699" y="5298"/>
                </a:lnTo>
                <a:lnTo>
                  <a:pt x="2766" y="5412"/>
                </a:lnTo>
                <a:lnTo>
                  <a:pt x="2830" y="5529"/>
                </a:lnTo>
                <a:lnTo>
                  <a:pt x="2891" y="5647"/>
                </a:lnTo>
                <a:lnTo>
                  <a:pt x="2948" y="5766"/>
                </a:lnTo>
                <a:lnTo>
                  <a:pt x="3003" y="5889"/>
                </a:lnTo>
                <a:lnTo>
                  <a:pt x="3054" y="6013"/>
                </a:lnTo>
                <a:lnTo>
                  <a:pt x="3072" y="5964"/>
                </a:lnTo>
                <a:lnTo>
                  <a:pt x="3089" y="5916"/>
                </a:lnTo>
                <a:lnTo>
                  <a:pt x="3108" y="5868"/>
                </a:lnTo>
                <a:lnTo>
                  <a:pt x="3124" y="5820"/>
                </a:lnTo>
                <a:lnTo>
                  <a:pt x="3141" y="5771"/>
                </a:lnTo>
                <a:lnTo>
                  <a:pt x="3156" y="5721"/>
                </a:lnTo>
                <a:lnTo>
                  <a:pt x="3172" y="5672"/>
                </a:lnTo>
                <a:lnTo>
                  <a:pt x="3185" y="5623"/>
                </a:lnTo>
                <a:lnTo>
                  <a:pt x="3200" y="5572"/>
                </a:lnTo>
                <a:lnTo>
                  <a:pt x="3213" y="5523"/>
                </a:lnTo>
                <a:lnTo>
                  <a:pt x="3227" y="5473"/>
                </a:lnTo>
                <a:lnTo>
                  <a:pt x="3239" y="5422"/>
                </a:lnTo>
                <a:lnTo>
                  <a:pt x="3251" y="5372"/>
                </a:lnTo>
                <a:lnTo>
                  <a:pt x="3262" y="5320"/>
                </a:lnTo>
                <a:lnTo>
                  <a:pt x="3273" y="5269"/>
                </a:lnTo>
                <a:lnTo>
                  <a:pt x="3283" y="5218"/>
                </a:lnTo>
                <a:lnTo>
                  <a:pt x="3292" y="5167"/>
                </a:lnTo>
                <a:lnTo>
                  <a:pt x="3301" y="5114"/>
                </a:lnTo>
                <a:lnTo>
                  <a:pt x="3310" y="5062"/>
                </a:lnTo>
                <a:lnTo>
                  <a:pt x="3317" y="5011"/>
                </a:lnTo>
                <a:lnTo>
                  <a:pt x="3325" y="4958"/>
                </a:lnTo>
                <a:lnTo>
                  <a:pt x="3331" y="4905"/>
                </a:lnTo>
                <a:lnTo>
                  <a:pt x="3338" y="4853"/>
                </a:lnTo>
                <a:lnTo>
                  <a:pt x="3342" y="4800"/>
                </a:lnTo>
                <a:lnTo>
                  <a:pt x="3347" y="4746"/>
                </a:lnTo>
                <a:lnTo>
                  <a:pt x="3352" y="4693"/>
                </a:lnTo>
                <a:lnTo>
                  <a:pt x="3355" y="4639"/>
                </a:lnTo>
                <a:lnTo>
                  <a:pt x="3358" y="4585"/>
                </a:lnTo>
                <a:lnTo>
                  <a:pt x="3360" y="4533"/>
                </a:lnTo>
                <a:lnTo>
                  <a:pt x="3362" y="4478"/>
                </a:lnTo>
                <a:lnTo>
                  <a:pt x="3363" y="4424"/>
                </a:lnTo>
                <a:lnTo>
                  <a:pt x="3363" y="4370"/>
                </a:lnTo>
                <a:lnTo>
                  <a:pt x="3358" y="4174"/>
                </a:lnTo>
                <a:lnTo>
                  <a:pt x="3347" y="3980"/>
                </a:lnTo>
                <a:lnTo>
                  <a:pt x="3326" y="3790"/>
                </a:lnTo>
                <a:lnTo>
                  <a:pt x="3298" y="3601"/>
                </a:lnTo>
                <a:lnTo>
                  <a:pt x="3262" y="3415"/>
                </a:lnTo>
                <a:lnTo>
                  <a:pt x="3219" y="3232"/>
                </a:lnTo>
                <a:lnTo>
                  <a:pt x="3167" y="3052"/>
                </a:lnTo>
                <a:lnTo>
                  <a:pt x="3110" y="2874"/>
                </a:lnTo>
                <a:lnTo>
                  <a:pt x="3045" y="2700"/>
                </a:lnTo>
                <a:lnTo>
                  <a:pt x="2972" y="2530"/>
                </a:lnTo>
                <a:lnTo>
                  <a:pt x="2895" y="2363"/>
                </a:lnTo>
                <a:lnTo>
                  <a:pt x="2810" y="2200"/>
                </a:lnTo>
                <a:lnTo>
                  <a:pt x="2718" y="2041"/>
                </a:lnTo>
                <a:lnTo>
                  <a:pt x="2621" y="1886"/>
                </a:lnTo>
                <a:lnTo>
                  <a:pt x="2517" y="1736"/>
                </a:lnTo>
                <a:lnTo>
                  <a:pt x="2408" y="1590"/>
                </a:lnTo>
                <a:lnTo>
                  <a:pt x="2292" y="1448"/>
                </a:lnTo>
                <a:lnTo>
                  <a:pt x="2172" y="1312"/>
                </a:lnTo>
                <a:lnTo>
                  <a:pt x="2046" y="1180"/>
                </a:lnTo>
                <a:lnTo>
                  <a:pt x="1915" y="1054"/>
                </a:lnTo>
                <a:lnTo>
                  <a:pt x="1779" y="932"/>
                </a:lnTo>
                <a:lnTo>
                  <a:pt x="1638" y="818"/>
                </a:lnTo>
                <a:lnTo>
                  <a:pt x="1493" y="708"/>
                </a:lnTo>
                <a:lnTo>
                  <a:pt x="1343" y="603"/>
                </a:lnTo>
                <a:lnTo>
                  <a:pt x="1188" y="505"/>
                </a:lnTo>
                <a:lnTo>
                  <a:pt x="1030" y="413"/>
                </a:lnTo>
                <a:lnTo>
                  <a:pt x="867" y="327"/>
                </a:lnTo>
                <a:lnTo>
                  <a:pt x="701" y="248"/>
                </a:lnTo>
                <a:lnTo>
                  <a:pt x="531" y="176"/>
                </a:lnTo>
                <a:lnTo>
                  <a:pt x="358" y="110"/>
                </a:lnTo>
                <a:lnTo>
                  <a:pt x="180" y="52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2" name="任意多边形: 形状 41">
            <a:extLst>
              <a:ext uri="{FF2B5EF4-FFF2-40B4-BE49-F238E27FC236}">
                <a16:creationId xmlns:a16="http://schemas.microsoft.com/office/drawing/2014/main" id="{F6BE21CF-EBCC-4DD2-98B2-D6FEE6D8103D}"/>
              </a:ext>
            </a:extLst>
          </p:cNvPr>
          <p:cNvSpPr/>
          <p:nvPr/>
        </p:nvSpPr>
        <p:spPr bwMode="auto">
          <a:xfrm rot="2534512">
            <a:off x="1370146" y="2681699"/>
            <a:ext cx="1229120" cy="2911088"/>
          </a:xfrm>
          <a:custGeom>
            <a:avLst/>
            <a:gdLst>
              <a:gd name="T0" fmla="*/ 2996 w 5578"/>
              <a:gd name="T1" fmla="*/ 13097 h 13340"/>
              <a:gd name="T2" fmla="*/ 3303 w 5578"/>
              <a:gd name="T3" fmla="*/ 13119 h 13340"/>
              <a:gd name="T4" fmla="*/ 3606 w 5578"/>
              <a:gd name="T5" fmla="*/ 13157 h 13340"/>
              <a:gd name="T6" fmla="*/ 3901 w 5578"/>
              <a:gd name="T7" fmla="*/ 13212 h 13340"/>
              <a:gd name="T8" fmla="*/ 4192 w 5578"/>
              <a:gd name="T9" fmla="*/ 13284 h 13340"/>
              <a:gd name="T10" fmla="*/ 4451 w 5578"/>
              <a:gd name="T11" fmla="*/ 13197 h 13340"/>
              <a:gd name="T12" fmla="*/ 4648 w 5578"/>
              <a:gd name="T13" fmla="*/ 12753 h 13340"/>
              <a:gd name="T14" fmla="*/ 4828 w 5578"/>
              <a:gd name="T15" fmla="*/ 12288 h 13340"/>
              <a:gd name="T16" fmla="*/ 4990 w 5578"/>
              <a:gd name="T17" fmla="*/ 11803 h 13340"/>
              <a:gd name="T18" fmla="*/ 5135 w 5578"/>
              <a:gd name="T19" fmla="*/ 11299 h 13340"/>
              <a:gd name="T20" fmla="*/ 5260 w 5578"/>
              <a:gd name="T21" fmla="*/ 10777 h 13340"/>
              <a:gd name="T22" fmla="*/ 5366 w 5578"/>
              <a:gd name="T23" fmla="*/ 10239 h 13340"/>
              <a:gd name="T24" fmla="*/ 5451 w 5578"/>
              <a:gd name="T25" fmla="*/ 9686 h 13340"/>
              <a:gd name="T26" fmla="*/ 5515 w 5578"/>
              <a:gd name="T27" fmla="*/ 9118 h 13340"/>
              <a:gd name="T28" fmla="*/ 5557 w 5578"/>
              <a:gd name="T29" fmla="*/ 8540 h 13340"/>
              <a:gd name="T30" fmla="*/ 5577 w 5578"/>
              <a:gd name="T31" fmla="*/ 7949 h 13340"/>
              <a:gd name="T32" fmla="*/ 5565 w 5578"/>
              <a:gd name="T33" fmla="*/ 7121 h 13340"/>
              <a:gd name="T34" fmla="*/ 5498 w 5578"/>
              <a:gd name="T35" fmla="*/ 6201 h 13340"/>
              <a:gd name="T36" fmla="*/ 5375 w 5578"/>
              <a:gd name="T37" fmla="*/ 5314 h 13340"/>
              <a:gd name="T38" fmla="*/ 5201 w 5578"/>
              <a:gd name="T39" fmla="*/ 4463 h 13340"/>
              <a:gd name="T40" fmla="*/ 4978 w 5578"/>
              <a:gd name="T41" fmla="*/ 3657 h 13340"/>
              <a:gd name="T42" fmla="*/ 4710 w 5578"/>
              <a:gd name="T43" fmla="*/ 2898 h 13340"/>
              <a:gd name="T44" fmla="*/ 4399 w 5578"/>
              <a:gd name="T45" fmla="*/ 2192 h 13340"/>
              <a:gd name="T46" fmla="*/ 4048 w 5578"/>
              <a:gd name="T47" fmla="*/ 1544 h 13340"/>
              <a:gd name="T48" fmla="*/ 3661 w 5578"/>
              <a:gd name="T49" fmla="*/ 959 h 13340"/>
              <a:gd name="T50" fmla="*/ 3240 w 5578"/>
              <a:gd name="T51" fmla="*/ 442 h 13340"/>
              <a:gd name="T52" fmla="*/ 2789 w 5578"/>
              <a:gd name="T53" fmla="*/ 0 h 13340"/>
              <a:gd name="T54" fmla="*/ 2338 w 5578"/>
              <a:gd name="T55" fmla="*/ 442 h 13340"/>
              <a:gd name="T56" fmla="*/ 1917 w 5578"/>
              <a:gd name="T57" fmla="*/ 959 h 13340"/>
              <a:gd name="T58" fmla="*/ 1530 w 5578"/>
              <a:gd name="T59" fmla="*/ 1544 h 13340"/>
              <a:gd name="T60" fmla="*/ 1179 w 5578"/>
              <a:gd name="T61" fmla="*/ 2192 h 13340"/>
              <a:gd name="T62" fmla="*/ 868 w 5578"/>
              <a:gd name="T63" fmla="*/ 2898 h 13340"/>
              <a:gd name="T64" fmla="*/ 599 w 5578"/>
              <a:gd name="T65" fmla="*/ 3657 h 13340"/>
              <a:gd name="T66" fmla="*/ 377 w 5578"/>
              <a:gd name="T67" fmla="*/ 4463 h 13340"/>
              <a:gd name="T68" fmla="*/ 203 w 5578"/>
              <a:gd name="T69" fmla="*/ 5314 h 13340"/>
              <a:gd name="T70" fmla="*/ 80 w 5578"/>
              <a:gd name="T71" fmla="*/ 6201 h 13340"/>
              <a:gd name="T72" fmla="*/ 13 w 5578"/>
              <a:gd name="T73" fmla="*/ 7121 h 13340"/>
              <a:gd name="T74" fmla="*/ 1 w 5578"/>
              <a:gd name="T75" fmla="*/ 7949 h 13340"/>
              <a:gd name="T76" fmla="*/ 21 w 5578"/>
              <a:gd name="T77" fmla="*/ 8540 h 13340"/>
              <a:gd name="T78" fmla="*/ 63 w 5578"/>
              <a:gd name="T79" fmla="*/ 9118 h 13340"/>
              <a:gd name="T80" fmla="*/ 127 w 5578"/>
              <a:gd name="T81" fmla="*/ 9686 h 13340"/>
              <a:gd name="T82" fmla="*/ 212 w 5578"/>
              <a:gd name="T83" fmla="*/ 10238 h 13340"/>
              <a:gd name="T84" fmla="*/ 318 w 5578"/>
              <a:gd name="T85" fmla="*/ 10777 h 13340"/>
              <a:gd name="T86" fmla="*/ 443 w 5578"/>
              <a:gd name="T87" fmla="*/ 11299 h 13340"/>
              <a:gd name="T88" fmla="*/ 588 w 5578"/>
              <a:gd name="T89" fmla="*/ 11803 h 13340"/>
              <a:gd name="T90" fmla="*/ 750 w 5578"/>
              <a:gd name="T91" fmla="*/ 12288 h 13340"/>
              <a:gd name="T92" fmla="*/ 930 w 5578"/>
              <a:gd name="T93" fmla="*/ 12753 h 13340"/>
              <a:gd name="T94" fmla="*/ 1127 w 5578"/>
              <a:gd name="T95" fmla="*/ 13197 h 13340"/>
              <a:gd name="T96" fmla="*/ 1386 w 5578"/>
              <a:gd name="T97" fmla="*/ 13284 h 13340"/>
              <a:gd name="T98" fmla="*/ 1677 w 5578"/>
              <a:gd name="T99" fmla="*/ 13212 h 13340"/>
              <a:gd name="T100" fmla="*/ 1972 w 5578"/>
              <a:gd name="T101" fmla="*/ 13157 h 13340"/>
              <a:gd name="T102" fmla="*/ 2275 w 5578"/>
              <a:gd name="T103" fmla="*/ 13119 h 13340"/>
              <a:gd name="T104" fmla="*/ 2582 w 5578"/>
              <a:gd name="T105" fmla="*/ 13097 h 13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578" h="13340">
                <a:moveTo>
                  <a:pt x="2789" y="13094"/>
                </a:moveTo>
                <a:lnTo>
                  <a:pt x="2893" y="13095"/>
                </a:lnTo>
                <a:lnTo>
                  <a:pt x="2996" y="13097"/>
                </a:lnTo>
                <a:lnTo>
                  <a:pt x="3099" y="13103"/>
                </a:lnTo>
                <a:lnTo>
                  <a:pt x="3201" y="13110"/>
                </a:lnTo>
                <a:lnTo>
                  <a:pt x="3303" y="13119"/>
                </a:lnTo>
                <a:lnTo>
                  <a:pt x="3404" y="13129"/>
                </a:lnTo>
                <a:lnTo>
                  <a:pt x="3505" y="13142"/>
                </a:lnTo>
                <a:lnTo>
                  <a:pt x="3606" y="13157"/>
                </a:lnTo>
                <a:lnTo>
                  <a:pt x="3705" y="13174"/>
                </a:lnTo>
                <a:lnTo>
                  <a:pt x="3804" y="13192"/>
                </a:lnTo>
                <a:lnTo>
                  <a:pt x="3901" y="13212"/>
                </a:lnTo>
                <a:lnTo>
                  <a:pt x="4000" y="13235"/>
                </a:lnTo>
                <a:lnTo>
                  <a:pt x="4096" y="13258"/>
                </a:lnTo>
                <a:lnTo>
                  <a:pt x="4192" y="13284"/>
                </a:lnTo>
                <a:lnTo>
                  <a:pt x="4287" y="13311"/>
                </a:lnTo>
                <a:lnTo>
                  <a:pt x="4382" y="13340"/>
                </a:lnTo>
                <a:lnTo>
                  <a:pt x="4451" y="13197"/>
                </a:lnTo>
                <a:lnTo>
                  <a:pt x="4518" y="13051"/>
                </a:lnTo>
                <a:lnTo>
                  <a:pt x="4584" y="12903"/>
                </a:lnTo>
                <a:lnTo>
                  <a:pt x="4648" y="12753"/>
                </a:lnTo>
                <a:lnTo>
                  <a:pt x="4710" y="12601"/>
                </a:lnTo>
                <a:lnTo>
                  <a:pt x="4769" y="12446"/>
                </a:lnTo>
                <a:lnTo>
                  <a:pt x="4828" y="12288"/>
                </a:lnTo>
                <a:lnTo>
                  <a:pt x="4884" y="12128"/>
                </a:lnTo>
                <a:lnTo>
                  <a:pt x="4938" y="11967"/>
                </a:lnTo>
                <a:lnTo>
                  <a:pt x="4990" y="11803"/>
                </a:lnTo>
                <a:lnTo>
                  <a:pt x="5040" y="11637"/>
                </a:lnTo>
                <a:lnTo>
                  <a:pt x="5088" y="11468"/>
                </a:lnTo>
                <a:lnTo>
                  <a:pt x="5135" y="11299"/>
                </a:lnTo>
                <a:lnTo>
                  <a:pt x="5178" y="11127"/>
                </a:lnTo>
                <a:lnTo>
                  <a:pt x="5221" y="10952"/>
                </a:lnTo>
                <a:lnTo>
                  <a:pt x="5260" y="10777"/>
                </a:lnTo>
                <a:lnTo>
                  <a:pt x="5297" y="10599"/>
                </a:lnTo>
                <a:lnTo>
                  <a:pt x="5333" y="10419"/>
                </a:lnTo>
                <a:lnTo>
                  <a:pt x="5366" y="10239"/>
                </a:lnTo>
                <a:lnTo>
                  <a:pt x="5396" y="10056"/>
                </a:lnTo>
                <a:lnTo>
                  <a:pt x="5424" y="9872"/>
                </a:lnTo>
                <a:lnTo>
                  <a:pt x="5451" y="9686"/>
                </a:lnTo>
                <a:lnTo>
                  <a:pt x="5475" y="9498"/>
                </a:lnTo>
                <a:lnTo>
                  <a:pt x="5497" y="9310"/>
                </a:lnTo>
                <a:lnTo>
                  <a:pt x="5515" y="9118"/>
                </a:lnTo>
                <a:lnTo>
                  <a:pt x="5532" y="8927"/>
                </a:lnTo>
                <a:lnTo>
                  <a:pt x="5546" y="8734"/>
                </a:lnTo>
                <a:lnTo>
                  <a:pt x="5557" y="8540"/>
                </a:lnTo>
                <a:lnTo>
                  <a:pt x="5566" y="8344"/>
                </a:lnTo>
                <a:lnTo>
                  <a:pt x="5573" y="8148"/>
                </a:lnTo>
                <a:lnTo>
                  <a:pt x="5577" y="7949"/>
                </a:lnTo>
                <a:lnTo>
                  <a:pt x="5578" y="7750"/>
                </a:lnTo>
                <a:lnTo>
                  <a:pt x="5575" y="7435"/>
                </a:lnTo>
                <a:lnTo>
                  <a:pt x="5565" y="7121"/>
                </a:lnTo>
                <a:lnTo>
                  <a:pt x="5549" y="6811"/>
                </a:lnTo>
                <a:lnTo>
                  <a:pt x="5526" y="6505"/>
                </a:lnTo>
                <a:lnTo>
                  <a:pt x="5498" y="6201"/>
                </a:lnTo>
                <a:lnTo>
                  <a:pt x="5462" y="5901"/>
                </a:lnTo>
                <a:lnTo>
                  <a:pt x="5422" y="5605"/>
                </a:lnTo>
                <a:lnTo>
                  <a:pt x="5375" y="5314"/>
                </a:lnTo>
                <a:lnTo>
                  <a:pt x="5323" y="5026"/>
                </a:lnTo>
                <a:lnTo>
                  <a:pt x="5264" y="4742"/>
                </a:lnTo>
                <a:lnTo>
                  <a:pt x="5201" y="4463"/>
                </a:lnTo>
                <a:lnTo>
                  <a:pt x="5132" y="4190"/>
                </a:lnTo>
                <a:lnTo>
                  <a:pt x="5058" y="3920"/>
                </a:lnTo>
                <a:lnTo>
                  <a:pt x="4978" y="3657"/>
                </a:lnTo>
                <a:lnTo>
                  <a:pt x="4894" y="3399"/>
                </a:lnTo>
                <a:lnTo>
                  <a:pt x="4804" y="3145"/>
                </a:lnTo>
                <a:lnTo>
                  <a:pt x="4710" y="2898"/>
                </a:lnTo>
                <a:lnTo>
                  <a:pt x="4611" y="2656"/>
                </a:lnTo>
                <a:lnTo>
                  <a:pt x="4507" y="2421"/>
                </a:lnTo>
                <a:lnTo>
                  <a:pt x="4399" y="2192"/>
                </a:lnTo>
                <a:lnTo>
                  <a:pt x="4286" y="1969"/>
                </a:lnTo>
                <a:lnTo>
                  <a:pt x="4169" y="1753"/>
                </a:lnTo>
                <a:lnTo>
                  <a:pt x="4048" y="1544"/>
                </a:lnTo>
                <a:lnTo>
                  <a:pt x="3923" y="1341"/>
                </a:lnTo>
                <a:lnTo>
                  <a:pt x="3793" y="1146"/>
                </a:lnTo>
                <a:lnTo>
                  <a:pt x="3661" y="959"/>
                </a:lnTo>
                <a:lnTo>
                  <a:pt x="3524" y="779"/>
                </a:lnTo>
                <a:lnTo>
                  <a:pt x="3385" y="606"/>
                </a:lnTo>
                <a:lnTo>
                  <a:pt x="3240" y="442"/>
                </a:lnTo>
                <a:lnTo>
                  <a:pt x="3094" y="287"/>
                </a:lnTo>
                <a:lnTo>
                  <a:pt x="2942" y="139"/>
                </a:lnTo>
                <a:lnTo>
                  <a:pt x="2789" y="0"/>
                </a:lnTo>
                <a:lnTo>
                  <a:pt x="2636" y="139"/>
                </a:lnTo>
                <a:lnTo>
                  <a:pt x="2485" y="287"/>
                </a:lnTo>
                <a:lnTo>
                  <a:pt x="2338" y="442"/>
                </a:lnTo>
                <a:lnTo>
                  <a:pt x="2195" y="606"/>
                </a:lnTo>
                <a:lnTo>
                  <a:pt x="2054" y="779"/>
                </a:lnTo>
                <a:lnTo>
                  <a:pt x="1917" y="959"/>
                </a:lnTo>
                <a:lnTo>
                  <a:pt x="1785" y="1146"/>
                </a:lnTo>
                <a:lnTo>
                  <a:pt x="1655" y="1341"/>
                </a:lnTo>
                <a:lnTo>
                  <a:pt x="1530" y="1544"/>
                </a:lnTo>
                <a:lnTo>
                  <a:pt x="1409" y="1753"/>
                </a:lnTo>
                <a:lnTo>
                  <a:pt x="1292" y="1969"/>
                </a:lnTo>
                <a:lnTo>
                  <a:pt x="1179" y="2192"/>
                </a:lnTo>
                <a:lnTo>
                  <a:pt x="1071" y="2421"/>
                </a:lnTo>
                <a:lnTo>
                  <a:pt x="967" y="2656"/>
                </a:lnTo>
                <a:lnTo>
                  <a:pt x="868" y="2898"/>
                </a:lnTo>
                <a:lnTo>
                  <a:pt x="773" y="3145"/>
                </a:lnTo>
                <a:lnTo>
                  <a:pt x="684" y="3399"/>
                </a:lnTo>
                <a:lnTo>
                  <a:pt x="599" y="3657"/>
                </a:lnTo>
                <a:lnTo>
                  <a:pt x="520" y="3920"/>
                </a:lnTo>
                <a:lnTo>
                  <a:pt x="446" y="4190"/>
                </a:lnTo>
                <a:lnTo>
                  <a:pt x="377" y="4463"/>
                </a:lnTo>
                <a:lnTo>
                  <a:pt x="313" y="4742"/>
                </a:lnTo>
                <a:lnTo>
                  <a:pt x="255" y="5026"/>
                </a:lnTo>
                <a:lnTo>
                  <a:pt x="203" y="5314"/>
                </a:lnTo>
                <a:lnTo>
                  <a:pt x="156" y="5605"/>
                </a:lnTo>
                <a:lnTo>
                  <a:pt x="116" y="5901"/>
                </a:lnTo>
                <a:lnTo>
                  <a:pt x="80" y="6201"/>
                </a:lnTo>
                <a:lnTo>
                  <a:pt x="52" y="6504"/>
                </a:lnTo>
                <a:lnTo>
                  <a:pt x="29" y="6811"/>
                </a:lnTo>
                <a:lnTo>
                  <a:pt x="13" y="7121"/>
                </a:lnTo>
                <a:lnTo>
                  <a:pt x="3" y="7433"/>
                </a:lnTo>
                <a:lnTo>
                  <a:pt x="0" y="7750"/>
                </a:lnTo>
                <a:lnTo>
                  <a:pt x="1" y="7949"/>
                </a:lnTo>
                <a:lnTo>
                  <a:pt x="5" y="8146"/>
                </a:lnTo>
                <a:lnTo>
                  <a:pt x="12" y="8344"/>
                </a:lnTo>
                <a:lnTo>
                  <a:pt x="21" y="8540"/>
                </a:lnTo>
                <a:lnTo>
                  <a:pt x="32" y="8734"/>
                </a:lnTo>
                <a:lnTo>
                  <a:pt x="46" y="8927"/>
                </a:lnTo>
                <a:lnTo>
                  <a:pt x="63" y="9118"/>
                </a:lnTo>
                <a:lnTo>
                  <a:pt x="81" y="9309"/>
                </a:lnTo>
                <a:lnTo>
                  <a:pt x="103" y="9498"/>
                </a:lnTo>
                <a:lnTo>
                  <a:pt x="127" y="9686"/>
                </a:lnTo>
                <a:lnTo>
                  <a:pt x="154" y="9872"/>
                </a:lnTo>
                <a:lnTo>
                  <a:pt x="181" y="10056"/>
                </a:lnTo>
                <a:lnTo>
                  <a:pt x="212" y="10238"/>
                </a:lnTo>
                <a:lnTo>
                  <a:pt x="245" y="10419"/>
                </a:lnTo>
                <a:lnTo>
                  <a:pt x="281" y="10599"/>
                </a:lnTo>
                <a:lnTo>
                  <a:pt x="318" y="10777"/>
                </a:lnTo>
                <a:lnTo>
                  <a:pt x="357" y="10952"/>
                </a:lnTo>
                <a:lnTo>
                  <a:pt x="400" y="11127"/>
                </a:lnTo>
                <a:lnTo>
                  <a:pt x="443" y="11299"/>
                </a:lnTo>
                <a:lnTo>
                  <a:pt x="489" y="11468"/>
                </a:lnTo>
                <a:lnTo>
                  <a:pt x="537" y="11637"/>
                </a:lnTo>
                <a:lnTo>
                  <a:pt x="588" y="11803"/>
                </a:lnTo>
                <a:lnTo>
                  <a:pt x="640" y="11967"/>
                </a:lnTo>
                <a:lnTo>
                  <a:pt x="694" y="12128"/>
                </a:lnTo>
                <a:lnTo>
                  <a:pt x="750" y="12288"/>
                </a:lnTo>
                <a:lnTo>
                  <a:pt x="809" y="12446"/>
                </a:lnTo>
                <a:lnTo>
                  <a:pt x="868" y="12601"/>
                </a:lnTo>
                <a:lnTo>
                  <a:pt x="930" y="12753"/>
                </a:lnTo>
                <a:lnTo>
                  <a:pt x="994" y="12903"/>
                </a:lnTo>
                <a:lnTo>
                  <a:pt x="1060" y="13051"/>
                </a:lnTo>
                <a:lnTo>
                  <a:pt x="1127" y="13197"/>
                </a:lnTo>
                <a:lnTo>
                  <a:pt x="1196" y="13340"/>
                </a:lnTo>
                <a:lnTo>
                  <a:pt x="1291" y="13311"/>
                </a:lnTo>
                <a:lnTo>
                  <a:pt x="1386" y="13284"/>
                </a:lnTo>
                <a:lnTo>
                  <a:pt x="1482" y="13258"/>
                </a:lnTo>
                <a:lnTo>
                  <a:pt x="1578" y="13235"/>
                </a:lnTo>
                <a:lnTo>
                  <a:pt x="1677" y="13212"/>
                </a:lnTo>
                <a:lnTo>
                  <a:pt x="1774" y="13192"/>
                </a:lnTo>
                <a:lnTo>
                  <a:pt x="1873" y="13174"/>
                </a:lnTo>
                <a:lnTo>
                  <a:pt x="1972" y="13157"/>
                </a:lnTo>
                <a:lnTo>
                  <a:pt x="2073" y="13142"/>
                </a:lnTo>
                <a:lnTo>
                  <a:pt x="2174" y="13129"/>
                </a:lnTo>
                <a:lnTo>
                  <a:pt x="2275" y="13119"/>
                </a:lnTo>
                <a:lnTo>
                  <a:pt x="2377" y="13110"/>
                </a:lnTo>
                <a:lnTo>
                  <a:pt x="2479" y="13103"/>
                </a:lnTo>
                <a:lnTo>
                  <a:pt x="2582" y="13097"/>
                </a:lnTo>
                <a:lnTo>
                  <a:pt x="2685" y="13095"/>
                </a:lnTo>
                <a:lnTo>
                  <a:pt x="2789" y="1309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3" name="任意多边形: 形状 42">
            <a:extLst>
              <a:ext uri="{FF2B5EF4-FFF2-40B4-BE49-F238E27FC236}">
                <a16:creationId xmlns:a16="http://schemas.microsoft.com/office/drawing/2014/main" id="{138C396C-83A4-43FD-8F87-54C71DBE4D34}"/>
              </a:ext>
            </a:extLst>
          </p:cNvPr>
          <p:cNvSpPr/>
          <p:nvPr/>
        </p:nvSpPr>
        <p:spPr bwMode="auto">
          <a:xfrm rot="2534512">
            <a:off x="1902034" y="2887161"/>
            <a:ext cx="617864" cy="2911088"/>
          </a:xfrm>
          <a:custGeom>
            <a:avLst/>
            <a:gdLst>
              <a:gd name="T0" fmla="*/ 8 w 2805"/>
              <a:gd name="T1" fmla="*/ 8 h 13340"/>
              <a:gd name="T2" fmla="*/ 0 w 2805"/>
              <a:gd name="T3" fmla="*/ 13094 h 13340"/>
              <a:gd name="T4" fmla="*/ 16 w 2805"/>
              <a:gd name="T5" fmla="*/ 13094 h 13340"/>
              <a:gd name="T6" fmla="*/ 223 w 2805"/>
              <a:gd name="T7" fmla="*/ 13097 h 13340"/>
              <a:gd name="T8" fmla="*/ 428 w 2805"/>
              <a:gd name="T9" fmla="*/ 13110 h 13340"/>
              <a:gd name="T10" fmla="*/ 631 w 2805"/>
              <a:gd name="T11" fmla="*/ 13129 h 13340"/>
              <a:gd name="T12" fmla="*/ 833 w 2805"/>
              <a:gd name="T13" fmla="*/ 13157 h 13340"/>
              <a:gd name="T14" fmla="*/ 1031 w 2805"/>
              <a:gd name="T15" fmla="*/ 13192 h 13340"/>
              <a:gd name="T16" fmla="*/ 1227 w 2805"/>
              <a:gd name="T17" fmla="*/ 13235 h 13340"/>
              <a:gd name="T18" fmla="*/ 1419 w 2805"/>
              <a:gd name="T19" fmla="*/ 13284 h 13340"/>
              <a:gd name="T20" fmla="*/ 1609 w 2805"/>
              <a:gd name="T21" fmla="*/ 13340 h 13340"/>
              <a:gd name="T22" fmla="*/ 1745 w 2805"/>
              <a:gd name="T23" fmla="*/ 13051 h 13340"/>
              <a:gd name="T24" fmla="*/ 1875 w 2805"/>
              <a:gd name="T25" fmla="*/ 12753 h 13340"/>
              <a:gd name="T26" fmla="*/ 1996 w 2805"/>
              <a:gd name="T27" fmla="*/ 12446 h 13340"/>
              <a:gd name="T28" fmla="*/ 2111 w 2805"/>
              <a:gd name="T29" fmla="*/ 12128 h 13340"/>
              <a:gd name="T30" fmla="*/ 2217 w 2805"/>
              <a:gd name="T31" fmla="*/ 11803 h 13340"/>
              <a:gd name="T32" fmla="*/ 2315 w 2805"/>
              <a:gd name="T33" fmla="*/ 11468 h 13340"/>
              <a:gd name="T34" fmla="*/ 2405 w 2805"/>
              <a:gd name="T35" fmla="*/ 11127 h 13340"/>
              <a:gd name="T36" fmla="*/ 2487 w 2805"/>
              <a:gd name="T37" fmla="*/ 10777 h 13340"/>
              <a:gd name="T38" fmla="*/ 2560 w 2805"/>
              <a:gd name="T39" fmla="*/ 10419 h 13340"/>
              <a:gd name="T40" fmla="*/ 2623 w 2805"/>
              <a:gd name="T41" fmla="*/ 10056 h 13340"/>
              <a:gd name="T42" fmla="*/ 2678 w 2805"/>
              <a:gd name="T43" fmla="*/ 9686 h 13340"/>
              <a:gd name="T44" fmla="*/ 2724 w 2805"/>
              <a:gd name="T45" fmla="*/ 9310 h 13340"/>
              <a:gd name="T46" fmla="*/ 2759 w 2805"/>
              <a:gd name="T47" fmla="*/ 8927 h 13340"/>
              <a:gd name="T48" fmla="*/ 2784 w 2805"/>
              <a:gd name="T49" fmla="*/ 8540 h 13340"/>
              <a:gd name="T50" fmla="*/ 2800 w 2805"/>
              <a:gd name="T51" fmla="*/ 8148 h 13340"/>
              <a:gd name="T52" fmla="*/ 2805 w 2805"/>
              <a:gd name="T53" fmla="*/ 7750 h 13340"/>
              <a:gd name="T54" fmla="*/ 2792 w 2805"/>
              <a:gd name="T55" fmla="*/ 7121 h 13340"/>
              <a:gd name="T56" fmla="*/ 2753 w 2805"/>
              <a:gd name="T57" fmla="*/ 6505 h 13340"/>
              <a:gd name="T58" fmla="*/ 2689 w 2805"/>
              <a:gd name="T59" fmla="*/ 5901 h 13340"/>
              <a:gd name="T60" fmla="*/ 2602 w 2805"/>
              <a:gd name="T61" fmla="*/ 5314 h 13340"/>
              <a:gd name="T62" fmla="*/ 2491 w 2805"/>
              <a:gd name="T63" fmla="*/ 4742 h 13340"/>
              <a:gd name="T64" fmla="*/ 2359 w 2805"/>
              <a:gd name="T65" fmla="*/ 4190 h 13340"/>
              <a:gd name="T66" fmla="*/ 2205 w 2805"/>
              <a:gd name="T67" fmla="*/ 3657 h 13340"/>
              <a:gd name="T68" fmla="*/ 2031 w 2805"/>
              <a:gd name="T69" fmla="*/ 3145 h 13340"/>
              <a:gd name="T70" fmla="*/ 1838 w 2805"/>
              <a:gd name="T71" fmla="*/ 2656 h 13340"/>
              <a:gd name="T72" fmla="*/ 1626 w 2805"/>
              <a:gd name="T73" fmla="*/ 2192 h 13340"/>
              <a:gd name="T74" fmla="*/ 1396 w 2805"/>
              <a:gd name="T75" fmla="*/ 1753 h 13340"/>
              <a:gd name="T76" fmla="*/ 1150 w 2805"/>
              <a:gd name="T77" fmla="*/ 1341 h 13340"/>
              <a:gd name="T78" fmla="*/ 888 w 2805"/>
              <a:gd name="T79" fmla="*/ 959 h 13340"/>
              <a:gd name="T80" fmla="*/ 612 w 2805"/>
              <a:gd name="T81" fmla="*/ 606 h 13340"/>
              <a:gd name="T82" fmla="*/ 321 w 2805"/>
              <a:gd name="T83" fmla="*/ 287 h 13340"/>
              <a:gd name="T84" fmla="*/ 16 w 2805"/>
              <a:gd name="T85" fmla="*/ 0 h 133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805" h="13340">
                <a:moveTo>
                  <a:pt x="16" y="0"/>
                </a:moveTo>
                <a:lnTo>
                  <a:pt x="8" y="8"/>
                </a:lnTo>
                <a:lnTo>
                  <a:pt x="0" y="15"/>
                </a:lnTo>
                <a:lnTo>
                  <a:pt x="0" y="13094"/>
                </a:lnTo>
                <a:lnTo>
                  <a:pt x="8" y="13094"/>
                </a:lnTo>
                <a:lnTo>
                  <a:pt x="16" y="13094"/>
                </a:lnTo>
                <a:lnTo>
                  <a:pt x="120" y="13095"/>
                </a:lnTo>
                <a:lnTo>
                  <a:pt x="223" y="13097"/>
                </a:lnTo>
                <a:lnTo>
                  <a:pt x="326" y="13103"/>
                </a:lnTo>
                <a:lnTo>
                  <a:pt x="428" y="13110"/>
                </a:lnTo>
                <a:lnTo>
                  <a:pt x="530" y="13119"/>
                </a:lnTo>
                <a:lnTo>
                  <a:pt x="631" y="13129"/>
                </a:lnTo>
                <a:lnTo>
                  <a:pt x="732" y="13142"/>
                </a:lnTo>
                <a:lnTo>
                  <a:pt x="833" y="13157"/>
                </a:lnTo>
                <a:lnTo>
                  <a:pt x="932" y="13174"/>
                </a:lnTo>
                <a:lnTo>
                  <a:pt x="1031" y="13192"/>
                </a:lnTo>
                <a:lnTo>
                  <a:pt x="1128" y="13212"/>
                </a:lnTo>
                <a:lnTo>
                  <a:pt x="1227" y="13235"/>
                </a:lnTo>
                <a:lnTo>
                  <a:pt x="1323" y="13258"/>
                </a:lnTo>
                <a:lnTo>
                  <a:pt x="1419" y="13284"/>
                </a:lnTo>
                <a:lnTo>
                  <a:pt x="1514" y="13311"/>
                </a:lnTo>
                <a:lnTo>
                  <a:pt x="1609" y="13340"/>
                </a:lnTo>
                <a:lnTo>
                  <a:pt x="1678" y="13197"/>
                </a:lnTo>
                <a:lnTo>
                  <a:pt x="1745" y="13051"/>
                </a:lnTo>
                <a:lnTo>
                  <a:pt x="1811" y="12903"/>
                </a:lnTo>
                <a:lnTo>
                  <a:pt x="1875" y="12753"/>
                </a:lnTo>
                <a:lnTo>
                  <a:pt x="1937" y="12601"/>
                </a:lnTo>
                <a:lnTo>
                  <a:pt x="1996" y="12446"/>
                </a:lnTo>
                <a:lnTo>
                  <a:pt x="2055" y="12288"/>
                </a:lnTo>
                <a:lnTo>
                  <a:pt x="2111" y="12128"/>
                </a:lnTo>
                <a:lnTo>
                  <a:pt x="2165" y="11967"/>
                </a:lnTo>
                <a:lnTo>
                  <a:pt x="2217" y="11803"/>
                </a:lnTo>
                <a:lnTo>
                  <a:pt x="2267" y="11637"/>
                </a:lnTo>
                <a:lnTo>
                  <a:pt x="2315" y="11468"/>
                </a:lnTo>
                <a:lnTo>
                  <a:pt x="2362" y="11299"/>
                </a:lnTo>
                <a:lnTo>
                  <a:pt x="2405" y="11127"/>
                </a:lnTo>
                <a:lnTo>
                  <a:pt x="2448" y="10952"/>
                </a:lnTo>
                <a:lnTo>
                  <a:pt x="2487" y="10777"/>
                </a:lnTo>
                <a:lnTo>
                  <a:pt x="2524" y="10599"/>
                </a:lnTo>
                <a:lnTo>
                  <a:pt x="2560" y="10419"/>
                </a:lnTo>
                <a:lnTo>
                  <a:pt x="2593" y="10239"/>
                </a:lnTo>
                <a:lnTo>
                  <a:pt x="2623" y="10056"/>
                </a:lnTo>
                <a:lnTo>
                  <a:pt x="2651" y="9872"/>
                </a:lnTo>
                <a:lnTo>
                  <a:pt x="2678" y="9686"/>
                </a:lnTo>
                <a:lnTo>
                  <a:pt x="2702" y="9498"/>
                </a:lnTo>
                <a:lnTo>
                  <a:pt x="2724" y="9310"/>
                </a:lnTo>
                <a:lnTo>
                  <a:pt x="2742" y="9118"/>
                </a:lnTo>
                <a:lnTo>
                  <a:pt x="2759" y="8927"/>
                </a:lnTo>
                <a:lnTo>
                  <a:pt x="2773" y="8734"/>
                </a:lnTo>
                <a:lnTo>
                  <a:pt x="2784" y="8540"/>
                </a:lnTo>
                <a:lnTo>
                  <a:pt x="2793" y="8344"/>
                </a:lnTo>
                <a:lnTo>
                  <a:pt x="2800" y="8148"/>
                </a:lnTo>
                <a:lnTo>
                  <a:pt x="2804" y="7949"/>
                </a:lnTo>
                <a:lnTo>
                  <a:pt x="2805" y="7750"/>
                </a:lnTo>
                <a:lnTo>
                  <a:pt x="2802" y="7435"/>
                </a:lnTo>
                <a:lnTo>
                  <a:pt x="2792" y="7121"/>
                </a:lnTo>
                <a:lnTo>
                  <a:pt x="2776" y="6811"/>
                </a:lnTo>
                <a:lnTo>
                  <a:pt x="2753" y="6505"/>
                </a:lnTo>
                <a:lnTo>
                  <a:pt x="2725" y="6201"/>
                </a:lnTo>
                <a:lnTo>
                  <a:pt x="2689" y="5901"/>
                </a:lnTo>
                <a:lnTo>
                  <a:pt x="2649" y="5605"/>
                </a:lnTo>
                <a:lnTo>
                  <a:pt x="2602" y="5314"/>
                </a:lnTo>
                <a:lnTo>
                  <a:pt x="2550" y="5026"/>
                </a:lnTo>
                <a:lnTo>
                  <a:pt x="2491" y="4742"/>
                </a:lnTo>
                <a:lnTo>
                  <a:pt x="2428" y="4463"/>
                </a:lnTo>
                <a:lnTo>
                  <a:pt x="2359" y="4190"/>
                </a:lnTo>
                <a:lnTo>
                  <a:pt x="2285" y="3920"/>
                </a:lnTo>
                <a:lnTo>
                  <a:pt x="2205" y="3657"/>
                </a:lnTo>
                <a:lnTo>
                  <a:pt x="2121" y="3399"/>
                </a:lnTo>
                <a:lnTo>
                  <a:pt x="2031" y="3145"/>
                </a:lnTo>
                <a:lnTo>
                  <a:pt x="1937" y="2898"/>
                </a:lnTo>
                <a:lnTo>
                  <a:pt x="1838" y="2656"/>
                </a:lnTo>
                <a:lnTo>
                  <a:pt x="1734" y="2421"/>
                </a:lnTo>
                <a:lnTo>
                  <a:pt x="1626" y="2192"/>
                </a:lnTo>
                <a:lnTo>
                  <a:pt x="1513" y="1969"/>
                </a:lnTo>
                <a:lnTo>
                  <a:pt x="1396" y="1753"/>
                </a:lnTo>
                <a:lnTo>
                  <a:pt x="1275" y="1544"/>
                </a:lnTo>
                <a:lnTo>
                  <a:pt x="1150" y="1341"/>
                </a:lnTo>
                <a:lnTo>
                  <a:pt x="1020" y="1146"/>
                </a:lnTo>
                <a:lnTo>
                  <a:pt x="888" y="959"/>
                </a:lnTo>
                <a:lnTo>
                  <a:pt x="751" y="779"/>
                </a:lnTo>
                <a:lnTo>
                  <a:pt x="612" y="606"/>
                </a:lnTo>
                <a:lnTo>
                  <a:pt x="467" y="442"/>
                </a:lnTo>
                <a:lnTo>
                  <a:pt x="321" y="287"/>
                </a:lnTo>
                <a:lnTo>
                  <a:pt x="169" y="139"/>
                </a:lnTo>
                <a:lnTo>
                  <a:pt x="1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4" name="任意多边形: 形状 43">
            <a:extLst>
              <a:ext uri="{FF2B5EF4-FFF2-40B4-BE49-F238E27FC236}">
                <a16:creationId xmlns:a16="http://schemas.microsoft.com/office/drawing/2014/main" id="{A5C34DBA-65D5-4D03-9DCF-6028A53247CD}"/>
              </a:ext>
            </a:extLst>
          </p:cNvPr>
          <p:cNvSpPr/>
          <p:nvPr/>
        </p:nvSpPr>
        <p:spPr bwMode="auto">
          <a:xfrm rot="2534512">
            <a:off x="2269226" y="2966888"/>
            <a:ext cx="907522" cy="714679"/>
          </a:xfrm>
          <a:custGeom>
            <a:avLst/>
            <a:gdLst>
              <a:gd name="T0" fmla="*/ 2190 w 4116"/>
              <a:gd name="T1" fmla="*/ 3204 h 3273"/>
              <a:gd name="T2" fmla="*/ 2451 w 4116"/>
              <a:gd name="T3" fmla="*/ 3206 h 3273"/>
              <a:gd name="T4" fmla="*/ 2711 w 4116"/>
              <a:gd name="T5" fmla="*/ 3211 h 3273"/>
              <a:gd name="T6" fmla="*/ 2970 w 4116"/>
              <a:gd name="T7" fmla="*/ 3216 h 3273"/>
              <a:gd name="T8" fmla="*/ 3227 w 4116"/>
              <a:gd name="T9" fmla="*/ 3226 h 3273"/>
              <a:gd name="T10" fmla="*/ 3483 w 4116"/>
              <a:gd name="T11" fmla="*/ 3237 h 3273"/>
              <a:gd name="T12" fmla="*/ 3738 w 4116"/>
              <a:gd name="T13" fmla="*/ 3250 h 3273"/>
              <a:gd name="T14" fmla="*/ 3990 w 4116"/>
              <a:gd name="T15" fmla="*/ 3265 h 3273"/>
              <a:gd name="T16" fmla="*/ 4069 w 4116"/>
              <a:gd name="T17" fmla="*/ 3143 h 3273"/>
              <a:gd name="T18" fmla="*/ 3972 w 4116"/>
              <a:gd name="T19" fmla="*/ 2887 h 3273"/>
              <a:gd name="T20" fmla="*/ 3870 w 4116"/>
              <a:gd name="T21" fmla="*/ 2639 h 3273"/>
              <a:gd name="T22" fmla="*/ 3762 w 4116"/>
              <a:gd name="T23" fmla="*/ 2397 h 3273"/>
              <a:gd name="T24" fmla="*/ 3651 w 4116"/>
              <a:gd name="T25" fmla="*/ 2161 h 3273"/>
              <a:gd name="T26" fmla="*/ 3534 w 4116"/>
              <a:gd name="T27" fmla="*/ 1933 h 3273"/>
              <a:gd name="T28" fmla="*/ 3413 w 4116"/>
              <a:gd name="T29" fmla="*/ 1711 h 3273"/>
              <a:gd name="T30" fmla="*/ 3287 w 4116"/>
              <a:gd name="T31" fmla="*/ 1497 h 3273"/>
              <a:gd name="T32" fmla="*/ 3158 w 4116"/>
              <a:gd name="T33" fmla="*/ 1290 h 3273"/>
              <a:gd name="T34" fmla="*/ 3024 w 4116"/>
              <a:gd name="T35" fmla="*/ 1090 h 3273"/>
              <a:gd name="T36" fmla="*/ 2885 w 4116"/>
              <a:gd name="T37" fmla="*/ 900 h 3273"/>
              <a:gd name="T38" fmla="*/ 2743 w 4116"/>
              <a:gd name="T39" fmla="*/ 716 h 3273"/>
              <a:gd name="T40" fmla="*/ 2597 w 4116"/>
              <a:gd name="T41" fmla="*/ 542 h 3273"/>
              <a:gd name="T42" fmla="*/ 2447 w 4116"/>
              <a:gd name="T43" fmla="*/ 376 h 3273"/>
              <a:gd name="T44" fmla="*/ 2294 w 4116"/>
              <a:gd name="T45" fmla="*/ 219 h 3273"/>
              <a:gd name="T46" fmla="*/ 2138 w 4116"/>
              <a:gd name="T47" fmla="*/ 71 h 3273"/>
              <a:gd name="T48" fmla="*/ 1979 w 4116"/>
              <a:gd name="T49" fmla="*/ 71 h 3273"/>
              <a:gd name="T50" fmla="*/ 1822 w 4116"/>
              <a:gd name="T51" fmla="*/ 219 h 3273"/>
              <a:gd name="T52" fmla="*/ 1669 w 4116"/>
              <a:gd name="T53" fmla="*/ 376 h 3273"/>
              <a:gd name="T54" fmla="*/ 1519 w 4116"/>
              <a:gd name="T55" fmla="*/ 542 h 3273"/>
              <a:gd name="T56" fmla="*/ 1373 w 4116"/>
              <a:gd name="T57" fmla="*/ 716 h 3273"/>
              <a:gd name="T58" fmla="*/ 1231 w 4116"/>
              <a:gd name="T59" fmla="*/ 900 h 3273"/>
              <a:gd name="T60" fmla="*/ 1092 w 4116"/>
              <a:gd name="T61" fmla="*/ 1090 h 3273"/>
              <a:gd name="T62" fmla="*/ 958 w 4116"/>
              <a:gd name="T63" fmla="*/ 1290 h 3273"/>
              <a:gd name="T64" fmla="*/ 829 w 4116"/>
              <a:gd name="T65" fmla="*/ 1497 h 3273"/>
              <a:gd name="T66" fmla="*/ 703 w 4116"/>
              <a:gd name="T67" fmla="*/ 1711 h 3273"/>
              <a:gd name="T68" fmla="*/ 582 w 4116"/>
              <a:gd name="T69" fmla="*/ 1933 h 3273"/>
              <a:gd name="T70" fmla="*/ 465 w 4116"/>
              <a:gd name="T71" fmla="*/ 2161 h 3273"/>
              <a:gd name="T72" fmla="*/ 354 w 4116"/>
              <a:gd name="T73" fmla="*/ 2397 h 3273"/>
              <a:gd name="T74" fmla="*/ 246 w 4116"/>
              <a:gd name="T75" fmla="*/ 2639 h 3273"/>
              <a:gd name="T76" fmla="*/ 143 w 4116"/>
              <a:gd name="T77" fmla="*/ 2887 h 3273"/>
              <a:gd name="T78" fmla="*/ 46 w 4116"/>
              <a:gd name="T79" fmla="*/ 3143 h 3273"/>
              <a:gd name="T80" fmla="*/ 125 w 4116"/>
              <a:gd name="T81" fmla="*/ 3265 h 3273"/>
              <a:gd name="T82" fmla="*/ 378 w 4116"/>
              <a:gd name="T83" fmla="*/ 3250 h 3273"/>
              <a:gd name="T84" fmla="*/ 633 w 4116"/>
              <a:gd name="T85" fmla="*/ 3237 h 3273"/>
              <a:gd name="T86" fmla="*/ 889 w 4116"/>
              <a:gd name="T87" fmla="*/ 3226 h 3273"/>
              <a:gd name="T88" fmla="*/ 1146 w 4116"/>
              <a:gd name="T89" fmla="*/ 3216 h 3273"/>
              <a:gd name="T90" fmla="*/ 1405 w 4116"/>
              <a:gd name="T91" fmla="*/ 3211 h 3273"/>
              <a:gd name="T92" fmla="*/ 1665 w 4116"/>
              <a:gd name="T93" fmla="*/ 3206 h 3273"/>
              <a:gd name="T94" fmla="*/ 1926 w 4116"/>
              <a:gd name="T95" fmla="*/ 3204 h 3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4116" h="3273">
                <a:moveTo>
                  <a:pt x="2058" y="3203"/>
                </a:moveTo>
                <a:lnTo>
                  <a:pt x="2190" y="3204"/>
                </a:lnTo>
                <a:lnTo>
                  <a:pt x="2320" y="3204"/>
                </a:lnTo>
                <a:lnTo>
                  <a:pt x="2451" y="3206"/>
                </a:lnTo>
                <a:lnTo>
                  <a:pt x="2581" y="3207"/>
                </a:lnTo>
                <a:lnTo>
                  <a:pt x="2711" y="3211"/>
                </a:lnTo>
                <a:lnTo>
                  <a:pt x="2840" y="3213"/>
                </a:lnTo>
                <a:lnTo>
                  <a:pt x="2970" y="3216"/>
                </a:lnTo>
                <a:lnTo>
                  <a:pt x="3099" y="3221"/>
                </a:lnTo>
                <a:lnTo>
                  <a:pt x="3227" y="3226"/>
                </a:lnTo>
                <a:lnTo>
                  <a:pt x="3356" y="3231"/>
                </a:lnTo>
                <a:lnTo>
                  <a:pt x="3483" y="3237"/>
                </a:lnTo>
                <a:lnTo>
                  <a:pt x="3611" y="3243"/>
                </a:lnTo>
                <a:lnTo>
                  <a:pt x="3738" y="3250"/>
                </a:lnTo>
                <a:lnTo>
                  <a:pt x="3864" y="3256"/>
                </a:lnTo>
                <a:lnTo>
                  <a:pt x="3990" y="3265"/>
                </a:lnTo>
                <a:lnTo>
                  <a:pt x="4116" y="3273"/>
                </a:lnTo>
                <a:lnTo>
                  <a:pt x="4069" y="3143"/>
                </a:lnTo>
                <a:lnTo>
                  <a:pt x="4022" y="3015"/>
                </a:lnTo>
                <a:lnTo>
                  <a:pt x="3972" y="2887"/>
                </a:lnTo>
                <a:lnTo>
                  <a:pt x="3921" y="2762"/>
                </a:lnTo>
                <a:lnTo>
                  <a:pt x="3870" y="2639"/>
                </a:lnTo>
                <a:lnTo>
                  <a:pt x="3817" y="2517"/>
                </a:lnTo>
                <a:lnTo>
                  <a:pt x="3762" y="2397"/>
                </a:lnTo>
                <a:lnTo>
                  <a:pt x="3707" y="2278"/>
                </a:lnTo>
                <a:lnTo>
                  <a:pt x="3651" y="2161"/>
                </a:lnTo>
                <a:lnTo>
                  <a:pt x="3593" y="2046"/>
                </a:lnTo>
                <a:lnTo>
                  <a:pt x="3534" y="1933"/>
                </a:lnTo>
                <a:lnTo>
                  <a:pt x="3474" y="1820"/>
                </a:lnTo>
                <a:lnTo>
                  <a:pt x="3413" y="1711"/>
                </a:lnTo>
                <a:lnTo>
                  <a:pt x="3350" y="1602"/>
                </a:lnTo>
                <a:lnTo>
                  <a:pt x="3287" y="1497"/>
                </a:lnTo>
                <a:lnTo>
                  <a:pt x="3223" y="1392"/>
                </a:lnTo>
                <a:lnTo>
                  <a:pt x="3158" y="1290"/>
                </a:lnTo>
                <a:lnTo>
                  <a:pt x="3091" y="1189"/>
                </a:lnTo>
                <a:lnTo>
                  <a:pt x="3024" y="1090"/>
                </a:lnTo>
                <a:lnTo>
                  <a:pt x="2955" y="994"/>
                </a:lnTo>
                <a:lnTo>
                  <a:pt x="2885" y="900"/>
                </a:lnTo>
                <a:lnTo>
                  <a:pt x="2814" y="807"/>
                </a:lnTo>
                <a:lnTo>
                  <a:pt x="2743" y="716"/>
                </a:lnTo>
                <a:lnTo>
                  <a:pt x="2671" y="628"/>
                </a:lnTo>
                <a:lnTo>
                  <a:pt x="2597" y="542"/>
                </a:lnTo>
                <a:lnTo>
                  <a:pt x="2523" y="457"/>
                </a:lnTo>
                <a:lnTo>
                  <a:pt x="2447" y="376"/>
                </a:lnTo>
                <a:lnTo>
                  <a:pt x="2372" y="296"/>
                </a:lnTo>
                <a:lnTo>
                  <a:pt x="2294" y="219"/>
                </a:lnTo>
                <a:lnTo>
                  <a:pt x="2216" y="143"/>
                </a:lnTo>
                <a:lnTo>
                  <a:pt x="2138" y="71"/>
                </a:lnTo>
                <a:lnTo>
                  <a:pt x="2058" y="0"/>
                </a:lnTo>
                <a:lnTo>
                  <a:pt x="1979" y="71"/>
                </a:lnTo>
                <a:lnTo>
                  <a:pt x="1900" y="143"/>
                </a:lnTo>
                <a:lnTo>
                  <a:pt x="1822" y="219"/>
                </a:lnTo>
                <a:lnTo>
                  <a:pt x="1745" y="296"/>
                </a:lnTo>
                <a:lnTo>
                  <a:pt x="1669" y="376"/>
                </a:lnTo>
                <a:lnTo>
                  <a:pt x="1593" y="457"/>
                </a:lnTo>
                <a:lnTo>
                  <a:pt x="1519" y="542"/>
                </a:lnTo>
                <a:lnTo>
                  <a:pt x="1445" y="628"/>
                </a:lnTo>
                <a:lnTo>
                  <a:pt x="1373" y="716"/>
                </a:lnTo>
                <a:lnTo>
                  <a:pt x="1302" y="807"/>
                </a:lnTo>
                <a:lnTo>
                  <a:pt x="1231" y="900"/>
                </a:lnTo>
                <a:lnTo>
                  <a:pt x="1161" y="994"/>
                </a:lnTo>
                <a:lnTo>
                  <a:pt x="1092" y="1090"/>
                </a:lnTo>
                <a:lnTo>
                  <a:pt x="1025" y="1189"/>
                </a:lnTo>
                <a:lnTo>
                  <a:pt x="958" y="1290"/>
                </a:lnTo>
                <a:lnTo>
                  <a:pt x="893" y="1393"/>
                </a:lnTo>
                <a:lnTo>
                  <a:pt x="829" y="1497"/>
                </a:lnTo>
                <a:lnTo>
                  <a:pt x="766" y="1602"/>
                </a:lnTo>
                <a:lnTo>
                  <a:pt x="703" y="1711"/>
                </a:lnTo>
                <a:lnTo>
                  <a:pt x="642" y="1820"/>
                </a:lnTo>
                <a:lnTo>
                  <a:pt x="582" y="1933"/>
                </a:lnTo>
                <a:lnTo>
                  <a:pt x="523" y="2046"/>
                </a:lnTo>
                <a:lnTo>
                  <a:pt x="465" y="2161"/>
                </a:lnTo>
                <a:lnTo>
                  <a:pt x="409" y="2278"/>
                </a:lnTo>
                <a:lnTo>
                  <a:pt x="354" y="2397"/>
                </a:lnTo>
                <a:lnTo>
                  <a:pt x="299" y="2517"/>
                </a:lnTo>
                <a:lnTo>
                  <a:pt x="246" y="2639"/>
                </a:lnTo>
                <a:lnTo>
                  <a:pt x="195" y="2762"/>
                </a:lnTo>
                <a:lnTo>
                  <a:pt x="143" y="2887"/>
                </a:lnTo>
                <a:lnTo>
                  <a:pt x="94" y="3015"/>
                </a:lnTo>
                <a:lnTo>
                  <a:pt x="46" y="3143"/>
                </a:lnTo>
                <a:lnTo>
                  <a:pt x="0" y="3273"/>
                </a:lnTo>
                <a:lnTo>
                  <a:pt x="125" y="3265"/>
                </a:lnTo>
                <a:lnTo>
                  <a:pt x="252" y="3256"/>
                </a:lnTo>
                <a:lnTo>
                  <a:pt x="378" y="3250"/>
                </a:lnTo>
                <a:lnTo>
                  <a:pt x="505" y="3243"/>
                </a:lnTo>
                <a:lnTo>
                  <a:pt x="633" y="3237"/>
                </a:lnTo>
                <a:lnTo>
                  <a:pt x="760" y="3231"/>
                </a:lnTo>
                <a:lnTo>
                  <a:pt x="889" y="3226"/>
                </a:lnTo>
                <a:lnTo>
                  <a:pt x="1017" y="3221"/>
                </a:lnTo>
                <a:lnTo>
                  <a:pt x="1146" y="3216"/>
                </a:lnTo>
                <a:lnTo>
                  <a:pt x="1276" y="3213"/>
                </a:lnTo>
                <a:lnTo>
                  <a:pt x="1405" y="3211"/>
                </a:lnTo>
                <a:lnTo>
                  <a:pt x="1535" y="3207"/>
                </a:lnTo>
                <a:lnTo>
                  <a:pt x="1665" y="3206"/>
                </a:lnTo>
                <a:lnTo>
                  <a:pt x="1796" y="3204"/>
                </a:lnTo>
                <a:lnTo>
                  <a:pt x="1926" y="3204"/>
                </a:lnTo>
                <a:lnTo>
                  <a:pt x="2058" y="320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5" name="任意多边形: 形状 44">
            <a:extLst>
              <a:ext uri="{FF2B5EF4-FFF2-40B4-BE49-F238E27FC236}">
                <a16:creationId xmlns:a16="http://schemas.microsoft.com/office/drawing/2014/main" id="{68B04E49-BCE9-4428-A707-CC9A81F4FAE9}"/>
              </a:ext>
            </a:extLst>
          </p:cNvPr>
          <p:cNvSpPr/>
          <p:nvPr/>
        </p:nvSpPr>
        <p:spPr bwMode="auto">
          <a:xfrm rot="2534512">
            <a:off x="2661194" y="3118300"/>
            <a:ext cx="457066" cy="714679"/>
          </a:xfrm>
          <a:custGeom>
            <a:avLst/>
            <a:gdLst>
              <a:gd name="T0" fmla="*/ 0 w 2074"/>
              <a:gd name="T1" fmla="*/ 15 h 3273"/>
              <a:gd name="T2" fmla="*/ 0 w 2074"/>
              <a:gd name="T3" fmla="*/ 3204 h 3273"/>
              <a:gd name="T4" fmla="*/ 8 w 2074"/>
              <a:gd name="T5" fmla="*/ 3204 h 3273"/>
              <a:gd name="T6" fmla="*/ 16 w 2074"/>
              <a:gd name="T7" fmla="*/ 3203 h 3273"/>
              <a:gd name="T8" fmla="*/ 148 w 2074"/>
              <a:gd name="T9" fmla="*/ 3204 h 3273"/>
              <a:gd name="T10" fmla="*/ 278 w 2074"/>
              <a:gd name="T11" fmla="*/ 3204 h 3273"/>
              <a:gd name="T12" fmla="*/ 409 w 2074"/>
              <a:gd name="T13" fmla="*/ 3206 h 3273"/>
              <a:gd name="T14" fmla="*/ 539 w 2074"/>
              <a:gd name="T15" fmla="*/ 3207 h 3273"/>
              <a:gd name="T16" fmla="*/ 669 w 2074"/>
              <a:gd name="T17" fmla="*/ 3211 h 3273"/>
              <a:gd name="T18" fmla="*/ 798 w 2074"/>
              <a:gd name="T19" fmla="*/ 3213 h 3273"/>
              <a:gd name="T20" fmla="*/ 928 w 2074"/>
              <a:gd name="T21" fmla="*/ 3216 h 3273"/>
              <a:gd name="T22" fmla="*/ 1057 w 2074"/>
              <a:gd name="T23" fmla="*/ 3221 h 3273"/>
              <a:gd name="T24" fmla="*/ 1185 w 2074"/>
              <a:gd name="T25" fmla="*/ 3226 h 3273"/>
              <a:gd name="T26" fmla="*/ 1314 w 2074"/>
              <a:gd name="T27" fmla="*/ 3231 h 3273"/>
              <a:gd name="T28" fmla="*/ 1441 w 2074"/>
              <a:gd name="T29" fmla="*/ 3237 h 3273"/>
              <a:gd name="T30" fmla="*/ 1569 w 2074"/>
              <a:gd name="T31" fmla="*/ 3243 h 3273"/>
              <a:gd name="T32" fmla="*/ 1696 w 2074"/>
              <a:gd name="T33" fmla="*/ 3250 h 3273"/>
              <a:gd name="T34" fmla="*/ 1822 w 2074"/>
              <a:gd name="T35" fmla="*/ 3256 h 3273"/>
              <a:gd name="T36" fmla="*/ 1948 w 2074"/>
              <a:gd name="T37" fmla="*/ 3265 h 3273"/>
              <a:gd name="T38" fmla="*/ 2074 w 2074"/>
              <a:gd name="T39" fmla="*/ 3273 h 3273"/>
              <a:gd name="T40" fmla="*/ 2027 w 2074"/>
              <a:gd name="T41" fmla="*/ 3143 h 3273"/>
              <a:gd name="T42" fmla="*/ 1980 w 2074"/>
              <a:gd name="T43" fmla="*/ 3015 h 3273"/>
              <a:gd name="T44" fmla="*/ 1930 w 2074"/>
              <a:gd name="T45" fmla="*/ 2887 h 3273"/>
              <a:gd name="T46" fmla="*/ 1879 w 2074"/>
              <a:gd name="T47" fmla="*/ 2762 h 3273"/>
              <a:gd name="T48" fmla="*/ 1828 w 2074"/>
              <a:gd name="T49" fmla="*/ 2639 h 3273"/>
              <a:gd name="T50" fmla="*/ 1775 w 2074"/>
              <a:gd name="T51" fmla="*/ 2517 h 3273"/>
              <a:gd name="T52" fmla="*/ 1720 w 2074"/>
              <a:gd name="T53" fmla="*/ 2397 h 3273"/>
              <a:gd name="T54" fmla="*/ 1665 w 2074"/>
              <a:gd name="T55" fmla="*/ 2278 h 3273"/>
              <a:gd name="T56" fmla="*/ 1609 w 2074"/>
              <a:gd name="T57" fmla="*/ 2161 h 3273"/>
              <a:gd name="T58" fmla="*/ 1551 w 2074"/>
              <a:gd name="T59" fmla="*/ 2046 h 3273"/>
              <a:gd name="T60" fmla="*/ 1492 w 2074"/>
              <a:gd name="T61" fmla="*/ 1933 h 3273"/>
              <a:gd name="T62" fmla="*/ 1432 w 2074"/>
              <a:gd name="T63" fmla="*/ 1820 h 3273"/>
              <a:gd name="T64" fmla="*/ 1371 w 2074"/>
              <a:gd name="T65" fmla="*/ 1711 h 3273"/>
              <a:gd name="T66" fmla="*/ 1308 w 2074"/>
              <a:gd name="T67" fmla="*/ 1602 h 3273"/>
              <a:gd name="T68" fmla="*/ 1245 w 2074"/>
              <a:gd name="T69" fmla="*/ 1497 h 3273"/>
              <a:gd name="T70" fmla="*/ 1181 w 2074"/>
              <a:gd name="T71" fmla="*/ 1392 h 3273"/>
              <a:gd name="T72" fmla="*/ 1116 w 2074"/>
              <a:gd name="T73" fmla="*/ 1290 h 3273"/>
              <a:gd name="T74" fmla="*/ 1049 w 2074"/>
              <a:gd name="T75" fmla="*/ 1189 h 3273"/>
              <a:gd name="T76" fmla="*/ 982 w 2074"/>
              <a:gd name="T77" fmla="*/ 1090 h 3273"/>
              <a:gd name="T78" fmla="*/ 913 w 2074"/>
              <a:gd name="T79" fmla="*/ 994 h 3273"/>
              <a:gd name="T80" fmla="*/ 843 w 2074"/>
              <a:gd name="T81" fmla="*/ 900 h 3273"/>
              <a:gd name="T82" fmla="*/ 772 w 2074"/>
              <a:gd name="T83" fmla="*/ 807 h 3273"/>
              <a:gd name="T84" fmla="*/ 701 w 2074"/>
              <a:gd name="T85" fmla="*/ 716 h 3273"/>
              <a:gd name="T86" fmla="*/ 629 w 2074"/>
              <a:gd name="T87" fmla="*/ 628 h 3273"/>
              <a:gd name="T88" fmla="*/ 555 w 2074"/>
              <a:gd name="T89" fmla="*/ 542 h 3273"/>
              <a:gd name="T90" fmla="*/ 481 w 2074"/>
              <a:gd name="T91" fmla="*/ 457 h 3273"/>
              <a:gd name="T92" fmla="*/ 405 w 2074"/>
              <a:gd name="T93" fmla="*/ 376 h 3273"/>
              <a:gd name="T94" fmla="*/ 330 w 2074"/>
              <a:gd name="T95" fmla="*/ 296 h 3273"/>
              <a:gd name="T96" fmla="*/ 252 w 2074"/>
              <a:gd name="T97" fmla="*/ 219 h 3273"/>
              <a:gd name="T98" fmla="*/ 174 w 2074"/>
              <a:gd name="T99" fmla="*/ 143 h 3273"/>
              <a:gd name="T100" fmla="*/ 96 w 2074"/>
              <a:gd name="T101" fmla="*/ 71 h 3273"/>
              <a:gd name="T102" fmla="*/ 16 w 2074"/>
              <a:gd name="T103" fmla="*/ 0 h 3273"/>
              <a:gd name="T104" fmla="*/ 8 w 2074"/>
              <a:gd name="T105" fmla="*/ 7 h 3273"/>
              <a:gd name="T106" fmla="*/ 0 w 2074"/>
              <a:gd name="T107" fmla="*/ 15 h 3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74" h="3273">
                <a:moveTo>
                  <a:pt x="0" y="15"/>
                </a:moveTo>
                <a:lnTo>
                  <a:pt x="0" y="3204"/>
                </a:lnTo>
                <a:lnTo>
                  <a:pt x="8" y="3204"/>
                </a:lnTo>
                <a:lnTo>
                  <a:pt x="16" y="3203"/>
                </a:lnTo>
                <a:lnTo>
                  <a:pt x="148" y="3204"/>
                </a:lnTo>
                <a:lnTo>
                  <a:pt x="278" y="3204"/>
                </a:lnTo>
                <a:lnTo>
                  <a:pt x="409" y="3206"/>
                </a:lnTo>
                <a:lnTo>
                  <a:pt x="539" y="3207"/>
                </a:lnTo>
                <a:lnTo>
                  <a:pt x="669" y="3211"/>
                </a:lnTo>
                <a:lnTo>
                  <a:pt x="798" y="3213"/>
                </a:lnTo>
                <a:lnTo>
                  <a:pt x="928" y="3216"/>
                </a:lnTo>
                <a:lnTo>
                  <a:pt x="1057" y="3221"/>
                </a:lnTo>
                <a:lnTo>
                  <a:pt x="1185" y="3226"/>
                </a:lnTo>
                <a:lnTo>
                  <a:pt x="1314" y="3231"/>
                </a:lnTo>
                <a:lnTo>
                  <a:pt x="1441" y="3237"/>
                </a:lnTo>
                <a:lnTo>
                  <a:pt x="1569" y="3243"/>
                </a:lnTo>
                <a:lnTo>
                  <a:pt x="1696" y="3250"/>
                </a:lnTo>
                <a:lnTo>
                  <a:pt x="1822" y="3256"/>
                </a:lnTo>
                <a:lnTo>
                  <a:pt x="1948" y="3265"/>
                </a:lnTo>
                <a:lnTo>
                  <a:pt x="2074" y="3273"/>
                </a:lnTo>
                <a:lnTo>
                  <a:pt x="2027" y="3143"/>
                </a:lnTo>
                <a:lnTo>
                  <a:pt x="1980" y="3015"/>
                </a:lnTo>
                <a:lnTo>
                  <a:pt x="1930" y="2887"/>
                </a:lnTo>
                <a:lnTo>
                  <a:pt x="1879" y="2762"/>
                </a:lnTo>
                <a:lnTo>
                  <a:pt x="1828" y="2639"/>
                </a:lnTo>
                <a:lnTo>
                  <a:pt x="1775" y="2517"/>
                </a:lnTo>
                <a:lnTo>
                  <a:pt x="1720" y="2397"/>
                </a:lnTo>
                <a:lnTo>
                  <a:pt x="1665" y="2278"/>
                </a:lnTo>
                <a:lnTo>
                  <a:pt x="1609" y="2161"/>
                </a:lnTo>
                <a:lnTo>
                  <a:pt x="1551" y="2046"/>
                </a:lnTo>
                <a:lnTo>
                  <a:pt x="1492" y="1933"/>
                </a:lnTo>
                <a:lnTo>
                  <a:pt x="1432" y="1820"/>
                </a:lnTo>
                <a:lnTo>
                  <a:pt x="1371" y="1711"/>
                </a:lnTo>
                <a:lnTo>
                  <a:pt x="1308" y="1602"/>
                </a:lnTo>
                <a:lnTo>
                  <a:pt x="1245" y="1497"/>
                </a:lnTo>
                <a:lnTo>
                  <a:pt x="1181" y="1392"/>
                </a:lnTo>
                <a:lnTo>
                  <a:pt x="1116" y="1290"/>
                </a:lnTo>
                <a:lnTo>
                  <a:pt x="1049" y="1189"/>
                </a:lnTo>
                <a:lnTo>
                  <a:pt x="982" y="1090"/>
                </a:lnTo>
                <a:lnTo>
                  <a:pt x="913" y="994"/>
                </a:lnTo>
                <a:lnTo>
                  <a:pt x="843" y="900"/>
                </a:lnTo>
                <a:lnTo>
                  <a:pt x="772" y="807"/>
                </a:lnTo>
                <a:lnTo>
                  <a:pt x="701" y="716"/>
                </a:lnTo>
                <a:lnTo>
                  <a:pt x="629" y="628"/>
                </a:lnTo>
                <a:lnTo>
                  <a:pt x="555" y="542"/>
                </a:lnTo>
                <a:lnTo>
                  <a:pt x="481" y="457"/>
                </a:lnTo>
                <a:lnTo>
                  <a:pt x="405" y="376"/>
                </a:lnTo>
                <a:lnTo>
                  <a:pt x="330" y="296"/>
                </a:lnTo>
                <a:lnTo>
                  <a:pt x="252" y="219"/>
                </a:lnTo>
                <a:lnTo>
                  <a:pt x="174" y="143"/>
                </a:lnTo>
                <a:lnTo>
                  <a:pt x="96" y="71"/>
                </a:lnTo>
                <a:lnTo>
                  <a:pt x="16" y="0"/>
                </a:lnTo>
                <a:lnTo>
                  <a:pt x="8" y="7"/>
                </a:lnTo>
                <a:lnTo>
                  <a:pt x="0" y="15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6" name="任意多边形: 形状 45">
            <a:extLst>
              <a:ext uri="{FF2B5EF4-FFF2-40B4-BE49-F238E27FC236}">
                <a16:creationId xmlns:a16="http://schemas.microsoft.com/office/drawing/2014/main" id="{760609BD-A5A5-41A5-8211-63661FF9B77B}"/>
              </a:ext>
            </a:extLst>
          </p:cNvPr>
          <p:cNvSpPr/>
          <p:nvPr/>
        </p:nvSpPr>
        <p:spPr bwMode="auto">
          <a:xfrm rot="2534512">
            <a:off x="1045678" y="4322017"/>
            <a:ext cx="264327" cy="1407535"/>
          </a:xfrm>
          <a:custGeom>
            <a:avLst/>
            <a:gdLst>
              <a:gd name="T0" fmla="*/ 534 w 1198"/>
              <a:gd name="T1" fmla="*/ 121 h 6448"/>
              <a:gd name="T2" fmla="*/ 441 w 1198"/>
              <a:gd name="T3" fmla="*/ 325 h 6448"/>
              <a:gd name="T4" fmla="*/ 356 w 1198"/>
              <a:gd name="T5" fmla="*/ 559 h 6448"/>
              <a:gd name="T6" fmla="*/ 278 w 1198"/>
              <a:gd name="T7" fmla="*/ 820 h 6448"/>
              <a:gd name="T8" fmla="*/ 208 w 1198"/>
              <a:gd name="T9" fmla="*/ 1105 h 6448"/>
              <a:gd name="T10" fmla="*/ 148 w 1198"/>
              <a:gd name="T11" fmla="*/ 1415 h 6448"/>
              <a:gd name="T12" fmla="*/ 96 w 1198"/>
              <a:gd name="T13" fmla="*/ 1744 h 6448"/>
              <a:gd name="T14" fmla="*/ 55 w 1198"/>
              <a:gd name="T15" fmla="*/ 2091 h 6448"/>
              <a:gd name="T16" fmla="*/ 25 w 1198"/>
              <a:gd name="T17" fmla="*/ 2456 h 6448"/>
              <a:gd name="T18" fmla="*/ 7 w 1198"/>
              <a:gd name="T19" fmla="*/ 2834 h 6448"/>
              <a:gd name="T20" fmla="*/ 0 w 1198"/>
              <a:gd name="T21" fmla="*/ 3225 h 6448"/>
              <a:gd name="T22" fmla="*/ 7 w 1198"/>
              <a:gd name="T23" fmla="*/ 3614 h 6448"/>
              <a:gd name="T24" fmla="*/ 25 w 1198"/>
              <a:gd name="T25" fmla="*/ 3993 h 6448"/>
              <a:gd name="T26" fmla="*/ 55 w 1198"/>
              <a:gd name="T27" fmla="*/ 4357 h 6448"/>
              <a:gd name="T28" fmla="*/ 96 w 1198"/>
              <a:gd name="T29" fmla="*/ 4705 h 6448"/>
              <a:gd name="T30" fmla="*/ 148 w 1198"/>
              <a:gd name="T31" fmla="*/ 5035 h 6448"/>
              <a:gd name="T32" fmla="*/ 208 w 1198"/>
              <a:gd name="T33" fmla="*/ 5343 h 6448"/>
              <a:gd name="T34" fmla="*/ 278 w 1198"/>
              <a:gd name="T35" fmla="*/ 5628 h 6448"/>
              <a:gd name="T36" fmla="*/ 356 w 1198"/>
              <a:gd name="T37" fmla="*/ 5890 h 6448"/>
              <a:gd name="T38" fmla="*/ 441 w 1198"/>
              <a:gd name="T39" fmla="*/ 6124 h 6448"/>
              <a:gd name="T40" fmla="*/ 534 w 1198"/>
              <a:gd name="T41" fmla="*/ 6329 h 6448"/>
              <a:gd name="T42" fmla="*/ 632 w 1198"/>
              <a:gd name="T43" fmla="*/ 6390 h 6448"/>
              <a:gd name="T44" fmla="*/ 726 w 1198"/>
              <a:gd name="T45" fmla="*/ 6196 h 6448"/>
              <a:gd name="T46" fmla="*/ 814 w 1198"/>
              <a:gd name="T47" fmla="*/ 5971 h 6448"/>
              <a:gd name="T48" fmla="*/ 896 w 1198"/>
              <a:gd name="T49" fmla="*/ 5719 h 6448"/>
              <a:gd name="T50" fmla="*/ 968 w 1198"/>
              <a:gd name="T51" fmla="*/ 5440 h 6448"/>
              <a:gd name="T52" fmla="*/ 1032 w 1198"/>
              <a:gd name="T53" fmla="*/ 5139 h 6448"/>
              <a:gd name="T54" fmla="*/ 1086 w 1198"/>
              <a:gd name="T55" fmla="*/ 4817 h 6448"/>
              <a:gd name="T56" fmla="*/ 1130 w 1198"/>
              <a:gd name="T57" fmla="*/ 4475 h 6448"/>
              <a:gd name="T58" fmla="*/ 1164 w 1198"/>
              <a:gd name="T59" fmla="*/ 4117 h 6448"/>
              <a:gd name="T60" fmla="*/ 1187 w 1198"/>
              <a:gd name="T61" fmla="*/ 3742 h 6448"/>
              <a:gd name="T62" fmla="*/ 1197 w 1198"/>
              <a:gd name="T63" fmla="*/ 3355 h 6448"/>
              <a:gd name="T64" fmla="*/ 1195 w 1198"/>
              <a:gd name="T65" fmla="*/ 2962 h 6448"/>
              <a:gd name="T66" fmla="*/ 1181 w 1198"/>
              <a:gd name="T67" fmla="*/ 2581 h 6448"/>
              <a:gd name="T68" fmla="*/ 1154 w 1198"/>
              <a:gd name="T69" fmla="*/ 2211 h 6448"/>
              <a:gd name="T70" fmla="*/ 1117 w 1198"/>
              <a:gd name="T71" fmla="*/ 1857 h 6448"/>
              <a:gd name="T72" fmla="*/ 1069 w 1198"/>
              <a:gd name="T73" fmla="*/ 1523 h 6448"/>
              <a:gd name="T74" fmla="*/ 1011 w 1198"/>
              <a:gd name="T75" fmla="*/ 1206 h 6448"/>
              <a:gd name="T76" fmla="*/ 945 w 1198"/>
              <a:gd name="T77" fmla="*/ 913 h 6448"/>
              <a:gd name="T78" fmla="*/ 869 w 1198"/>
              <a:gd name="T79" fmla="*/ 643 h 6448"/>
              <a:gd name="T80" fmla="*/ 786 w 1198"/>
              <a:gd name="T81" fmla="*/ 400 h 6448"/>
              <a:gd name="T82" fmla="*/ 696 w 1198"/>
              <a:gd name="T83" fmla="*/ 185 h 6448"/>
              <a:gd name="T84" fmla="*/ 599 w 1198"/>
              <a:gd name="T85" fmla="*/ 0 h 6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198" h="6448">
                <a:moveTo>
                  <a:pt x="599" y="0"/>
                </a:moveTo>
                <a:lnTo>
                  <a:pt x="566" y="59"/>
                </a:lnTo>
                <a:lnTo>
                  <a:pt x="534" y="121"/>
                </a:lnTo>
                <a:lnTo>
                  <a:pt x="503" y="185"/>
                </a:lnTo>
                <a:lnTo>
                  <a:pt x="472" y="254"/>
                </a:lnTo>
                <a:lnTo>
                  <a:pt x="441" y="325"/>
                </a:lnTo>
                <a:lnTo>
                  <a:pt x="412" y="400"/>
                </a:lnTo>
                <a:lnTo>
                  <a:pt x="384" y="478"/>
                </a:lnTo>
                <a:lnTo>
                  <a:pt x="356" y="559"/>
                </a:lnTo>
                <a:lnTo>
                  <a:pt x="329" y="643"/>
                </a:lnTo>
                <a:lnTo>
                  <a:pt x="303" y="730"/>
                </a:lnTo>
                <a:lnTo>
                  <a:pt x="278" y="820"/>
                </a:lnTo>
                <a:lnTo>
                  <a:pt x="253" y="913"/>
                </a:lnTo>
                <a:lnTo>
                  <a:pt x="230" y="1008"/>
                </a:lnTo>
                <a:lnTo>
                  <a:pt x="208" y="1105"/>
                </a:lnTo>
                <a:lnTo>
                  <a:pt x="187" y="1206"/>
                </a:lnTo>
                <a:lnTo>
                  <a:pt x="167" y="1309"/>
                </a:lnTo>
                <a:lnTo>
                  <a:pt x="148" y="1415"/>
                </a:lnTo>
                <a:lnTo>
                  <a:pt x="129" y="1523"/>
                </a:lnTo>
                <a:lnTo>
                  <a:pt x="112" y="1631"/>
                </a:lnTo>
                <a:lnTo>
                  <a:pt x="96" y="1744"/>
                </a:lnTo>
                <a:lnTo>
                  <a:pt x="81" y="1857"/>
                </a:lnTo>
                <a:lnTo>
                  <a:pt x="68" y="1974"/>
                </a:lnTo>
                <a:lnTo>
                  <a:pt x="55" y="2091"/>
                </a:lnTo>
                <a:lnTo>
                  <a:pt x="45" y="2211"/>
                </a:lnTo>
                <a:lnTo>
                  <a:pt x="34" y="2333"/>
                </a:lnTo>
                <a:lnTo>
                  <a:pt x="25" y="2456"/>
                </a:lnTo>
                <a:lnTo>
                  <a:pt x="18" y="2581"/>
                </a:lnTo>
                <a:lnTo>
                  <a:pt x="11" y="2707"/>
                </a:lnTo>
                <a:lnTo>
                  <a:pt x="7" y="2834"/>
                </a:lnTo>
                <a:lnTo>
                  <a:pt x="3" y="2963"/>
                </a:lnTo>
                <a:lnTo>
                  <a:pt x="1" y="3093"/>
                </a:lnTo>
                <a:lnTo>
                  <a:pt x="0" y="3225"/>
                </a:lnTo>
                <a:lnTo>
                  <a:pt x="1" y="3355"/>
                </a:lnTo>
                <a:lnTo>
                  <a:pt x="3" y="3486"/>
                </a:lnTo>
                <a:lnTo>
                  <a:pt x="7" y="3614"/>
                </a:lnTo>
                <a:lnTo>
                  <a:pt x="11" y="3743"/>
                </a:lnTo>
                <a:lnTo>
                  <a:pt x="18" y="3869"/>
                </a:lnTo>
                <a:lnTo>
                  <a:pt x="25" y="3993"/>
                </a:lnTo>
                <a:lnTo>
                  <a:pt x="34" y="4117"/>
                </a:lnTo>
                <a:lnTo>
                  <a:pt x="45" y="4238"/>
                </a:lnTo>
                <a:lnTo>
                  <a:pt x="55" y="4357"/>
                </a:lnTo>
                <a:lnTo>
                  <a:pt x="68" y="4475"/>
                </a:lnTo>
                <a:lnTo>
                  <a:pt x="81" y="4591"/>
                </a:lnTo>
                <a:lnTo>
                  <a:pt x="96" y="4705"/>
                </a:lnTo>
                <a:lnTo>
                  <a:pt x="112" y="4817"/>
                </a:lnTo>
                <a:lnTo>
                  <a:pt x="129" y="4927"/>
                </a:lnTo>
                <a:lnTo>
                  <a:pt x="148" y="5035"/>
                </a:lnTo>
                <a:lnTo>
                  <a:pt x="166" y="5139"/>
                </a:lnTo>
                <a:lnTo>
                  <a:pt x="187" y="5242"/>
                </a:lnTo>
                <a:lnTo>
                  <a:pt x="208" y="5343"/>
                </a:lnTo>
                <a:lnTo>
                  <a:pt x="230" y="5440"/>
                </a:lnTo>
                <a:lnTo>
                  <a:pt x="253" y="5536"/>
                </a:lnTo>
                <a:lnTo>
                  <a:pt x="278" y="5628"/>
                </a:lnTo>
                <a:lnTo>
                  <a:pt x="302" y="5719"/>
                </a:lnTo>
                <a:lnTo>
                  <a:pt x="329" y="5806"/>
                </a:lnTo>
                <a:lnTo>
                  <a:pt x="356" y="5890"/>
                </a:lnTo>
                <a:lnTo>
                  <a:pt x="384" y="5971"/>
                </a:lnTo>
                <a:lnTo>
                  <a:pt x="412" y="6049"/>
                </a:lnTo>
                <a:lnTo>
                  <a:pt x="441" y="6124"/>
                </a:lnTo>
                <a:lnTo>
                  <a:pt x="472" y="6196"/>
                </a:lnTo>
                <a:lnTo>
                  <a:pt x="503" y="6263"/>
                </a:lnTo>
                <a:lnTo>
                  <a:pt x="534" y="6329"/>
                </a:lnTo>
                <a:lnTo>
                  <a:pt x="566" y="6390"/>
                </a:lnTo>
                <a:lnTo>
                  <a:pt x="599" y="6448"/>
                </a:lnTo>
                <a:lnTo>
                  <a:pt x="632" y="6390"/>
                </a:lnTo>
                <a:lnTo>
                  <a:pt x="664" y="6329"/>
                </a:lnTo>
                <a:lnTo>
                  <a:pt x="696" y="6263"/>
                </a:lnTo>
                <a:lnTo>
                  <a:pt x="726" y="6196"/>
                </a:lnTo>
                <a:lnTo>
                  <a:pt x="757" y="6124"/>
                </a:lnTo>
                <a:lnTo>
                  <a:pt x="786" y="6049"/>
                </a:lnTo>
                <a:lnTo>
                  <a:pt x="814" y="5971"/>
                </a:lnTo>
                <a:lnTo>
                  <a:pt x="842" y="5890"/>
                </a:lnTo>
                <a:lnTo>
                  <a:pt x="869" y="5806"/>
                </a:lnTo>
                <a:lnTo>
                  <a:pt x="896" y="5719"/>
                </a:lnTo>
                <a:lnTo>
                  <a:pt x="920" y="5628"/>
                </a:lnTo>
                <a:lnTo>
                  <a:pt x="945" y="5536"/>
                </a:lnTo>
                <a:lnTo>
                  <a:pt x="968" y="5440"/>
                </a:lnTo>
                <a:lnTo>
                  <a:pt x="990" y="5343"/>
                </a:lnTo>
                <a:lnTo>
                  <a:pt x="1011" y="5242"/>
                </a:lnTo>
                <a:lnTo>
                  <a:pt x="1032" y="5139"/>
                </a:lnTo>
                <a:lnTo>
                  <a:pt x="1050" y="5035"/>
                </a:lnTo>
                <a:lnTo>
                  <a:pt x="1069" y="4927"/>
                </a:lnTo>
                <a:lnTo>
                  <a:pt x="1086" y="4817"/>
                </a:lnTo>
                <a:lnTo>
                  <a:pt x="1102" y="4705"/>
                </a:lnTo>
                <a:lnTo>
                  <a:pt x="1117" y="4591"/>
                </a:lnTo>
                <a:lnTo>
                  <a:pt x="1130" y="4475"/>
                </a:lnTo>
                <a:lnTo>
                  <a:pt x="1143" y="4357"/>
                </a:lnTo>
                <a:lnTo>
                  <a:pt x="1154" y="4238"/>
                </a:lnTo>
                <a:lnTo>
                  <a:pt x="1164" y="4117"/>
                </a:lnTo>
                <a:lnTo>
                  <a:pt x="1173" y="3993"/>
                </a:lnTo>
                <a:lnTo>
                  <a:pt x="1180" y="3869"/>
                </a:lnTo>
                <a:lnTo>
                  <a:pt x="1187" y="3742"/>
                </a:lnTo>
                <a:lnTo>
                  <a:pt x="1191" y="3614"/>
                </a:lnTo>
                <a:lnTo>
                  <a:pt x="1195" y="3486"/>
                </a:lnTo>
                <a:lnTo>
                  <a:pt x="1197" y="3355"/>
                </a:lnTo>
                <a:lnTo>
                  <a:pt x="1198" y="3225"/>
                </a:lnTo>
                <a:lnTo>
                  <a:pt x="1197" y="3093"/>
                </a:lnTo>
                <a:lnTo>
                  <a:pt x="1195" y="2962"/>
                </a:lnTo>
                <a:lnTo>
                  <a:pt x="1191" y="2834"/>
                </a:lnTo>
                <a:lnTo>
                  <a:pt x="1187" y="2707"/>
                </a:lnTo>
                <a:lnTo>
                  <a:pt x="1181" y="2581"/>
                </a:lnTo>
                <a:lnTo>
                  <a:pt x="1173" y="2456"/>
                </a:lnTo>
                <a:lnTo>
                  <a:pt x="1164" y="2333"/>
                </a:lnTo>
                <a:lnTo>
                  <a:pt x="1154" y="2211"/>
                </a:lnTo>
                <a:lnTo>
                  <a:pt x="1143" y="2091"/>
                </a:lnTo>
                <a:lnTo>
                  <a:pt x="1130" y="1974"/>
                </a:lnTo>
                <a:lnTo>
                  <a:pt x="1117" y="1857"/>
                </a:lnTo>
                <a:lnTo>
                  <a:pt x="1102" y="1744"/>
                </a:lnTo>
                <a:lnTo>
                  <a:pt x="1086" y="1631"/>
                </a:lnTo>
                <a:lnTo>
                  <a:pt x="1069" y="1523"/>
                </a:lnTo>
                <a:lnTo>
                  <a:pt x="1050" y="1415"/>
                </a:lnTo>
                <a:lnTo>
                  <a:pt x="1032" y="1309"/>
                </a:lnTo>
                <a:lnTo>
                  <a:pt x="1011" y="1206"/>
                </a:lnTo>
                <a:lnTo>
                  <a:pt x="990" y="1105"/>
                </a:lnTo>
                <a:lnTo>
                  <a:pt x="968" y="1008"/>
                </a:lnTo>
                <a:lnTo>
                  <a:pt x="945" y="913"/>
                </a:lnTo>
                <a:lnTo>
                  <a:pt x="920" y="820"/>
                </a:lnTo>
                <a:lnTo>
                  <a:pt x="896" y="730"/>
                </a:lnTo>
                <a:lnTo>
                  <a:pt x="869" y="643"/>
                </a:lnTo>
                <a:lnTo>
                  <a:pt x="842" y="559"/>
                </a:lnTo>
                <a:lnTo>
                  <a:pt x="814" y="478"/>
                </a:lnTo>
                <a:lnTo>
                  <a:pt x="786" y="400"/>
                </a:lnTo>
                <a:lnTo>
                  <a:pt x="757" y="325"/>
                </a:lnTo>
                <a:lnTo>
                  <a:pt x="726" y="254"/>
                </a:lnTo>
                <a:lnTo>
                  <a:pt x="696" y="185"/>
                </a:lnTo>
                <a:lnTo>
                  <a:pt x="664" y="121"/>
                </a:lnTo>
                <a:lnTo>
                  <a:pt x="632" y="59"/>
                </a:lnTo>
                <a:lnTo>
                  <a:pt x="599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7" name="任意多边形: 形状 46">
            <a:extLst>
              <a:ext uri="{FF2B5EF4-FFF2-40B4-BE49-F238E27FC236}">
                <a16:creationId xmlns:a16="http://schemas.microsoft.com/office/drawing/2014/main" id="{C7A46A7A-2BEE-4105-B7FA-32311DBBEF28}"/>
              </a:ext>
            </a:extLst>
          </p:cNvPr>
          <p:cNvSpPr/>
          <p:nvPr/>
        </p:nvSpPr>
        <p:spPr bwMode="auto">
          <a:xfrm rot="2534512">
            <a:off x="1157806" y="4365331"/>
            <a:ext cx="135468" cy="1407535"/>
          </a:xfrm>
          <a:custGeom>
            <a:avLst/>
            <a:gdLst>
              <a:gd name="T0" fmla="*/ 0 w 615"/>
              <a:gd name="T1" fmla="*/ 6418 h 6448"/>
              <a:gd name="T2" fmla="*/ 16 w 615"/>
              <a:gd name="T3" fmla="*/ 6448 h 6448"/>
              <a:gd name="T4" fmla="*/ 81 w 615"/>
              <a:gd name="T5" fmla="*/ 6329 h 6448"/>
              <a:gd name="T6" fmla="*/ 143 w 615"/>
              <a:gd name="T7" fmla="*/ 6196 h 6448"/>
              <a:gd name="T8" fmla="*/ 203 w 615"/>
              <a:gd name="T9" fmla="*/ 6049 h 6448"/>
              <a:gd name="T10" fmla="*/ 259 w 615"/>
              <a:gd name="T11" fmla="*/ 5890 h 6448"/>
              <a:gd name="T12" fmla="*/ 313 w 615"/>
              <a:gd name="T13" fmla="*/ 5719 h 6448"/>
              <a:gd name="T14" fmla="*/ 362 w 615"/>
              <a:gd name="T15" fmla="*/ 5536 h 6448"/>
              <a:gd name="T16" fmla="*/ 407 w 615"/>
              <a:gd name="T17" fmla="*/ 5343 h 6448"/>
              <a:gd name="T18" fmla="*/ 449 w 615"/>
              <a:gd name="T19" fmla="*/ 5139 h 6448"/>
              <a:gd name="T20" fmla="*/ 486 w 615"/>
              <a:gd name="T21" fmla="*/ 4927 h 6448"/>
              <a:gd name="T22" fmla="*/ 519 w 615"/>
              <a:gd name="T23" fmla="*/ 4705 h 6448"/>
              <a:gd name="T24" fmla="*/ 547 w 615"/>
              <a:gd name="T25" fmla="*/ 4475 h 6448"/>
              <a:gd name="T26" fmla="*/ 571 w 615"/>
              <a:gd name="T27" fmla="*/ 4238 h 6448"/>
              <a:gd name="T28" fmla="*/ 590 w 615"/>
              <a:gd name="T29" fmla="*/ 3993 h 6448"/>
              <a:gd name="T30" fmla="*/ 604 w 615"/>
              <a:gd name="T31" fmla="*/ 3742 h 6448"/>
              <a:gd name="T32" fmla="*/ 612 w 615"/>
              <a:gd name="T33" fmla="*/ 3486 h 6448"/>
              <a:gd name="T34" fmla="*/ 615 w 615"/>
              <a:gd name="T35" fmla="*/ 3225 h 6448"/>
              <a:gd name="T36" fmla="*/ 612 w 615"/>
              <a:gd name="T37" fmla="*/ 2962 h 6448"/>
              <a:gd name="T38" fmla="*/ 604 w 615"/>
              <a:gd name="T39" fmla="*/ 2707 h 6448"/>
              <a:gd name="T40" fmla="*/ 590 w 615"/>
              <a:gd name="T41" fmla="*/ 2456 h 6448"/>
              <a:gd name="T42" fmla="*/ 571 w 615"/>
              <a:gd name="T43" fmla="*/ 2211 h 6448"/>
              <a:gd name="T44" fmla="*/ 547 w 615"/>
              <a:gd name="T45" fmla="*/ 1974 h 6448"/>
              <a:gd name="T46" fmla="*/ 519 w 615"/>
              <a:gd name="T47" fmla="*/ 1744 h 6448"/>
              <a:gd name="T48" fmla="*/ 486 w 615"/>
              <a:gd name="T49" fmla="*/ 1523 h 6448"/>
              <a:gd name="T50" fmla="*/ 449 w 615"/>
              <a:gd name="T51" fmla="*/ 1309 h 6448"/>
              <a:gd name="T52" fmla="*/ 407 w 615"/>
              <a:gd name="T53" fmla="*/ 1105 h 6448"/>
              <a:gd name="T54" fmla="*/ 362 w 615"/>
              <a:gd name="T55" fmla="*/ 913 h 6448"/>
              <a:gd name="T56" fmla="*/ 313 w 615"/>
              <a:gd name="T57" fmla="*/ 730 h 6448"/>
              <a:gd name="T58" fmla="*/ 259 w 615"/>
              <a:gd name="T59" fmla="*/ 559 h 6448"/>
              <a:gd name="T60" fmla="*/ 203 w 615"/>
              <a:gd name="T61" fmla="*/ 400 h 6448"/>
              <a:gd name="T62" fmla="*/ 143 w 615"/>
              <a:gd name="T63" fmla="*/ 254 h 6448"/>
              <a:gd name="T64" fmla="*/ 81 w 615"/>
              <a:gd name="T65" fmla="*/ 121 h 6448"/>
              <a:gd name="T66" fmla="*/ 16 w 615"/>
              <a:gd name="T67" fmla="*/ 0 h 6448"/>
              <a:gd name="T68" fmla="*/ 0 w 615"/>
              <a:gd name="T69" fmla="*/ 30 h 6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615" h="6448">
                <a:moveTo>
                  <a:pt x="0" y="30"/>
                </a:moveTo>
                <a:lnTo>
                  <a:pt x="0" y="6418"/>
                </a:lnTo>
                <a:lnTo>
                  <a:pt x="8" y="6433"/>
                </a:lnTo>
                <a:lnTo>
                  <a:pt x="16" y="6448"/>
                </a:lnTo>
                <a:lnTo>
                  <a:pt x="49" y="6390"/>
                </a:lnTo>
                <a:lnTo>
                  <a:pt x="81" y="6329"/>
                </a:lnTo>
                <a:lnTo>
                  <a:pt x="113" y="6263"/>
                </a:lnTo>
                <a:lnTo>
                  <a:pt x="143" y="6196"/>
                </a:lnTo>
                <a:lnTo>
                  <a:pt x="174" y="6124"/>
                </a:lnTo>
                <a:lnTo>
                  <a:pt x="203" y="6049"/>
                </a:lnTo>
                <a:lnTo>
                  <a:pt x="231" y="5971"/>
                </a:lnTo>
                <a:lnTo>
                  <a:pt x="259" y="5890"/>
                </a:lnTo>
                <a:lnTo>
                  <a:pt x="286" y="5806"/>
                </a:lnTo>
                <a:lnTo>
                  <a:pt x="313" y="5719"/>
                </a:lnTo>
                <a:lnTo>
                  <a:pt x="337" y="5628"/>
                </a:lnTo>
                <a:lnTo>
                  <a:pt x="362" y="5536"/>
                </a:lnTo>
                <a:lnTo>
                  <a:pt x="385" y="5440"/>
                </a:lnTo>
                <a:lnTo>
                  <a:pt x="407" y="5343"/>
                </a:lnTo>
                <a:lnTo>
                  <a:pt x="428" y="5242"/>
                </a:lnTo>
                <a:lnTo>
                  <a:pt x="449" y="5139"/>
                </a:lnTo>
                <a:lnTo>
                  <a:pt x="467" y="5035"/>
                </a:lnTo>
                <a:lnTo>
                  <a:pt x="486" y="4927"/>
                </a:lnTo>
                <a:lnTo>
                  <a:pt x="503" y="4817"/>
                </a:lnTo>
                <a:lnTo>
                  <a:pt x="519" y="4705"/>
                </a:lnTo>
                <a:lnTo>
                  <a:pt x="534" y="4591"/>
                </a:lnTo>
                <a:lnTo>
                  <a:pt x="547" y="4475"/>
                </a:lnTo>
                <a:lnTo>
                  <a:pt x="560" y="4357"/>
                </a:lnTo>
                <a:lnTo>
                  <a:pt x="571" y="4238"/>
                </a:lnTo>
                <a:lnTo>
                  <a:pt x="581" y="4117"/>
                </a:lnTo>
                <a:lnTo>
                  <a:pt x="590" y="3993"/>
                </a:lnTo>
                <a:lnTo>
                  <a:pt x="597" y="3869"/>
                </a:lnTo>
                <a:lnTo>
                  <a:pt x="604" y="3742"/>
                </a:lnTo>
                <a:lnTo>
                  <a:pt x="608" y="3614"/>
                </a:lnTo>
                <a:lnTo>
                  <a:pt x="612" y="3486"/>
                </a:lnTo>
                <a:lnTo>
                  <a:pt x="614" y="3355"/>
                </a:lnTo>
                <a:lnTo>
                  <a:pt x="615" y="3225"/>
                </a:lnTo>
                <a:lnTo>
                  <a:pt x="614" y="3093"/>
                </a:lnTo>
                <a:lnTo>
                  <a:pt x="612" y="2962"/>
                </a:lnTo>
                <a:lnTo>
                  <a:pt x="608" y="2834"/>
                </a:lnTo>
                <a:lnTo>
                  <a:pt x="604" y="2707"/>
                </a:lnTo>
                <a:lnTo>
                  <a:pt x="598" y="2581"/>
                </a:lnTo>
                <a:lnTo>
                  <a:pt x="590" y="2456"/>
                </a:lnTo>
                <a:lnTo>
                  <a:pt x="581" y="2333"/>
                </a:lnTo>
                <a:lnTo>
                  <a:pt x="571" y="2211"/>
                </a:lnTo>
                <a:lnTo>
                  <a:pt x="560" y="2091"/>
                </a:lnTo>
                <a:lnTo>
                  <a:pt x="547" y="1974"/>
                </a:lnTo>
                <a:lnTo>
                  <a:pt x="534" y="1857"/>
                </a:lnTo>
                <a:lnTo>
                  <a:pt x="519" y="1744"/>
                </a:lnTo>
                <a:lnTo>
                  <a:pt x="503" y="1631"/>
                </a:lnTo>
                <a:lnTo>
                  <a:pt x="486" y="1523"/>
                </a:lnTo>
                <a:lnTo>
                  <a:pt x="467" y="1415"/>
                </a:lnTo>
                <a:lnTo>
                  <a:pt x="449" y="1309"/>
                </a:lnTo>
                <a:lnTo>
                  <a:pt x="428" y="1206"/>
                </a:lnTo>
                <a:lnTo>
                  <a:pt x="407" y="1105"/>
                </a:lnTo>
                <a:lnTo>
                  <a:pt x="385" y="1008"/>
                </a:lnTo>
                <a:lnTo>
                  <a:pt x="362" y="913"/>
                </a:lnTo>
                <a:lnTo>
                  <a:pt x="337" y="820"/>
                </a:lnTo>
                <a:lnTo>
                  <a:pt x="313" y="730"/>
                </a:lnTo>
                <a:lnTo>
                  <a:pt x="286" y="643"/>
                </a:lnTo>
                <a:lnTo>
                  <a:pt x="259" y="559"/>
                </a:lnTo>
                <a:lnTo>
                  <a:pt x="231" y="478"/>
                </a:lnTo>
                <a:lnTo>
                  <a:pt x="203" y="400"/>
                </a:lnTo>
                <a:lnTo>
                  <a:pt x="174" y="325"/>
                </a:lnTo>
                <a:lnTo>
                  <a:pt x="143" y="254"/>
                </a:lnTo>
                <a:lnTo>
                  <a:pt x="113" y="185"/>
                </a:lnTo>
                <a:lnTo>
                  <a:pt x="81" y="121"/>
                </a:lnTo>
                <a:lnTo>
                  <a:pt x="49" y="59"/>
                </a:lnTo>
                <a:lnTo>
                  <a:pt x="16" y="0"/>
                </a:lnTo>
                <a:lnTo>
                  <a:pt x="8" y="15"/>
                </a:lnTo>
                <a:lnTo>
                  <a:pt x="0" y="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8" name="任意多边形: 形状 47">
            <a:extLst>
              <a:ext uri="{FF2B5EF4-FFF2-40B4-BE49-F238E27FC236}">
                <a16:creationId xmlns:a16="http://schemas.microsoft.com/office/drawing/2014/main" id="{7CC4CE37-2998-4E33-BFAA-51FF4D3EBF06}"/>
              </a:ext>
            </a:extLst>
          </p:cNvPr>
          <p:cNvSpPr/>
          <p:nvPr/>
        </p:nvSpPr>
        <p:spPr bwMode="auto">
          <a:xfrm rot="2534512">
            <a:off x="1710539" y="3716052"/>
            <a:ext cx="690554" cy="684128"/>
          </a:xfrm>
          <a:custGeom>
            <a:avLst/>
            <a:gdLst>
              <a:gd name="T0" fmla="*/ 1408 w 3135"/>
              <a:gd name="T1" fmla="*/ 3129 h 3137"/>
              <a:gd name="T2" fmla="*/ 1176 w 3135"/>
              <a:gd name="T3" fmla="*/ 3088 h 3137"/>
              <a:gd name="T4" fmla="*/ 959 w 3135"/>
              <a:gd name="T5" fmla="*/ 3013 h 3137"/>
              <a:gd name="T6" fmla="*/ 756 w 3135"/>
              <a:gd name="T7" fmla="*/ 2910 h 3137"/>
              <a:gd name="T8" fmla="*/ 572 w 3135"/>
              <a:gd name="T9" fmla="*/ 2778 h 3137"/>
              <a:gd name="T10" fmla="*/ 408 w 3135"/>
              <a:gd name="T11" fmla="*/ 2622 h 3137"/>
              <a:gd name="T12" fmla="*/ 268 w 3135"/>
              <a:gd name="T13" fmla="*/ 2444 h 3137"/>
              <a:gd name="T14" fmla="*/ 156 w 3135"/>
              <a:gd name="T15" fmla="*/ 2247 h 3137"/>
              <a:gd name="T16" fmla="*/ 71 w 3135"/>
              <a:gd name="T17" fmla="*/ 2034 h 3137"/>
              <a:gd name="T18" fmla="*/ 18 w 3135"/>
              <a:gd name="T19" fmla="*/ 1806 h 3137"/>
              <a:gd name="T20" fmla="*/ 0 w 3135"/>
              <a:gd name="T21" fmla="*/ 1568 h 3137"/>
              <a:gd name="T22" fmla="*/ 18 w 3135"/>
              <a:gd name="T23" fmla="*/ 1329 h 3137"/>
              <a:gd name="T24" fmla="*/ 71 w 3135"/>
              <a:gd name="T25" fmla="*/ 1102 h 3137"/>
              <a:gd name="T26" fmla="*/ 156 w 3135"/>
              <a:gd name="T27" fmla="*/ 888 h 3137"/>
              <a:gd name="T28" fmla="*/ 268 w 3135"/>
              <a:gd name="T29" fmla="*/ 692 h 3137"/>
              <a:gd name="T30" fmla="*/ 408 w 3135"/>
              <a:gd name="T31" fmla="*/ 514 h 3137"/>
              <a:gd name="T32" fmla="*/ 572 w 3135"/>
              <a:gd name="T33" fmla="*/ 358 h 3137"/>
              <a:gd name="T34" fmla="*/ 756 w 3135"/>
              <a:gd name="T35" fmla="*/ 226 h 3137"/>
              <a:gd name="T36" fmla="*/ 959 w 3135"/>
              <a:gd name="T37" fmla="*/ 123 h 3137"/>
              <a:gd name="T38" fmla="*/ 1176 w 3135"/>
              <a:gd name="T39" fmla="*/ 49 h 3137"/>
              <a:gd name="T40" fmla="*/ 1408 w 3135"/>
              <a:gd name="T41" fmla="*/ 8 h 3137"/>
              <a:gd name="T42" fmla="*/ 1648 w 3135"/>
              <a:gd name="T43" fmla="*/ 2 h 3137"/>
              <a:gd name="T44" fmla="*/ 1883 w 3135"/>
              <a:gd name="T45" fmla="*/ 32 h 3137"/>
              <a:gd name="T46" fmla="*/ 2106 w 3135"/>
              <a:gd name="T47" fmla="*/ 95 h 3137"/>
              <a:gd name="T48" fmla="*/ 2315 w 3135"/>
              <a:gd name="T49" fmla="*/ 189 h 3137"/>
              <a:gd name="T50" fmla="*/ 2505 w 3135"/>
              <a:gd name="T51" fmla="*/ 311 h 3137"/>
              <a:gd name="T52" fmla="*/ 2676 w 3135"/>
              <a:gd name="T53" fmla="*/ 459 h 3137"/>
              <a:gd name="T54" fmla="*/ 2823 w 3135"/>
              <a:gd name="T55" fmla="*/ 630 h 3137"/>
              <a:gd name="T56" fmla="*/ 2946 w 3135"/>
              <a:gd name="T57" fmla="*/ 821 h 3137"/>
              <a:gd name="T58" fmla="*/ 3040 w 3135"/>
              <a:gd name="T59" fmla="*/ 1029 h 3137"/>
              <a:gd name="T60" fmla="*/ 3104 w 3135"/>
              <a:gd name="T61" fmla="*/ 1252 h 3137"/>
              <a:gd name="T62" fmla="*/ 3134 w 3135"/>
              <a:gd name="T63" fmla="*/ 1487 h 3137"/>
              <a:gd name="T64" fmla="*/ 3127 w 3135"/>
              <a:gd name="T65" fmla="*/ 1728 h 3137"/>
              <a:gd name="T66" fmla="*/ 3086 w 3135"/>
              <a:gd name="T67" fmla="*/ 1960 h 3137"/>
              <a:gd name="T68" fmla="*/ 3012 w 3135"/>
              <a:gd name="T69" fmla="*/ 2179 h 3137"/>
              <a:gd name="T70" fmla="*/ 2908 w 3135"/>
              <a:gd name="T71" fmla="*/ 2381 h 3137"/>
              <a:gd name="T72" fmla="*/ 2777 w 3135"/>
              <a:gd name="T73" fmla="*/ 2565 h 3137"/>
              <a:gd name="T74" fmla="*/ 2622 w 3135"/>
              <a:gd name="T75" fmla="*/ 2729 h 3137"/>
              <a:gd name="T76" fmla="*/ 2444 w 3135"/>
              <a:gd name="T77" fmla="*/ 2869 h 3137"/>
              <a:gd name="T78" fmla="*/ 2247 w 3135"/>
              <a:gd name="T79" fmla="*/ 2982 h 3137"/>
              <a:gd name="T80" fmla="*/ 2033 w 3135"/>
              <a:gd name="T81" fmla="*/ 3066 h 3137"/>
              <a:gd name="T82" fmla="*/ 1806 w 3135"/>
              <a:gd name="T83" fmla="*/ 3118 h 3137"/>
              <a:gd name="T84" fmla="*/ 1568 w 3135"/>
              <a:gd name="T85" fmla="*/ 3137 h 3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135" h="3137">
                <a:moveTo>
                  <a:pt x="1568" y="3137"/>
                </a:moveTo>
                <a:lnTo>
                  <a:pt x="1488" y="3135"/>
                </a:lnTo>
                <a:lnTo>
                  <a:pt x="1408" y="3129"/>
                </a:lnTo>
                <a:lnTo>
                  <a:pt x="1330" y="3118"/>
                </a:lnTo>
                <a:lnTo>
                  <a:pt x="1253" y="3105"/>
                </a:lnTo>
                <a:lnTo>
                  <a:pt x="1176" y="3088"/>
                </a:lnTo>
                <a:lnTo>
                  <a:pt x="1103" y="3066"/>
                </a:lnTo>
                <a:lnTo>
                  <a:pt x="1030" y="3042"/>
                </a:lnTo>
                <a:lnTo>
                  <a:pt x="959" y="3013"/>
                </a:lnTo>
                <a:lnTo>
                  <a:pt x="889" y="2982"/>
                </a:lnTo>
                <a:lnTo>
                  <a:pt x="821" y="2948"/>
                </a:lnTo>
                <a:lnTo>
                  <a:pt x="756" y="2910"/>
                </a:lnTo>
                <a:lnTo>
                  <a:pt x="692" y="2869"/>
                </a:lnTo>
                <a:lnTo>
                  <a:pt x="631" y="2825"/>
                </a:lnTo>
                <a:lnTo>
                  <a:pt x="572" y="2778"/>
                </a:lnTo>
                <a:lnTo>
                  <a:pt x="514" y="2729"/>
                </a:lnTo>
                <a:lnTo>
                  <a:pt x="460" y="2677"/>
                </a:lnTo>
                <a:lnTo>
                  <a:pt x="408" y="2622"/>
                </a:lnTo>
                <a:lnTo>
                  <a:pt x="359" y="2565"/>
                </a:lnTo>
                <a:lnTo>
                  <a:pt x="313" y="2506"/>
                </a:lnTo>
                <a:lnTo>
                  <a:pt x="268" y="2444"/>
                </a:lnTo>
                <a:lnTo>
                  <a:pt x="228" y="2381"/>
                </a:lnTo>
                <a:lnTo>
                  <a:pt x="190" y="2315"/>
                </a:lnTo>
                <a:lnTo>
                  <a:pt x="156" y="2247"/>
                </a:lnTo>
                <a:lnTo>
                  <a:pt x="124" y="2179"/>
                </a:lnTo>
                <a:lnTo>
                  <a:pt x="96" y="2106"/>
                </a:lnTo>
                <a:lnTo>
                  <a:pt x="71" y="2034"/>
                </a:lnTo>
                <a:lnTo>
                  <a:pt x="50" y="1960"/>
                </a:lnTo>
                <a:lnTo>
                  <a:pt x="32" y="1884"/>
                </a:lnTo>
                <a:lnTo>
                  <a:pt x="18" y="1806"/>
                </a:lnTo>
                <a:lnTo>
                  <a:pt x="8" y="1728"/>
                </a:lnTo>
                <a:lnTo>
                  <a:pt x="2" y="1649"/>
                </a:lnTo>
                <a:lnTo>
                  <a:pt x="0" y="1568"/>
                </a:lnTo>
                <a:lnTo>
                  <a:pt x="2" y="1487"/>
                </a:lnTo>
                <a:lnTo>
                  <a:pt x="8" y="1408"/>
                </a:lnTo>
                <a:lnTo>
                  <a:pt x="18" y="1329"/>
                </a:lnTo>
                <a:lnTo>
                  <a:pt x="32" y="1252"/>
                </a:lnTo>
                <a:lnTo>
                  <a:pt x="50" y="1177"/>
                </a:lnTo>
                <a:lnTo>
                  <a:pt x="71" y="1102"/>
                </a:lnTo>
                <a:lnTo>
                  <a:pt x="96" y="1029"/>
                </a:lnTo>
                <a:lnTo>
                  <a:pt x="124" y="958"/>
                </a:lnTo>
                <a:lnTo>
                  <a:pt x="156" y="888"/>
                </a:lnTo>
                <a:lnTo>
                  <a:pt x="190" y="820"/>
                </a:lnTo>
                <a:lnTo>
                  <a:pt x="228" y="755"/>
                </a:lnTo>
                <a:lnTo>
                  <a:pt x="268" y="692"/>
                </a:lnTo>
                <a:lnTo>
                  <a:pt x="313" y="630"/>
                </a:lnTo>
                <a:lnTo>
                  <a:pt x="359" y="570"/>
                </a:lnTo>
                <a:lnTo>
                  <a:pt x="408" y="514"/>
                </a:lnTo>
                <a:lnTo>
                  <a:pt x="460" y="459"/>
                </a:lnTo>
                <a:lnTo>
                  <a:pt x="514" y="408"/>
                </a:lnTo>
                <a:lnTo>
                  <a:pt x="572" y="358"/>
                </a:lnTo>
                <a:lnTo>
                  <a:pt x="631" y="311"/>
                </a:lnTo>
                <a:lnTo>
                  <a:pt x="692" y="268"/>
                </a:lnTo>
                <a:lnTo>
                  <a:pt x="756" y="226"/>
                </a:lnTo>
                <a:lnTo>
                  <a:pt x="821" y="189"/>
                </a:lnTo>
                <a:lnTo>
                  <a:pt x="889" y="154"/>
                </a:lnTo>
                <a:lnTo>
                  <a:pt x="959" y="123"/>
                </a:lnTo>
                <a:lnTo>
                  <a:pt x="1030" y="95"/>
                </a:lnTo>
                <a:lnTo>
                  <a:pt x="1102" y="69"/>
                </a:lnTo>
                <a:lnTo>
                  <a:pt x="1176" y="49"/>
                </a:lnTo>
                <a:lnTo>
                  <a:pt x="1252" y="32"/>
                </a:lnTo>
                <a:lnTo>
                  <a:pt x="1330" y="18"/>
                </a:lnTo>
                <a:lnTo>
                  <a:pt x="1408" y="8"/>
                </a:lnTo>
                <a:lnTo>
                  <a:pt x="1488" y="2"/>
                </a:lnTo>
                <a:lnTo>
                  <a:pt x="1568" y="0"/>
                </a:lnTo>
                <a:lnTo>
                  <a:pt x="1648" y="2"/>
                </a:lnTo>
                <a:lnTo>
                  <a:pt x="1728" y="8"/>
                </a:lnTo>
                <a:lnTo>
                  <a:pt x="1806" y="18"/>
                </a:lnTo>
                <a:lnTo>
                  <a:pt x="1883" y="32"/>
                </a:lnTo>
                <a:lnTo>
                  <a:pt x="1960" y="49"/>
                </a:lnTo>
                <a:lnTo>
                  <a:pt x="2033" y="69"/>
                </a:lnTo>
                <a:lnTo>
                  <a:pt x="2106" y="95"/>
                </a:lnTo>
                <a:lnTo>
                  <a:pt x="2177" y="123"/>
                </a:lnTo>
                <a:lnTo>
                  <a:pt x="2247" y="154"/>
                </a:lnTo>
                <a:lnTo>
                  <a:pt x="2315" y="189"/>
                </a:lnTo>
                <a:lnTo>
                  <a:pt x="2380" y="226"/>
                </a:lnTo>
                <a:lnTo>
                  <a:pt x="2444" y="268"/>
                </a:lnTo>
                <a:lnTo>
                  <a:pt x="2505" y="311"/>
                </a:lnTo>
                <a:lnTo>
                  <a:pt x="2564" y="358"/>
                </a:lnTo>
                <a:lnTo>
                  <a:pt x="2622" y="408"/>
                </a:lnTo>
                <a:lnTo>
                  <a:pt x="2676" y="459"/>
                </a:lnTo>
                <a:lnTo>
                  <a:pt x="2727" y="514"/>
                </a:lnTo>
                <a:lnTo>
                  <a:pt x="2777" y="570"/>
                </a:lnTo>
                <a:lnTo>
                  <a:pt x="2823" y="630"/>
                </a:lnTo>
                <a:lnTo>
                  <a:pt x="2867" y="692"/>
                </a:lnTo>
                <a:lnTo>
                  <a:pt x="2908" y="755"/>
                </a:lnTo>
                <a:lnTo>
                  <a:pt x="2946" y="821"/>
                </a:lnTo>
                <a:lnTo>
                  <a:pt x="2980" y="889"/>
                </a:lnTo>
                <a:lnTo>
                  <a:pt x="3012" y="958"/>
                </a:lnTo>
                <a:lnTo>
                  <a:pt x="3040" y="1029"/>
                </a:lnTo>
                <a:lnTo>
                  <a:pt x="3065" y="1102"/>
                </a:lnTo>
                <a:lnTo>
                  <a:pt x="3086" y="1177"/>
                </a:lnTo>
                <a:lnTo>
                  <a:pt x="3104" y="1252"/>
                </a:lnTo>
                <a:lnTo>
                  <a:pt x="3118" y="1329"/>
                </a:lnTo>
                <a:lnTo>
                  <a:pt x="3127" y="1408"/>
                </a:lnTo>
                <a:lnTo>
                  <a:pt x="3134" y="1487"/>
                </a:lnTo>
                <a:lnTo>
                  <a:pt x="3135" y="1568"/>
                </a:lnTo>
                <a:lnTo>
                  <a:pt x="3134" y="1649"/>
                </a:lnTo>
                <a:lnTo>
                  <a:pt x="3127" y="1728"/>
                </a:lnTo>
                <a:lnTo>
                  <a:pt x="3118" y="1807"/>
                </a:lnTo>
                <a:lnTo>
                  <a:pt x="3104" y="1884"/>
                </a:lnTo>
                <a:lnTo>
                  <a:pt x="3086" y="1960"/>
                </a:lnTo>
                <a:lnTo>
                  <a:pt x="3065" y="2034"/>
                </a:lnTo>
                <a:lnTo>
                  <a:pt x="3040" y="2107"/>
                </a:lnTo>
                <a:lnTo>
                  <a:pt x="3012" y="2179"/>
                </a:lnTo>
                <a:lnTo>
                  <a:pt x="2980" y="2247"/>
                </a:lnTo>
                <a:lnTo>
                  <a:pt x="2946" y="2315"/>
                </a:lnTo>
                <a:lnTo>
                  <a:pt x="2908" y="2381"/>
                </a:lnTo>
                <a:lnTo>
                  <a:pt x="2867" y="2444"/>
                </a:lnTo>
                <a:lnTo>
                  <a:pt x="2823" y="2506"/>
                </a:lnTo>
                <a:lnTo>
                  <a:pt x="2777" y="2565"/>
                </a:lnTo>
                <a:lnTo>
                  <a:pt x="2728" y="2622"/>
                </a:lnTo>
                <a:lnTo>
                  <a:pt x="2676" y="2677"/>
                </a:lnTo>
                <a:lnTo>
                  <a:pt x="2622" y="2729"/>
                </a:lnTo>
                <a:lnTo>
                  <a:pt x="2564" y="2778"/>
                </a:lnTo>
                <a:lnTo>
                  <a:pt x="2505" y="2825"/>
                </a:lnTo>
                <a:lnTo>
                  <a:pt x="2444" y="2869"/>
                </a:lnTo>
                <a:lnTo>
                  <a:pt x="2380" y="2910"/>
                </a:lnTo>
                <a:lnTo>
                  <a:pt x="2315" y="2948"/>
                </a:lnTo>
                <a:lnTo>
                  <a:pt x="2247" y="2982"/>
                </a:lnTo>
                <a:lnTo>
                  <a:pt x="2177" y="3013"/>
                </a:lnTo>
                <a:lnTo>
                  <a:pt x="2106" y="3042"/>
                </a:lnTo>
                <a:lnTo>
                  <a:pt x="2033" y="3066"/>
                </a:lnTo>
                <a:lnTo>
                  <a:pt x="1960" y="3088"/>
                </a:lnTo>
                <a:lnTo>
                  <a:pt x="1883" y="3105"/>
                </a:lnTo>
                <a:lnTo>
                  <a:pt x="1806" y="3118"/>
                </a:lnTo>
                <a:lnTo>
                  <a:pt x="1728" y="3129"/>
                </a:lnTo>
                <a:lnTo>
                  <a:pt x="1648" y="3135"/>
                </a:lnTo>
                <a:lnTo>
                  <a:pt x="1568" y="3137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49" name="任意多边形: 形状 48">
            <a:extLst>
              <a:ext uri="{FF2B5EF4-FFF2-40B4-BE49-F238E27FC236}">
                <a16:creationId xmlns:a16="http://schemas.microsoft.com/office/drawing/2014/main" id="{308BB4C4-241F-4976-B08F-6E700140AA5B}"/>
              </a:ext>
            </a:extLst>
          </p:cNvPr>
          <p:cNvSpPr/>
          <p:nvPr/>
        </p:nvSpPr>
        <p:spPr bwMode="auto">
          <a:xfrm rot="2534512">
            <a:off x="1816494" y="3820219"/>
            <a:ext cx="480194" cy="475725"/>
          </a:xfrm>
          <a:custGeom>
            <a:avLst/>
            <a:gdLst>
              <a:gd name="T0" fmla="*/ 978 w 2178"/>
              <a:gd name="T1" fmla="*/ 4 h 2179"/>
              <a:gd name="T2" fmla="*/ 818 w 2178"/>
              <a:gd name="T3" fmla="*/ 33 h 2179"/>
              <a:gd name="T4" fmla="*/ 665 w 2178"/>
              <a:gd name="T5" fmla="*/ 84 h 2179"/>
              <a:gd name="T6" fmla="*/ 524 w 2178"/>
              <a:gd name="T7" fmla="*/ 157 h 2179"/>
              <a:gd name="T8" fmla="*/ 396 w 2178"/>
              <a:gd name="T9" fmla="*/ 248 h 2179"/>
              <a:gd name="T10" fmla="*/ 283 w 2178"/>
              <a:gd name="T11" fmla="*/ 356 h 2179"/>
              <a:gd name="T12" fmla="*/ 186 w 2178"/>
              <a:gd name="T13" fmla="*/ 480 h 2179"/>
              <a:gd name="T14" fmla="*/ 107 w 2178"/>
              <a:gd name="T15" fmla="*/ 616 h 2179"/>
              <a:gd name="T16" fmla="*/ 49 w 2178"/>
              <a:gd name="T17" fmla="*/ 765 h 2179"/>
              <a:gd name="T18" fmla="*/ 12 w 2178"/>
              <a:gd name="T19" fmla="*/ 924 h 2179"/>
              <a:gd name="T20" fmla="*/ 0 w 2178"/>
              <a:gd name="T21" fmla="*/ 1089 h 2179"/>
              <a:gd name="T22" fmla="*/ 12 w 2178"/>
              <a:gd name="T23" fmla="*/ 1255 h 2179"/>
              <a:gd name="T24" fmla="*/ 49 w 2178"/>
              <a:gd name="T25" fmla="*/ 1413 h 2179"/>
              <a:gd name="T26" fmla="*/ 107 w 2178"/>
              <a:gd name="T27" fmla="*/ 1561 h 2179"/>
              <a:gd name="T28" fmla="*/ 186 w 2178"/>
              <a:gd name="T29" fmla="*/ 1698 h 2179"/>
              <a:gd name="T30" fmla="*/ 283 w 2178"/>
              <a:gd name="T31" fmla="*/ 1822 h 2179"/>
              <a:gd name="T32" fmla="*/ 396 w 2178"/>
              <a:gd name="T33" fmla="*/ 1930 h 2179"/>
              <a:gd name="T34" fmla="*/ 524 w 2178"/>
              <a:gd name="T35" fmla="*/ 2022 h 2179"/>
              <a:gd name="T36" fmla="*/ 665 w 2178"/>
              <a:gd name="T37" fmla="*/ 2093 h 2179"/>
              <a:gd name="T38" fmla="*/ 818 w 2178"/>
              <a:gd name="T39" fmla="*/ 2144 h 2179"/>
              <a:gd name="T40" fmla="*/ 978 w 2178"/>
              <a:gd name="T41" fmla="*/ 2173 h 2179"/>
              <a:gd name="T42" fmla="*/ 1145 w 2178"/>
              <a:gd name="T43" fmla="*/ 2178 h 2179"/>
              <a:gd name="T44" fmla="*/ 1308 w 2178"/>
              <a:gd name="T45" fmla="*/ 2157 h 2179"/>
              <a:gd name="T46" fmla="*/ 1464 w 2178"/>
              <a:gd name="T47" fmla="*/ 2112 h 2179"/>
              <a:gd name="T48" fmla="*/ 1608 w 2178"/>
              <a:gd name="T49" fmla="*/ 2047 h 2179"/>
              <a:gd name="T50" fmla="*/ 1741 w 2178"/>
              <a:gd name="T51" fmla="*/ 1962 h 2179"/>
              <a:gd name="T52" fmla="*/ 1859 w 2178"/>
              <a:gd name="T53" fmla="*/ 1860 h 2179"/>
              <a:gd name="T54" fmla="*/ 1962 w 2178"/>
              <a:gd name="T55" fmla="*/ 1741 h 2179"/>
              <a:gd name="T56" fmla="*/ 2047 w 2178"/>
              <a:gd name="T57" fmla="*/ 1608 h 2179"/>
              <a:gd name="T58" fmla="*/ 2112 w 2178"/>
              <a:gd name="T59" fmla="*/ 1463 h 2179"/>
              <a:gd name="T60" fmla="*/ 2156 w 2178"/>
              <a:gd name="T61" fmla="*/ 1309 h 2179"/>
              <a:gd name="T62" fmla="*/ 2177 w 2178"/>
              <a:gd name="T63" fmla="*/ 1145 h 2179"/>
              <a:gd name="T64" fmla="*/ 2173 w 2178"/>
              <a:gd name="T65" fmla="*/ 977 h 2179"/>
              <a:gd name="T66" fmla="*/ 2144 w 2178"/>
              <a:gd name="T67" fmla="*/ 817 h 2179"/>
              <a:gd name="T68" fmla="*/ 2092 w 2178"/>
              <a:gd name="T69" fmla="*/ 666 h 2179"/>
              <a:gd name="T70" fmla="*/ 2020 w 2178"/>
              <a:gd name="T71" fmla="*/ 525 h 2179"/>
              <a:gd name="T72" fmla="*/ 1929 w 2178"/>
              <a:gd name="T73" fmla="*/ 396 h 2179"/>
              <a:gd name="T74" fmla="*/ 1821 w 2178"/>
              <a:gd name="T75" fmla="*/ 283 h 2179"/>
              <a:gd name="T76" fmla="*/ 1697 w 2178"/>
              <a:gd name="T77" fmla="*/ 185 h 2179"/>
              <a:gd name="T78" fmla="*/ 1561 w 2178"/>
              <a:gd name="T79" fmla="*/ 106 h 2179"/>
              <a:gd name="T80" fmla="*/ 1412 w 2178"/>
              <a:gd name="T81" fmla="*/ 48 h 2179"/>
              <a:gd name="T82" fmla="*/ 1255 w 2178"/>
              <a:gd name="T83" fmla="*/ 11 h 2179"/>
              <a:gd name="T84" fmla="*/ 1089 w 2178"/>
              <a:gd name="T85" fmla="*/ 0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178" h="2179">
                <a:moveTo>
                  <a:pt x="1089" y="0"/>
                </a:moveTo>
                <a:lnTo>
                  <a:pt x="1033" y="1"/>
                </a:lnTo>
                <a:lnTo>
                  <a:pt x="978" y="4"/>
                </a:lnTo>
                <a:lnTo>
                  <a:pt x="923" y="11"/>
                </a:lnTo>
                <a:lnTo>
                  <a:pt x="870" y="21"/>
                </a:lnTo>
                <a:lnTo>
                  <a:pt x="818" y="33"/>
                </a:lnTo>
                <a:lnTo>
                  <a:pt x="766" y="48"/>
                </a:lnTo>
                <a:lnTo>
                  <a:pt x="714" y="65"/>
                </a:lnTo>
                <a:lnTo>
                  <a:pt x="665" y="84"/>
                </a:lnTo>
                <a:lnTo>
                  <a:pt x="617" y="106"/>
                </a:lnTo>
                <a:lnTo>
                  <a:pt x="570" y="130"/>
                </a:lnTo>
                <a:lnTo>
                  <a:pt x="524" y="157"/>
                </a:lnTo>
                <a:lnTo>
                  <a:pt x="481" y="185"/>
                </a:lnTo>
                <a:lnTo>
                  <a:pt x="437" y="216"/>
                </a:lnTo>
                <a:lnTo>
                  <a:pt x="396" y="248"/>
                </a:lnTo>
                <a:lnTo>
                  <a:pt x="357" y="283"/>
                </a:lnTo>
                <a:lnTo>
                  <a:pt x="319" y="318"/>
                </a:lnTo>
                <a:lnTo>
                  <a:pt x="283" y="356"/>
                </a:lnTo>
                <a:lnTo>
                  <a:pt x="248" y="396"/>
                </a:lnTo>
                <a:lnTo>
                  <a:pt x="216" y="438"/>
                </a:lnTo>
                <a:lnTo>
                  <a:pt x="186" y="480"/>
                </a:lnTo>
                <a:lnTo>
                  <a:pt x="158" y="525"/>
                </a:lnTo>
                <a:lnTo>
                  <a:pt x="131" y="569"/>
                </a:lnTo>
                <a:lnTo>
                  <a:pt x="107" y="616"/>
                </a:lnTo>
                <a:lnTo>
                  <a:pt x="86" y="666"/>
                </a:lnTo>
                <a:lnTo>
                  <a:pt x="66" y="715"/>
                </a:lnTo>
                <a:lnTo>
                  <a:pt x="49" y="765"/>
                </a:lnTo>
                <a:lnTo>
                  <a:pt x="34" y="817"/>
                </a:lnTo>
                <a:lnTo>
                  <a:pt x="22" y="870"/>
                </a:lnTo>
                <a:lnTo>
                  <a:pt x="12" y="924"/>
                </a:lnTo>
                <a:lnTo>
                  <a:pt x="5" y="977"/>
                </a:lnTo>
                <a:lnTo>
                  <a:pt x="1" y="1032"/>
                </a:lnTo>
                <a:lnTo>
                  <a:pt x="0" y="1089"/>
                </a:lnTo>
                <a:lnTo>
                  <a:pt x="1" y="1145"/>
                </a:lnTo>
                <a:lnTo>
                  <a:pt x="5" y="1200"/>
                </a:lnTo>
                <a:lnTo>
                  <a:pt x="12" y="1255"/>
                </a:lnTo>
                <a:lnTo>
                  <a:pt x="22" y="1309"/>
                </a:lnTo>
                <a:lnTo>
                  <a:pt x="34" y="1361"/>
                </a:lnTo>
                <a:lnTo>
                  <a:pt x="49" y="1413"/>
                </a:lnTo>
                <a:lnTo>
                  <a:pt x="66" y="1463"/>
                </a:lnTo>
                <a:lnTo>
                  <a:pt x="86" y="1513"/>
                </a:lnTo>
                <a:lnTo>
                  <a:pt x="107" y="1561"/>
                </a:lnTo>
                <a:lnTo>
                  <a:pt x="131" y="1608"/>
                </a:lnTo>
                <a:lnTo>
                  <a:pt x="158" y="1654"/>
                </a:lnTo>
                <a:lnTo>
                  <a:pt x="186" y="1698"/>
                </a:lnTo>
                <a:lnTo>
                  <a:pt x="216" y="1741"/>
                </a:lnTo>
                <a:lnTo>
                  <a:pt x="248" y="1782"/>
                </a:lnTo>
                <a:lnTo>
                  <a:pt x="283" y="1822"/>
                </a:lnTo>
                <a:lnTo>
                  <a:pt x="319" y="1860"/>
                </a:lnTo>
                <a:lnTo>
                  <a:pt x="357" y="1896"/>
                </a:lnTo>
                <a:lnTo>
                  <a:pt x="396" y="1930"/>
                </a:lnTo>
                <a:lnTo>
                  <a:pt x="437" y="1962"/>
                </a:lnTo>
                <a:lnTo>
                  <a:pt x="481" y="1993"/>
                </a:lnTo>
                <a:lnTo>
                  <a:pt x="524" y="2022"/>
                </a:lnTo>
                <a:lnTo>
                  <a:pt x="570" y="2047"/>
                </a:lnTo>
                <a:lnTo>
                  <a:pt x="617" y="2071"/>
                </a:lnTo>
                <a:lnTo>
                  <a:pt x="665" y="2093"/>
                </a:lnTo>
                <a:lnTo>
                  <a:pt x="714" y="2113"/>
                </a:lnTo>
                <a:lnTo>
                  <a:pt x="765" y="2129"/>
                </a:lnTo>
                <a:lnTo>
                  <a:pt x="818" y="2144"/>
                </a:lnTo>
                <a:lnTo>
                  <a:pt x="870" y="2157"/>
                </a:lnTo>
                <a:lnTo>
                  <a:pt x="923" y="2166"/>
                </a:lnTo>
                <a:lnTo>
                  <a:pt x="978" y="2173"/>
                </a:lnTo>
                <a:lnTo>
                  <a:pt x="1033" y="2178"/>
                </a:lnTo>
                <a:lnTo>
                  <a:pt x="1089" y="2179"/>
                </a:lnTo>
                <a:lnTo>
                  <a:pt x="1145" y="2178"/>
                </a:lnTo>
                <a:lnTo>
                  <a:pt x="1200" y="2173"/>
                </a:lnTo>
                <a:lnTo>
                  <a:pt x="1255" y="2166"/>
                </a:lnTo>
                <a:lnTo>
                  <a:pt x="1308" y="2157"/>
                </a:lnTo>
                <a:lnTo>
                  <a:pt x="1360" y="2144"/>
                </a:lnTo>
                <a:lnTo>
                  <a:pt x="1412" y="2129"/>
                </a:lnTo>
                <a:lnTo>
                  <a:pt x="1464" y="2112"/>
                </a:lnTo>
                <a:lnTo>
                  <a:pt x="1513" y="2093"/>
                </a:lnTo>
                <a:lnTo>
                  <a:pt x="1561" y="2071"/>
                </a:lnTo>
                <a:lnTo>
                  <a:pt x="1608" y="2047"/>
                </a:lnTo>
                <a:lnTo>
                  <a:pt x="1654" y="2020"/>
                </a:lnTo>
                <a:lnTo>
                  <a:pt x="1697" y="1993"/>
                </a:lnTo>
                <a:lnTo>
                  <a:pt x="1741" y="1962"/>
                </a:lnTo>
                <a:lnTo>
                  <a:pt x="1782" y="1930"/>
                </a:lnTo>
                <a:lnTo>
                  <a:pt x="1821" y="1896"/>
                </a:lnTo>
                <a:lnTo>
                  <a:pt x="1859" y="1860"/>
                </a:lnTo>
                <a:lnTo>
                  <a:pt x="1895" y="1821"/>
                </a:lnTo>
                <a:lnTo>
                  <a:pt x="1930" y="1782"/>
                </a:lnTo>
                <a:lnTo>
                  <a:pt x="1962" y="1741"/>
                </a:lnTo>
                <a:lnTo>
                  <a:pt x="1992" y="1698"/>
                </a:lnTo>
                <a:lnTo>
                  <a:pt x="2020" y="1654"/>
                </a:lnTo>
                <a:lnTo>
                  <a:pt x="2047" y="1608"/>
                </a:lnTo>
                <a:lnTo>
                  <a:pt x="2071" y="1561"/>
                </a:lnTo>
                <a:lnTo>
                  <a:pt x="2092" y="1513"/>
                </a:lnTo>
                <a:lnTo>
                  <a:pt x="2112" y="1463"/>
                </a:lnTo>
                <a:lnTo>
                  <a:pt x="2129" y="1413"/>
                </a:lnTo>
                <a:lnTo>
                  <a:pt x="2144" y="1361"/>
                </a:lnTo>
                <a:lnTo>
                  <a:pt x="2156" y="1309"/>
                </a:lnTo>
                <a:lnTo>
                  <a:pt x="2166" y="1255"/>
                </a:lnTo>
                <a:lnTo>
                  <a:pt x="2173" y="1200"/>
                </a:lnTo>
                <a:lnTo>
                  <a:pt x="2177" y="1145"/>
                </a:lnTo>
                <a:lnTo>
                  <a:pt x="2178" y="1089"/>
                </a:lnTo>
                <a:lnTo>
                  <a:pt x="2177" y="1032"/>
                </a:lnTo>
                <a:lnTo>
                  <a:pt x="2173" y="977"/>
                </a:lnTo>
                <a:lnTo>
                  <a:pt x="2166" y="924"/>
                </a:lnTo>
                <a:lnTo>
                  <a:pt x="2156" y="870"/>
                </a:lnTo>
                <a:lnTo>
                  <a:pt x="2144" y="817"/>
                </a:lnTo>
                <a:lnTo>
                  <a:pt x="2129" y="765"/>
                </a:lnTo>
                <a:lnTo>
                  <a:pt x="2112" y="715"/>
                </a:lnTo>
                <a:lnTo>
                  <a:pt x="2092" y="666"/>
                </a:lnTo>
                <a:lnTo>
                  <a:pt x="2071" y="616"/>
                </a:lnTo>
                <a:lnTo>
                  <a:pt x="2047" y="569"/>
                </a:lnTo>
                <a:lnTo>
                  <a:pt x="2020" y="525"/>
                </a:lnTo>
                <a:lnTo>
                  <a:pt x="1992" y="480"/>
                </a:lnTo>
                <a:lnTo>
                  <a:pt x="1962" y="438"/>
                </a:lnTo>
                <a:lnTo>
                  <a:pt x="1929" y="396"/>
                </a:lnTo>
                <a:lnTo>
                  <a:pt x="1895" y="356"/>
                </a:lnTo>
                <a:lnTo>
                  <a:pt x="1859" y="318"/>
                </a:lnTo>
                <a:lnTo>
                  <a:pt x="1821" y="283"/>
                </a:lnTo>
                <a:lnTo>
                  <a:pt x="1782" y="248"/>
                </a:lnTo>
                <a:lnTo>
                  <a:pt x="1741" y="216"/>
                </a:lnTo>
                <a:lnTo>
                  <a:pt x="1697" y="185"/>
                </a:lnTo>
                <a:lnTo>
                  <a:pt x="1654" y="157"/>
                </a:lnTo>
                <a:lnTo>
                  <a:pt x="1608" y="130"/>
                </a:lnTo>
                <a:lnTo>
                  <a:pt x="1561" y="106"/>
                </a:lnTo>
                <a:lnTo>
                  <a:pt x="1513" y="84"/>
                </a:lnTo>
                <a:lnTo>
                  <a:pt x="1464" y="65"/>
                </a:lnTo>
                <a:lnTo>
                  <a:pt x="1412" y="48"/>
                </a:lnTo>
                <a:lnTo>
                  <a:pt x="1360" y="33"/>
                </a:lnTo>
                <a:lnTo>
                  <a:pt x="1308" y="21"/>
                </a:lnTo>
                <a:lnTo>
                  <a:pt x="1255" y="11"/>
                </a:lnTo>
                <a:lnTo>
                  <a:pt x="1200" y="4"/>
                </a:lnTo>
                <a:lnTo>
                  <a:pt x="1145" y="1"/>
                </a:lnTo>
                <a:lnTo>
                  <a:pt x="1089" y="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0" name="任意多边形: 形状 49">
            <a:extLst>
              <a:ext uri="{FF2B5EF4-FFF2-40B4-BE49-F238E27FC236}">
                <a16:creationId xmlns:a16="http://schemas.microsoft.com/office/drawing/2014/main" id="{36634F06-BC3B-4017-8C55-101C22FB015F}"/>
              </a:ext>
            </a:extLst>
          </p:cNvPr>
          <p:cNvSpPr/>
          <p:nvPr/>
        </p:nvSpPr>
        <p:spPr bwMode="auto">
          <a:xfrm rot="2534512">
            <a:off x="2008587" y="3831184"/>
            <a:ext cx="348030" cy="684128"/>
          </a:xfrm>
          <a:custGeom>
            <a:avLst/>
            <a:gdLst>
              <a:gd name="T0" fmla="*/ 0 w 1583"/>
              <a:gd name="T1" fmla="*/ 0 h 3137"/>
              <a:gd name="T2" fmla="*/ 16 w 1583"/>
              <a:gd name="T3" fmla="*/ 479 h 3137"/>
              <a:gd name="T4" fmla="*/ 182 w 1583"/>
              <a:gd name="T5" fmla="*/ 490 h 3137"/>
              <a:gd name="T6" fmla="*/ 339 w 1583"/>
              <a:gd name="T7" fmla="*/ 527 h 3137"/>
              <a:gd name="T8" fmla="*/ 488 w 1583"/>
              <a:gd name="T9" fmla="*/ 585 h 3137"/>
              <a:gd name="T10" fmla="*/ 624 w 1583"/>
              <a:gd name="T11" fmla="*/ 664 h 3137"/>
              <a:gd name="T12" fmla="*/ 748 w 1583"/>
              <a:gd name="T13" fmla="*/ 762 h 3137"/>
              <a:gd name="T14" fmla="*/ 856 w 1583"/>
              <a:gd name="T15" fmla="*/ 875 h 3137"/>
              <a:gd name="T16" fmla="*/ 947 w 1583"/>
              <a:gd name="T17" fmla="*/ 1004 h 3137"/>
              <a:gd name="T18" fmla="*/ 1019 w 1583"/>
              <a:gd name="T19" fmla="*/ 1145 h 3137"/>
              <a:gd name="T20" fmla="*/ 1071 w 1583"/>
              <a:gd name="T21" fmla="*/ 1296 h 3137"/>
              <a:gd name="T22" fmla="*/ 1100 w 1583"/>
              <a:gd name="T23" fmla="*/ 1456 h 3137"/>
              <a:gd name="T24" fmla="*/ 1104 w 1583"/>
              <a:gd name="T25" fmla="*/ 1624 h 3137"/>
              <a:gd name="T26" fmla="*/ 1083 w 1583"/>
              <a:gd name="T27" fmla="*/ 1788 h 3137"/>
              <a:gd name="T28" fmla="*/ 1039 w 1583"/>
              <a:gd name="T29" fmla="*/ 1942 h 3137"/>
              <a:gd name="T30" fmla="*/ 974 w 1583"/>
              <a:gd name="T31" fmla="*/ 2087 h 3137"/>
              <a:gd name="T32" fmla="*/ 889 w 1583"/>
              <a:gd name="T33" fmla="*/ 2220 h 3137"/>
              <a:gd name="T34" fmla="*/ 786 w 1583"/>
              <a:gd name="T35" fmla="*/ 2339 h 3137"/>
              <a:gd name="T36" fmla="*/ 668 w 1583"/>
              <a:gd name="T37" fmla="*/ 2441 h 3137"/>
              <a:gd name="T38" fmla="*/ 535 w 1583"/>
              <a:gd name="T39" fmla="*/ 2526 h 3137"/>
              <a:gd name="T40" fmla="*/ 391 w 1583"/>
              <a:gd name="T41" fmla="*/ 2591 h 3137"/>
              <a:gd name="T42" fmla="*/ 235 w 1583"/>
              <a:gd name="T43" fmla="*/ 2636 h 3137"/>
              <a:gd name="T44" fmla="*/ 72 w 1583"/>
              <a:gd name="T45" fmla="*/ 2657 h 3137"/>
              <a:gd name="T46" fmla="*/ 0 w 1583"/>
              <a:gd name="T47" fmla="*/ 2658 h 3137"/>
              <a:gd name="T48" fmla="*/ 16 w 1583"/>
              <a:gd name="T49" fmla="*/ 3137 h 3137"/>
              <a:gd name="T50" fmla="*/ 254 w 1583"/>
              <a:gd name="T51" fmla="*/ 3118 h 3137"/>
              <a:gd name="T52" fmla="*/ 481 w 1583"/>
              <a:gd name="T53" fmla="*/ 3066 h 3137"/>
              <a:gd name="T54" fmla="*/ 695 w 1583"/>
              <a:gd name="T55" fmla="*/ 2982 h 3137"/>
              <a:gd name="T56" fmla="*/ 892 w 1583"/>
              <a:gd name="T57" fmla="*/ 2869 h 3137"/>
              <a:gd name="T58" fmla="*/ 1070 w 1583"/>
              <a:gd name="T59" fmla="*/ 2729 h 3137"/>
              <a:gd name="T60" fmla="*/ 1225 w 1583"/>
              <a:gd name="T61" fmla="*/ 2565 h 3137"/>
              <a:gd name="T62" fmla="*/ 1356 w 1583"/>
              <a:gd name="T63" fmla="*/ 2381 h 3137"/>
              <a:gd name="T64" fmla="*/ 1460 w 1583"/>
              <a:gd name="T65" fmla="*/ 2179 h 3137"/>
              <a:gd name="T66" fmla="*/ 1534 w 1583"/>
              <a:gd name="T67" fmla="*/ 1960 h 3137"/>
              <a:gd name="T68" fmla="*/ 1575 w 1583"/>
              <a:gd name="T69" fmla="*/ 1728 h 3137"/>
              <a:gd name="T70" fmla="*/ 1582 w 1583"/>
              <a:gd name="T71" fmla="*/ 1487 h 3137"/>
              <a:gd name="T72" fmla="*/ 1552 w 1583"/>
              <a:gd name="T73" fmla="*/ 1252 h 3137"/>
              <a:gd name="T74" fmla="*/ 1488 w 1583"/>
              <a:gd name="T75" fmla="*/ 1029 h 3137"/>
              <a:gd name="T76" fmla="*/ 1394 w 1583"/>
              <a:gd name="T77" fmla="*/ 821 h 3137"/>
              <a:gd name="T78" fmla="*/ 1271 w 1583"/>
              <a:gd name="T79" fmla="*/ 630 h 3137"/>
              <a:gd name="T80" fmla="*/ 1124 w 1583"/>
              <a:gd name="T81" fmla="*/ 459 h 3137"/>
              <a:gd name="T82" fmla="*/ 953 w 1583"/>
              <a:gd name="T83" fmla="*/ 311 h 3137"/>
              <a:gd name="T84" fmla="*/ 763 w 1583"/>
              <a:gd name="T85" fmla="*/ 189 h 3137"/>
              <a:gd name="T86" fmla="*/ 554 w 1583"/>
              <a:gd name="T87" fmla="*/ 95 h 3137"/>
              <a:gd name="T88" fmla="*/ 331 w 1583"/>
              <a:gd name="T89" fmla="*/ 32 h 3137"/>
              <a:gd name="T90" fmla="*/ 96 w 1583"/>
              <a:gd name="T91" fmla="*/ 2 h 31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583" h="3137">
                <a:moveTo>
                  <a:pt x="16" y="0"/>
                </a:moveTo>
                <a:lnTo>
                  <a:pt x="8" y="0"/>
                </a:lnTo>
                <a:lnTo>
                  <a:pt x="0" y="0"/>
                </a:lnTo>
                <a:lnTo>
                  <a:pt x="0" y="479"/>
                </a:lnTo>
                <a:lnTo>
                  <a:pt x="8" y="479"/>
                </a:lnTo>
                <a:lnTo>
                  <a:pt x="16" y="479"/>
                </a:lnTo>
                <a:lnTo>
                  <a:pt x="72" y="480"/>
                </a:lnTo>
                <a:lnTo>
                  <a:pt x="127" y="483"/>
                </a:lnTo>
                <a:lnTo>
                  <a:pt x="182" y="490"/>
                </a:lnTo>
                <a:lnTo>
                  <a:pt x="235" y="500"/>
                </a:lnTo>
                <a:lnTo>
                  <a:pt x="287" y="512"/>
                </a:lnTo>
                <a:lnTo>
                  <a:pt x="339" y="527"/>
                </a:lnTo>
                <a:lnTo>
                  <a:pt x="391" y="544"/>
                </a:lnTo>
                <a:lnTo>
                  <a:pt x="440" y="563"/>
                </a:lnTo>
                <a:lnTo>
                  <a:pt x="488" y="585"/>
                </a:lnTo>
                <a:lnTo>
                  <a:pt x="535" y="609"/>
                </a:lnTo>
                <a:lnTo>
                  <a:pt x="581" y="636"/>
                </a:lnTo>
                <a:lnTo>
                  <a:pt x="624" y="664"/>
                </a:lnTo>
                <a:lnTo>
                  <a:pt x="668" y="695"/>
                </a:lnTo>
                <a:lnTo>
                  <a:pt x="709" y="727"/>
                </a:lnTo>
                <a:lnTo>
                  <a:pt x="748" y="762"/>
                </a:lnTo>
                <a:lnTo>
                  <a:pt x="786" y="797"/>
                </a:lnTo>
                <a:lnTo>
                  <a:pt x="822" y="835"/>
                </a:lnTo>
                <a:lnTo>
                  <a:pt x="856" y="875"/>
                </a:lnTo>
                <a:lnTo>
                  <a:pt x="889" y="917"/>
                </a:lnTo>
                <a:lnTo>
                  <a:pt x="919" y="959"/>
                </a:lnTo>
                <a:lnTo>
                  <a:pt x="947" y="1004"/>
                </a:lnTo>
                <a:lnTo>
                  <a:pt x="974" y="1048"/>
                </a:lnTo>
                <a:lnTo>
                  <a:pt x="998" y="1095"/>
                </a:lnTo>
                <a:lnTo>
                  <a:pt x="1019" y="1145"/>
                </a:lnTo>
                <a:lnTo>
                  <a:pt x="1039" y="1194"/>
                </a:lnTo>
                <a:lnTo>
                  <a:pt x="1056" y="1244"/>
                </a:lnTo>
                <a:lnTo>
                  <a:pt x="1071" y="1296"/>
                </a:lnTo>
                <a:lnTo>
                  <a:pt x="1083" y="1349"/>
                </a:lnTo>
                <a:lnTo>
                  <a:pt x="1093" y="1403"/>
                </a:lnTo>
                <a:lnTo>
                  <a:pt x="1100" y="1456"/>
                </a:lnTo>
                <a:lnTo>
                  <a:pt x="1104" y="1511"/>
                </a:lnTo>
                <a:lnTo>
                  <a:pt x="1105" y="1568"/>
                </a:lnTo>
                <a:lnTo>
                  <a:pt x="1104" y="1624"/>
                </a:lnTo>
                <a:lnTo>
                  <a:pt x="1100" y="1679"/>
                </a:lnTo>
                <a:lnTo>
                  <a:pt x="1093" y="1734"/>
                </a:lnTo>
                <a:lnTo>
                  <a:pt x="1083" y="1788"/>
                </a:lnTo>
                <a:lnTo>
                  <a:pt x="1071" y="1840"/>
                </a:lnTo>
                <a:lnTo>
                  <a:pt x="1056" y="1892"/>
                </a:lnTo>
                <a:lnTo>
                  <a:pt x="1039" y="1942"/>
                </a:lnTo>
                <a:lnTo>
                  <a:pt x="1019" y="1992"/>
                </a:lnTo>
                <a:lnTo>
                  <a:pt x="998" y="2040"/>
                </a:lnTo>
                <a:lnTo>
                  <a:pt x="974" y="2087"/>
                </a:lnTo>
                <a:lnTo>
                  <a:pt x="947" y="2133"/>
                </a:lnTo>
                <a:lnTo>
                  <a:pt x="919" y="2177"/>
                </a:lnTo>
                <a:lnTo>
                  <a:pt x="889" y="2220"/>
                </a:lnTo>
                <a:lnTo>
                  <a:pt x="857" y="2261"/>
                </a:lnTo>
                <a:lnTo>
                  <a:pt x="822" y="2300"/>
                </a:lnTo>
                <a:lnTo>
                  <a:pt x="786" y="2339"/>
                </a:lnTo>
                <a:lnTo>
                  <a:pt x="748" y="2375"/>
                </a:lnTo>
                <a:lnTo>
                  <a:pt x="709" y="2409"/>
                </a:lnTo>
                <a:lnTo>
                  <a:pt x="668" y="2441"/>
                </a:lnTo>
                <a:lnTo>
                  <a:pt x="624" y="2472"/>
                </a:lnTo>
                <a:lnTo>
                  <a:pt x="581" y="2499"/>
                </a:lnTo>
                <a:lnTo>
                  <a:pt x="535" y="2526"/>
                </a:lnTo>
                <a:lnTo>
                  <a:pt x="488" y="2550"/>
                </a:lnTo>
                <a:lnTo>
                  <a:pt x="440" y="2572"/>
                </a:lnTo>
                <a:lnTo>
                  <a:pt x="391" y="2591"/>
                </a:lnTo>
                <a:lnTo>
                  <a:pt x="339" y="2608"/>
                </a:lnTo>
                <a:lnTo>
                  <a:pt x="287" y="2623"/>
                </a:lnTo>
                <a:lnTo>
                  <a:pt x="235" y="2636"/>
                </a:lnTo>
                <a:lnTo>
                  <a:pt x="182" y="2645"/>
                </a:lnTo>
                <a:lnTo>
                  <a:pt x="127" y="2652"/>
                </a:lnTo>
                <a:lnTo>
                  <a:pt x="72" y="2657"/>
                </a:lnTo>
                <a:lnTo>
                  <a:pt x="16" y="2658"/>
                </a:lnTo>
                <a:lnTo>
                  <a:pt x="8" y="2658"/>
                </a:lnTo>
                <a:lnTo>
                  <a:pt x="0" y="2658"/>
                </a:lnTo>
                <a:lnTo>
                  <a:pt x="0" y="3136"/>
                </a:lnTo>
                <a:lnTo>
                  <a:pt x="8" y="3136"/>
                </a:lnTo>
                <a:lnTo>
                  <a:pt x="16" y="3137"/>
                </a:lnTo>
                <a:lnTo>
                  <a:pt x="96" y="3135"/>
                </a:lnTo>
                <a:lnTo>
                  <a:pt x="176" y="3129"/>
                </a:lnTo>
                <a:lnTo>
                  <a:pt x="254" y="3118"/>
                </a:lnTo>
                <a:lnTo>
                  <a:pt x="331" y="3105"/>
                </a:lnTo>
                <a:lnTo>
                  <a:pt x="408" y="3088"/>
                </a:lnTo>
                <a:lnTo>
                  <a:pt x="481" y="3066"/>
                </a:lnTo>
                <a:lnTo>
                  <a:pt x="554" y="3042"/>
                </a:lnTo>
                <a:lnTo>
                  <a:pt x="625" y="3013"/>
                </a:lnTo>
                <a:lnTo>
                  <a:pt x="695" y="2982"/>
                </a:lnTo>
                <a:lnTo>
                  <a:pt x="763" y="2948"/>
                </a:lnTo>
                <a:lnTo>
                  <a:pt x="828" y="2910"/>
                </a:lnTo>
                <a:lnTo>
                  <a:pt x="892" y="2869"/>
                </a:lnTo>
                <a:lnTo>
                  <a:pt x="953" y="2825"/>
                </a:lnTo>
                <a:lnTo>
                  <a:pt x="1012" y="2778"/>
                </a:lnTo>
                <a:lnTo>
                  <a:pt x="1070" y="2729"/>
                </a:lnTo>
                <a:lnTo>
                  <a:pt x="1124" y="2677"/>
                </a:lnTo>
                <a:lnTo>
                  <a:pt x="1176" y="2622"/>
                </a:lnTo>
                <a:lnTo>
                  <a:pt x="1225" y="2565"/>
                </a:lnTo>
                <a:lnTo>
                  <a:pt x="1271" y="2506"/>
                </a:lnTo>
                <a:lnTo>
                  <a:pt x="1315" y="2444"/>
                </a:lnTo>
                <a:lnTo>
                  <a:pt x="1356" y="2381"/>
                </a:lnTo>
                <a:lnTo>
                  <a:pt x="1394" y="2315"/>
                </a:lnTo>
                <a:lnTo>
                  <a:pt x="1428" y="2247"/>
                </a:lnTo>
                <a:lnTo>
                  <a:pt x="1460" y="2179"/>
                </a:lnTo>
                <a:lnTo>
                  <a:pt x="1488" y="2107"/>
                </a:lnTo>
                <a:lnTo>
                  <a:pt x="1513" y="2034"/>
                </a:lnTo>
                <a:lnTo>
                  <a:pt x="1534" y="1960"/>
                </a:lnTo>
                <a:lnTo>
                  <a:pt x="1552" y="1884"/>
                </a:lnTo>
                <a:lnTo>
                  <a:pt x="1566" y="1807"/>
                </a:lnTo>
                <a:lnTo>
                  <a:pt x="1575" y="1728"/>
                </a:lnTo>
                <a:lnTo>
                  <a:pt x="1582" y="1649"/>
                </a:lnTo>
                <a:lnTo>
                  <a:pt x="1583" y="1568"/>
                </a:lnTo>
                <a:lnTo>
                  <a:pt x="1582" y="1487"/>
                </a:lnTo>
                <a:lnTo>
                  <a:pt x="1575" y="1408"/>
                </a:lnTo>
                <a:lnTo>
                  <a:pt x="1566" y="1329"/>
                </a:lnTo>
                <a:lnTo>
                  <a:pt x="1552" y="1252"/>
                </a:lnTo>
                <a:lnTo>
                  <a:pt x="1534" y="1177"/>
                </a:lnTo>
                <a:lnTo>
                  <a:pt x="1513" y="1102"/>
                </a:lnTo>
                <a:lnTo>
                  <a:pt x="1488" y="1029"/>
                </a:lnTo>
                <a:lnTo>
                  <a:pt x="1460" y="958"/>
                </a:lnTo>
                <a:lnTo>
                  <a:pt x="1428" y="889"/>
                </a:lnTo>
                <a:lnTo>
                  <a:pt x="1394" y="821"/>
                </a:lnTo>
                <a:lnTo>
                  <a:pt x="1356" y="755"/>
                </a:lnTo>
                <a:lnTo>
                  <a:pt x="1315" y="692"/>
                </a:lnTo>
                <a:lnTo>
                  <a:pt x="1271" y="630"/>
                </a:lnTo>
                <a:lnTo>
                  <a:pt x="1225" y="570"/>
                </a:lnTo>
                <a:lnTo>
                  <a:pt x="1175" y="514"/>
                </a:lnTo>
                <a:lnTo>
                  <a:pt x="1124" y="459"/>
                </a:lnTo>
                <a:lnTo>
                  <a:pt x="1070" y="408"/>
                </a:lnTo>
                <a:lnTo>
                  <a:pt x="1012" y="358"/>
                </a:lnTo>
                <a:lnTo>
                  <a:pt x="953" y="311"/>
                </a:lnTo>
                <a:lnTo>
                  <a:pt x="892" y="268"/>
                </a:lnTo>
                <a:lnTo>
                  <a:pt x="828" y="226"/>
                </a:lnTo>
                <a:lnTo>
                  <a:pt x="763" y="189"/>
                </a:lnTo>
                <a:lnTo>
                  <a:pt x="695" y="154"/>
                </a:lnTo>
                <a:lnTo>
                  <a:pt x="625" y="123"/>
                </a:lnTo>
                <a:lnTo>
                  <a:pt x="554" y="95"/>
                </a:lnTo>
                <a:lnTo>
                  <a:pt x="481" y="69"/>
                </a:lnTo>
                <a:lnTo>
                  <a:pt x="408" y="49"/>
                </a:lnTo>
                <a:lnTo>
                  <a:pt x="331" y="32"/>
                </a:lnTo>
                <a:lnTo>
                  <a:pt x="254" y="18"/>
                </a:lnTo>
                <a:lnTo>
                  <a:pt x="176" y="8"/>
                </a:lnTo>
                <a:lnTo>
                  <a:pt x="96" y="2"/>
                </a:lnTo>
                <a:lnTo>
                  <a:pt x="16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sp>
        <p:nvSpPr>
          <p:cNvPr id="51" name="任意多边形: 形状 50">
            <a:extLst>
              <a:ext uri="{FF2B5EF4-FFF2-40B4-BE49-F238E27FC236}">
                <a16:creationId xmlns:a16="http://schemas.microsoft.com/office/drawing/2014/main" id="{88345432-1E7D-41F8-BAD4-9E1B07D3C2D7}"/>
              </a:ext>
            </a:extLst>
          </p:cNvPr>
          <p:cNvSpPr/>
          <p:nvPr/>
        </p:nvSpPr>
        <p:spPr bwMode="auto">
          <a:xfrm rot="2534512">
            <a:off x="2022540" y="3899812"/>
            <a:ext cx="243401" cy="475725"/>
          </a:xfrm>
          <a:custGeom>
            <a:avLst/>
            <a:gdLst>
              <a:gd name="T0" fmla="*/ 1104 w 1105"/>
              <a:gd name="T1" fmla="*/ 1032 h 2179"/>
              <a:gd name="T2" fmla="*/ 1093 w 1105"/>
              <a:gd name="T3" fmla="*/ 924 h 2179"/>
              <a:gd name="T4" fmla="*/ 1071 w 1105"/>
              <a:gd name="T5" fmla="*/ 817 h 2179"/>
              <a:gd name="T6" fmla="*/ 1039 w 1105"/>
              <a:gd name="T7" fmla="*/ 715 h 2179"/>
              <a:gd name="T8" fmla="*/ 998 w 1105"/>
              <a:gd name="T9" fmla="*/ 616 h 2179"/>
              <a:gd name="T10" fmla="*/ 947 w 1105"/>
              <a:gd name="T11" fmla="*/ 525 h 2179"/>
              <a:gd name="T12" fmla="*/ 889 w 1105"/>
              <a:gd name="T13" fmla="*/ 438 h 2179"/>
              <a:gd name="T14" fmla="*/ 822 w 1105"/>
              <a:gd name="T15" fmla="*/ 356 h 2179"/>
              <a:gd name="T16" fmla="*/ 748 w 1105"/>
              <a:gd name="T17" fmla="*/ 283 h 2179"/>
              <a:gd name="T18" fmla="*/ 668 w 1105"/>
              <a:gd name="T19" fmla="*/ 216 h 2179"/>
              <a:gd name="T20" fmla="*/ 581 w 1105"/>
              <a:gd name="T21" fmla="*/ 157 h 2179"/>
              <a:gd name="T22" fmla="*/ 488 w 1105"/>
              <a:gd name="T23" fmla="*/ 106 h 2179"/>
              <a:gd name="T24" fmla="*/ 391 w 1105"/>
              <a:gd name="T25" fmla="*/ 65 h 2179"/>
              <a:gd name="T26" fmla="*/ 287 w 1105"/>
              <a:gd name="T27" fmla="*/ 33 h 2179"/>
              <a:gd name="T28" fmla="*/ 182 w 1105"/>
              <a:gd name="T29" fmla="*/ 11 h 2179"/>
              <a:gd name="T30" fmla="*/ 72 w 1105"/>
              <a:gd name="T31" fmla="*/ 1 h 2179"/>
              <a:gd name="T32" fmla="*/ 8 w 1105"/>
              <a:gd name="T33" fmla="*/ 0 h 2179"/>
              <a:gd name="T34" fmla="*/ 0 w 1105"/>
              <a:gd name="T35" fmla="*/ 2179 h 2179"/>
              <a:gd name="T36" fmla="*/ 16 w 1105"/>
              <a:gd name="T37" fmla="*/ 2179 h 2179"/>
              <a:gd name="T38" fmla="*/ 127 w 1105"/>
              <a:gd name="T39" fmla="*/ 2173 h 2179"/>
              <a:gd name="T40" fmla="*/ 235 w 1105"/>
              <a:gd name="T41" fmla="*/ 2157 h 2179"/>
              <a:gd name="T42" fmla="*/ 339 w 1105"/>
              <a:gd name="T43" fmla="*/ 2129 h 2179"/>
              <a:gd name="T44" fmla="*/ 440 w 1105"/>
              <a:gd name="T45" fmla="*/ 2093 h 2179"/>
              <a:gd name="T46" fmla="*/ 535 w 1105"/>
              <a:gd name="T47" fmla="*/ 2047 h 2179"/>
              <a:gd name="T48" fmla="*/ 624 w 1105"/>
              <a:gd name="T49" fmla="*/ 1993 h 2179"/>
              <a:gd name="T50" fmla="*/ 709 w 1105"/>
              <a:gd name="T51" fmla="*/ 1930 h 2179"/>
              <a:gd name="T52" fmla="*/ 786 w 1105"/>
              <a:gd name="T53" fmla="*/ 1860 h 2179"/>
              <a:gd name="T54" fmla="*/ 857 w 1105"/>
              <a:gd name="T55" fmla="*/ 1782 h 2179"/>
              <a:gd name="T56" fmla="*/ 919 w 1105"/>
              <a:gd name="T57" fmla="*/ 1698 h 2179"/>
              <a:gd name="T58" fmla="*/ 974 w 1105"/>
              <a:gd name="T59" fmla="*/ 1608 h 2179"/>
              <a:gd name="T60" fmla="*/ 1019 w 1105"/>
              <a:gd name="T61" fmla="*/ 1513 h 2179"/>
              <a:gd name="T62" fmla="*/ 1056 w 1105"/>
              <a:gd name="T63" fmla="*/ 1413 h 2179"/>
              <a:gd name="T64" fmla="*/ 1083 w 1105"/>
              <a:gd name="T65" fmla="*/ 1309 h 2179"/>
              <a:gd name="T66" fmla="*/ 1100 w 1105"/>
              <a:gd name="T67" fmla="*/ 1200 h 2179"/>
              <a:gd name="T68" fmla="*/ 1105 w 1105"/>
              <a:gd name="T69" fmla="*/ 1089 h 2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05" h="2179">
                <a:moveTo>
                  <a:pt x="1105" y="1089"/>
                </a:moveTo>
                <a:lnTo>
                  <a:pt x="1104" y="1032"/>
                </a:lnTo>
                <a:lnTo>
                  <a:pt x="1100" y="977"/>
                </a:lnTo>
                <a:lnTo>
                  <a:pt x="1093" y="924"/>
                </a:lnTo>
                <a:lnTo>
                  <a:pt x="1083" y="870"/>
                </a:lnTo>
                <a:lnTo>
                  <a:pt x="1071" y="817"/>
                </a:lnTo>
                <a:lnTo>
                  <a:pt x="1056" y="765"/>
                </a:lnTo>
                <a:lnTo>
                  <a:pt x="1039" y="715"/>
                </a:lnTo>
                <a:lnTo>
                  <a:pt x="1019" y="666"/>
                </a:lnTo>
                <a:lnTo>
                  <a:pt x="998" y="616"/>
                </a:lnTo>
                <a:lnTo>
                  <a:pt x="974" y="569"/>
                </a:lnTo>
                <a:lnTo>
                  <a:pt x="947" y="525"/>
                </a:lnTo>
                <a:lnTo>
                  <a:pt x="919" y="480"/>
                </a:lnTo>
                <a:lnTo>
                  <a:pt x="889" y="438"/>
                </a:lnTo>
                <a:lnTo>
                  <a:pt x="856" y="396"/>
                </a:lnTo>
                <a:lnTo>
                  <a:pt x="822" y="356"/>
                </a:lnTo>
                <a:lnTo>
                  <a:pt x="786" y="318"/>
                </a:lnTo>
                <a:lnTo>
                  <a:pt x="748" y="283"/>
                </a:lnTo>
                <a:lnTo>
                  <a:pt x="709" y="248"/>
                </a:lnTo>
                <a:lnTo>
                  <a:pt x="668" y="216"/>
                </a:lnTo>
                <a:lnTo>
                  <a:pt x="624" y="185"/>
                </a:lnTo>
                <a:lnTo>
                  <a:pt x="581" y="157"/>
                </a:lnTo>
                <a:lnTo>
                  <a:pt x="535" y="130"/>
                </a:lnTo>
                <a:lnTo>
                  <a:pt x="488" y="106"/>
                </a:lnTo>
                <a:lnTo>
                  <a:pt x="440" y="84"/>
                </a:lnTo>
                <a:lnTo>
                  <a:pt x="391" y="65"/>
                </a:lnTo>
                <a:lnTo>
                  <a:pt x="339" y="48"/>
                </a:lnTo>
                <a:lnTo>
                  <a:pt x="287" y="33"/>
                </a:lnTo>
                <a:lnTo>
                  <a:pt x="235" y="21"/>
                </a:lnTo>
                <a:lnTo>
                  <a:pt x="182" y="11"/>
                </a:lnTo>
                <a:lnTo>
                  <a:pt x="127" y="4"/>
                </a:lnTo>
                <a:lnTo>
                  <a:pt x="72" y="1"/>
                </a:lnTo>
                <a:lnTo>
                  <a:pt x="16" y="0"/>
                </a:lnTo>
                <a:lnTo>
                  <a:pt x="8" y="0"/>
                </a:lnTo>
                <a:lnTo>
                  <a:pt x="0" y="0"/>
                </a:lnTo>
                <a:lnTo>
                  <a:pt x="0" y="2179"/>
                </a:lnTo>
                <a:lnTo>
                  <a:pt x="8" y="2179"/>
                </a:lnTo>
                <a:lnTo>
                  <a:pt x="16" y="2179"/>
                </a:lnTo>
                <a:lnTo>
                  <a:pt x="72" y="2178"/>
                </a:lnTo>
                <a:lnTo>
                  <a:pt x="127" y="2173"/>
                </a:lnTo>
                <a:lnTo>
                  <a:pt x="182" y="2166"/>
                </a:lnTo>
                <a:lnTo>
                  <a:pt x="235" y="2157"/>
                </a:lnTo>
                <a:lnTo>
                  <a:pt x="287" y="2144"/>
                </a:lnTo>
                <a:lnTo>
                  <a:pt x="339" y="2129"/>
                </a:lnTo>
                <a:lnTo>
                  <a:pt x="391" y="2112"/>
                </a:lnTo>
                <a:lnTo>
                  <a:pt x="440" y="2093"/>
                </a:lnTo>
                <a:lnTo>
                  <a:pt x="488" y="2071"/>
                </a:lnTo>
                <a:lnTo>
                  <a:pt x="535" y="2047"/>
                </a:lnTo>
                <a:lnTo>
                  <a:pt x="581" y="2020"/>
                </a:lnTo>
                <a:lnTo>
                  <a:pt x="624" y="1993"/>
                </a:lnTo>
                <a:lnTo>
                  <a:pt x="668" y="1962"/>
                </a:lnTo>
                <a:lnTo>
                  <a:pt x="709" y="1930"/>
                </a:lnTo>
                <a:lnTo>
                  <a:pt x="748" y="1896"/>
                </a:lnTo>
                <a:lnTo>
                  <a:pt x="786" y="1860"/>
                </a:lnTo>
                <a:lnTo>
                  <a:pt x="822" y="1821"/>
                </a:lnTo>
                <a:lnTo>
                  <a:pt x="857" y="1782"/>
                </a:lnTo>
                <a:lnTo>
                  <a:pt x="889" y="1741"/>
                </a:lnTo>
                <a:lnTo>
                  <a:pt x="919" y="1698"/>
                </a:lnTo>
                <a:lnTo>
                  <a:pt x="947" y="1654"/>
                </a:lnTo>
                <a:lnTo>
                  <a:pt x="974" y="1608"/>
                </a:lnTo>
                <a:lnTo>
                  <a:pt x="998" y="1561"/>
                </a:lnTo>
                <a:lnTo>
                  <a:pt x="1019" y="1513"/>
                </a:lnTo>
                <a:lnTo>
                  <a:pt x="1039" y="1463"/>
                </a:lnTo>
                <a:lnTo>
                  <a:pt x="1056" y="1413"/>
                </a:lnTo>
                <a:lnTo>
                  <a:pt x="1071" y="1361"/>
                </a:lnTo>
                <a:lnTo>
                  <a:pt x="1083" y="1309"/>
                </a:lnTo>
                <a:lnTo>
                  <a:pt x="1093" y="1255"/>
                </a:lnTo>
                <a:lnTo>
                  <a:pt x="1100" y="1200"/>
                </a:lnTo>
                <a:lnTo>
                  <a:pt x="1104" y="1145"/>
                </a:lnTo>
                <a:lnTo>
                  <a:pt x="1105" y="1089"/>
                </a:lnTo>
                <a:close/>
              </a:path>
            </a:pathLst>
          </a:custGeom>
          <a:solidFill>
            <a:srgbClr val="D1EBFB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endParaRPr lang="id-ID">
              <a:cs typeface="+mn-ea"/>
              <a:sym typeface="+mn-lt"/>
            </a:endParaRPr>
          </a:p>
        </p:txBody>
      </p:sp>
      <p:cxnSp>
        <p:nvCxnSpPr>
          <p:cNvPr id="7" name="直接连接符 6">
            <a:extLst>
              <a:ext uri="{FF2B5EF4-FFF2-40B4-BE49-F238E27FC236}">
                <a16:creationId xmlns:a16="http://schemas.microsoft.com/office/drawing/2014/main" id="{17C3AF72-0F34-46BD-BD94-65100AF281F8}"/>
              </a:ext>
            </a:extLst>
          </p:cNvPr>
          <p:cNvCxnSpPr>
            <a:stCxn id="15" idx="1"/>
            <a:endCxn id="14" idx="5"/>
          </p:cNvCxnSpPr>
          <p:nvPr/>
        </p:nvCxnSpPr>
        <p:spPr>
          <a:xfrm flipH="1" flipV="1">
            <a:off x="3882426" y="2435065"/>
            <a:ext cx="1183848" cy="157019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B1E28BF7-BBEB-4516-B9C6-9312FB28E764}"/>
              </a:ext>
            </a:extLst>
          </p:cNvPr>
          <p:cNvCxnSpPr>
            <a:stCxn id="15" idx="6"/>
            <a:endCxn id="16" idx="3"/>
          </p:cNvCxnSpPr>
          <p:nvPr/>
        </p:nvCxnSpPr>
        <p:spPr>
          <a:xfrm flipV="1">
            <a:off x="5188235" y="3261912"/>
            <a:ext cx="1012148" cy="793861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25BB7702-0CCA-4583-8512-437991695773}"/>
              </a:ext>
            </a:extLst>
          </p:cNvPr>
          <p:cNvCxnSpPr>
            <a:stCxn id="16" idx="6"/>
            <a:endCxn id="17" idx="2"/>
          </p:cNvCxnSpPr>
          <p:nvPr/>
        </p:nvCxnSpPr>
        <p:spPr>
          <a:xfrm>
            <a:off x="6322344" y="3211394"/>
            <a:ext cx="1565176" cy="23481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F4363B6B-1FA6-4E4A-8697-8D999A72C307}"/>
              </a:ext>
            </a:extLst>
          </p:cNvPr>
          <p:cNvCxnSpPr>
            <a:stCxn id="17" idx="5"/>
            <a:endCxn id="18" idx="1"/>
          </p:cNvCxnSpPr>
          <p:nvPr/>
        </p:nvCxnSpPr>
        <p:spPr>
          <a:xfrm>
            <a:off x="8009481" y="3496731"/>
            <a:ext cx="817246" cy="1217738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>
            <a:extLst>
              <a:ext uri="{FF2B5EF4-FFF2-40B4-BE49-F238E27FC236}">
                <a16:creationId xmlns:a16="http://schemas.microsoft.com/office/drawing/2014/main" id="{52A5DCBE-03B1-48C7-A0E0-7623B66999FD}"/>
              </a:ext>
            </a:extLst>
          </p:cNvPr>
          <p:cNvCxnSpPr>
            <a:stCxn id="19" idx="3"/>
            <a:endCxn id="18" idx="6"/>
          </p:cNvCxnSpPr>
          <p:nvPr/>
        </p:nvCxnSpPr>
        <p:spPr>
          <a:xfrm flipH="1" flipV="1">
            <a:off x="8948688" y="4764987"/>
            <a:ext cx="1434365" cy="195280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箭头连接符 11">
            <a:extLst>
              <a:ext uri="{FF2B5EF4-FFF2-40B4-BE49-F238E27FC236}">
                <a16:creationId xmlns:a16="http://schemas.microsoft.com/office/drawing/2014/main" id="{998AE824-E375-49B0-A40D-1738F607C234}"/>
              </a:ext>
            </a:extLst>
          </p:cNvPr>
          <p:cNvCxnSpPr>
            <a:stCxn id="19" idx="7"/>
          </p:cNvCxnSpPr>
          <p:nvPr/>
        </p:nvCxnSpPr>
        <p:spPr>
          <a:xfrm flipV="1">
            <a:off x="10484089" y="3397543"/>
            <a:ext cx="1034811" cy="1461688"/>
          </a:xfrm>
          <a:prstGeom prst="straightConnector1">
            <a:avLst/>
          </a:prstGeom>
          <a:ln w="28575">
            <a:solidFill>
              <a:schemeClr val="bg1">
                <a:lumMod val="8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>
            <a:extLst>
              <a:ext uri="{FF2B5EF4-FFF2-40B4-BE49-F238E27FC236}">
                <a16:creationId xmlns:a16="http://schemas.microsoft.com/office/drawing/2014/main" id="{C202A168-6AB1-4CFF-9FA1-0FD3F0A9D99E}"/>
              </a:ext>
            </a:extLst>
          </p:cNvPr>
          <p:cNvCxnSpPr>
            <a:stCxn id="14" idx="3"/>
            <a:endCxn id="42" idx="26"/>
          </p:cNvCxnSpPr>
          <p:nvPr/>
        </p:nvCxnSpPr>
        <p:spPr>
          <a:xfrm flipH="1">
            <a:off x="2963213" y="2435065"/>
            <a:ext cx="818177" cy="624619"/>
          </a:xfrm>
          <a:prstGeom prst="line">
            <a:avLst/>
          </a:prstGeom>
          <a:ln w="285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椭圆 13">
            <a:extLst>
              <a:ext uri="{FF2B5EF4-FFF2-40B4-BE49-F238E27FC236}">
                <a16:creationId xmlns:a16="http://schemas.microsoft.com/office/drawing/2014/main" id="{6DB47020-2C9D-4611-94AD-ED43DFE60FD1}"/>
              </a:ext>
            </a:extLst>
          </p:cNvPr>
          <p:cNvSpPr/>
          <p:nvPr/>
        </p:nvSpPr>
        <p:spPr>
          <a:xfrm>
            <a:off x="3760465" y="2313104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3C10EE1C-D1B2-46F3-9FF1-A0AD92CDB2A9}"/>
              </a:ext>
            </a:extLst>
          </p:cNvPr>
          <p:cNvSpPr/>
          <p:nvPr/>
        </p:nvSpPr>
        <p:spPr>
          <a:xfrm>
            <a:off x="5045349" y="3984330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6" name="椭圆 15">
            <a:extLst>
              <a:ext uri="{FF2B5EF4-FFF2-40B4-BE49-F238E27FC236}">
                <a16:creationId xmlns:a16="http://schemas.microsoft.com/office/drawing/2014/main" id="{26981BBC-E6DE-4AE4-9FE1-5A63E0B7E04C}"/>
              </a:ext>
            </a:extLst>
          </p:cNvPr>
          <p:cNvSpPr/>
          <p:nvPr/>
        </p:nvSpPr>
        <p:spPr>
          <a:xfrm>
            <a:off x="6179458" y="3139951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7" name="椭圆 16">
            <a:extLst>
              <a:ext uri="{FF2B5EF4-FFF2-40B4-BE49-F238E27FC236}">
                <a16:creationId xmlns:a16="http://schemas.microsoft.com/office/drawing/2014/main" id="{C7569CBB-C84A-4537-BAE9-22E54591B5FD}"/>
              </a:ext>
            </a:extLst>
          </p:cNvPr>
          <p:cNvSpPr/>
          <p:nvPr/>
        </p:nvSpPr>
        <p:spPr>
          <a:xfrm>
            <a:off x="7887520" y="3374770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8" name="椭圆 17">
            <a:extLst>
              <a:ext uri="{FF2B5EF4-FFF2-40B4-BE49-F238E27FC236}">
                <a16:creationId xmlns:a16="http://schemas.microsoft.com/office/drawing/2014/main" id="{ACE4AA93-CE22-4433-B62A-5FCF2F729966}"/>
              </a:ext>
            </a:extLst>
          </p:cNvPr>
          <p:cNvSpPr/>
          <p:nvPr/>
        </p:nvSpPr>
        <p:spPr>
          <a:xfrm>
            <a:off x="8805802" y="4693544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19" name="椭圆 18">
            <a:extLst>
              <a:ext uri="{FF2B5EF4-FFF2-40B4-BE49-F238E27FC236}">
                <a16:creationId xmlns:a16="http://schemas.microsoft.com/office/drawing/2014/main" id="{42D9B97B-F657-421F-9935-A4D399A6A73B}"/>
              </a:ext>
            </a:extLst>
          </p:cNvPr>
          <p:cNvSpPr/>
          <p:nvPr/>
        </p:nvSpPr>
        <p:spPr>
          <a:xfrm>
            <a:off x="10362128" y="4838306"/>
            <a:ext cx="142886" cy="142886"/>
          </a:xfrm>
          <a:prstGeom prst="ellipse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normAutofit fontScale="25000" lnSpcReduction="20000"/>
          </a:bodyPr>
          <a:lstStyle>
            <a:defPPr>
              <a:defRPr lang="id-ID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endParaRPr lang="id-ID">
              <a:cs typeface="+mn-ea"/>
              <a:sym typeface="+mn-lt"/>
            </a:endParaRPr>
          </a:p>
        </p:txBody>
      </p:sp>
      <p:sp>
        <p:nvSpPr>
          <p:cNvPr id="36" name="矩形 35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3063165" y="1695795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7" name="矩形 36">
            <a:extLst>
              <a:ext uri="{FF2B5EF4-FFF2-40B4-BE49-F238E27FC236}">
                <a16:creationId xmlns:a16="http://schemas.microsoft.com/office/drawing/2014/main" id="{DF9DFA70-2BE9-4B8A-B69E-38CC4A4CE7F2}"/>
              </a:ext>
            </a:extLst>
          </p:cNvPr>
          <p:cNvSpPr/>
          <p:nvPr/>
        </p:nvSpPr>
        <p:spPr>
          <a:xfrm>
            <a:off x="3063165" y="1303958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4" name="矩形 33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4350483" y="4519053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5" name="矩形 34">
            <a:extLst>
              <a:ext uri="{FF2B5EF4-FFF2-40B4-BE49-F238E27FC236}">
                <a16:creationId xmlns:a16="http://schemas.microsoft.com/office/drawing/2014/main" id="{32BF1570-381C-44C6-ADB8-54474B45BEF3}"/>
              </a:ext>
            </a:extLst>
          </p:cNvPr>
          <p:cNvSpPr/>
          <p:nvPr/>
        </p:nvSpPr>
        <p:spPr>
          <a:xfrm>
            <a:off x="4350483" y="4127216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2" name="矩形 31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5478698" y="2522642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3" name="矩形 32">
            <a:extLst>
              <a:ext uri="{FF2B5EF4-FFF2-40B4-BE49-F238E27FC236}">
                <a16:creationId xmlns:a16="http://schemas.microsoft.com/office/drawing/2014/main" id="{530E0851-AB2A-4DE6-8BA6-29114C1F6BDA}"/>
              </a:ext>
            </a:extLst>
          </p:cNvPr>
          <p:cNvSpPr/>
          <p:nvPr/>
        </p:nvSpPr>
        <p:spPr>
          <a:xfrm>
            <a:off x="5478698" y="2130805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30" name="矩形 29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7190220" y="2757461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31" name="矩形 30">
            <a:extLst>
              <a:ext uri="{FF2B5EF4-FFF2-40B4-BE49-F238E27FC236}">
                <a16:creationId xmlns:a16="http://schemas.microsoft.com/office/drawing/2014/main" id="{218505C6-C7BE-4BE6-830E-E864BCA5EC75}"/>
              </a:ext>
            </a:extLst>
          </p:cNvPr>
          <p:cNvSpPr/>
          <p:nvPr/>
        </p:nvSpPr>
        <p:spPr>
          <a:xfrm>
            <a:off x="7190220" y="2365624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8" name="矩形 27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8108502" y="5228267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9" name="矩形 28">
            <a:extLst>
              <a:ext uri="{FF2B5EF4-FFF2-40B4-BE49-F238E27FC236}">
                <a16:creationId xmlns:a16="http://schemas.microsoft.com/office/drawing/2014/main" id="{A6549849-5EC4-43BC-84E3-1FDBC7CA07BD}"/>
              </a:ext>
            </a:extLst>
          </p:cNvPr>
          <p:cNvSpPr/>
          <p:nvPr/>
        </p:nvSpPr>
        <p:spPr>
          <a:xfrm>
            <a:off x="8108502" y="4836430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6" name="矩形 25">
            <a:extLst>
              <a:ext uri="{FF2B5EF4-FFF2-40B4-BE49-F238E27FC236}">
                <a16:creationId xmlns:a16="http://schemas.microsoft.com/office/drawing/2014/main" id="{F8E07573-A8E5-42F7-B445-E2E8E3B47ABD}"/>
              </a:ext>
            </a:extLst>
          </p:cNvPr>
          <p:cNvSpPr/>
          <p:nvPr/>
        </p:nvSpPr>
        <p:spPr bwMode="auto">
          <a:xfrm>
            <a:off x="9664828" y="5373029"/>
            <a:ext cx="1537486" cy="617309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Supporting text here.</a:t>
            </a:r>
          </a:p>
          <a:p>
            <a:pPr algn="ctr">
              <a:lnSpc>
                <a:spcPct val="150000"/>
              </a:lnSpc>
              <a:spcBef>
                <a:spcPct val="0"/>
              </a:spcBef>
            </a:pPr>
            <a:r>
              <a:rPr lang="en-US" altLang="zh-CN" sz="1100" dirty="0">
                <a:cs typeface="+mn-ea"/>
                <a:sym typeface="+mn-lt"/>
              </a:rPr>
              <a:t>……</a:t>
            </a:r>
          </a:p>
        </p:txBody>
      </p:sp>
      <p:sp>
        <p:nvSpPr>
          <p:cNvPr id="27" name="矩形 26">
            <a:extLst>
              <a:ext uri="{FF2B5EF4-FFF2-40B4-BE49-F238E27FC236}">
                <a16:creationId xmlns:a16="http://schemas.microsoft.com/office/drawing/2014/main" id="{59D83AB7-3524-4703-A129-5A9240B7D54F}"/>
              </a:ext>
            </a:extLst>
          </p:cNvPr>
          <p:cNvSpPr/>
          <p:nvPr/>
        </p:nvSpPr>
        <p:spPr>
          <a:xfrm>
            <a:off x="9664828" y="4981192"/>
            <a:ext cx="1537486" cy="391835"/>
          </a:xfrm>
          <a:prstGeom prst="rect">
            <a:avLst/>
          </a:prstGeom>
          <a:noFill/>
          <a:ln w="3175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</a:defRPr>
            </a:lvl9pPr>
          </a:lstStyle>
          <a:p>
            <a:pPr algn="ctr"/>
            <a:r>
              <a:rPr lang="en-US" altLang="zh-CN" sz="1600" b="1" dirty="0">
                <a:solidFill>
                  <a:schemeClr val="tx1"/>
                </a:solidFill>
                <a:cs typeface="+mn-ea"/>
                <a:sym typeface="+mn-lt"/>
              </a:rPr>
              <a:t>Text here</a:t>
            </a:r>
            <a:endParaRPr lang="id-ID" altLang="zh-CN" sz="1600" b="1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305939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FE6218-C978-4584-BB71-28179DE603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B2B1E32-0399-44F0-BE9A-7E2245C12C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>
                <a:cs typeface="+mn-ea"/>
                <a:sym typeface="+mn-lt"/>
              </a:rPr>
              <a:t>请在插入菜单</a:t>
            </a:r>
            <a:r>
              <a:rPr lang="en-US" altLang="zh-CN">
                <a:cs typeface="+mn-ea"/>
                <a:sym typeface="+mn-lt"/>
              </a:rPr>
              <a:t>—</a:t>
            </a:r>
            <a:r>
              <a:rPr lang="zh-CN" altLang="en-US">
                <a:cs typeface="+mn-ea"/>
                <a:sym typeface="+mn-lt"/>
              </a:rPr>
              <a:t>页眉和页脚中修改此文本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DF9BB8F-D59B-40A0-89E7-7BCC3871F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9</a:t>
            </a:fld>
            <a:endParaRPr lang="zh-CN" altLang="en-US">
              <a:cs typeface="+mn-ea"/>
              <a:sym typeface="+mn-lt"/>
            </a:endParaRPr>
          </a:p>
        </p:txBody>
      </p:sp>
      <p:sp>
        <p:nvSpPr>
          <p:cNvPr id="7" name="椭圆 6">
            <a:extLst>
              <a:ext uri="{FF2B5EF4-FFF2-40B4-BE49-F238E27FC236}">
                <a16:creationId xmlns:a16="http://schemas.microsoft.com/office/drawing/2014/main" id="{53F4AD8E-7F70-4143-901A-A8345D71C6D1}"/>
              </a:ext>
            </a:extLst>
          </p:cNvPr>
          <p:cNvSpPr/>
          <p:nvPr/>
        </p:nvSpPr>
        <p:spPr>
          <a:xfrm>
            <a:off x="1192540" y="2647872"/>
            <a:ext cx="1968654" cy="1968656"/>
          </a:xfrm>
          <a:prstGeom prst="ellipse">
            <a:avLst/>
          </a:prstGeom>
          <a:blipFill>
            <a:blip r:embed="rId3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tretch>
              <a:fillRect l="-25161" r="-24839"/>
            </a:stretch>
          </a:blipFill>
          <a:ln w="38100">
            <a:solidFill>
              <a:schemeClr val="bg1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zh-CN" altLang="en-US" sz="2800" b="1" dirty="0">
              <a:cs typeface="+mn-ea"/>
              <a:sym typeface="+mn-lt"/>
            </a:endParaRPr>
          </a:p>
        </p:txBody>
      </p:sp>
      <p:cxnSp>
        <p:nvCxnSpPr>
          <p:cNvPr id="8" name="直接连接符 7">
            <a:extLst>
              <a:ext uri="{FF2B5EF4-FFF2-40B4-BE49-F238E27FC236}">
                <a16:creationId xmlns:a16="http://schemas.microsoft.com/office/drawing/2014/main" id="{AA5391ED-5F8C-4F16-8251-DA996EB4CD16}"/>
              </a:ext>
            </a:extLst>
          </p:cNvPr>
          <p:cNvCxnSpPr/>
          <p:nvPr/>
        </p:nvCxnSpPr>
        <p:spPr>
          <a:xfrm>
            <a:off x="5620870" y="2516653"/>
            <a:ext cx="589802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>
            <a:extLst>
              <a:ext uri="{FF2B5EF4-FFF2-40B4-BE49-F238E27FC236}">
                <a16:creationId xmlns:a16="http://schemas.microsoft.com/office/drawing/2014/main" id="{56FA259A-3BB3-4615-BF2D-6CC5D4D7DFF1}"/>
              </a:ext>
            </a:extLst>
          </p:cNvPr>
          <p:cNvCxnSpPr/>
          <p:nvPr/>
        </p:nvCxnSpPr>
        <p:spPr>
          <a:xfrm>
            <a:off x="5620870" y="3632201"/>
            <a:ext cx="589802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>
            <a:extLst>
              <a:ext uri="{FF2B5EF4-FFF2-40B4-BE49-F238E27FC236}">
                <a16:creationId xmlns:a16="http://schemas.microsoft.com/office/drawing/2014/main" id="{F2DB2D08-E150-4BA7-9AB3-2648B9CB04BE}"/>
              </a:ext>
            </a:extLst>
          </p:cNvPr>
          <p:cNvCxnSpPr/>
          <p:nvPr/>
        </p:nvCxnSpPr>
        <p:spPr>
          <a:xfrm>
            <a:off x="5620870" y="4747749"/>
            <a:ext cx="5898029" cy="0"/>
          </a:xfrm>
          <a:prstGeom prst="line">
            <a:avLst/>
          </a:prstGeom>
          <a:ln w="3175" cap="rnd">
            <a:solidFill>
              <a:schemeClr val="bg1">
                <a:lumMod val="75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矩形 21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535945" y="1612335"/>
            <a:ext cx="4579121" cy="69308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C852812D-A77F-4AF4-8935-957D8E700697}"/>
              </a:ext>
            </a:extLst>
          </p:cNvPr>
          <p:cNvSpPr/>
          <p:nvPr/>
        </p:nvSpPr>
        <p:spPr>
          <a:xfrm>
            <a:off x="5121281" y="1775103"/>
            <a:ext cx="297494" cy="367553"/>
          </a:xfrm>
          <a:custGeom>
            <a:avLst/>
            <a:gdLst>
              <a:gd name="T0" fmla="*/ 120 w 184"/>
              <a:gd name="T1" fmla="*/ 0 h 224"/>
              <a:gd name="T2" fmla="*/ 120 w 184"/>
              <a:gd name="T3" fmla="*/ 64 h 224"/>
              <a:gd name="T4" fmla="*/ 184 w 184"/>
              <a:gd name="T5" fmla="*/ 64 h 224"/>
              <a:gd name="T6" fmla="*/ 184 w 184"/>
              <a:gd name="T7" fmla="*/ 224 h 224"/>
              <a:gd name="T8" fmla="*/ 0 w 184"/>
              <a:gd name="T9" fmla="*/ 224 h 224"/>
              <a:gd name="T10" fmla="*/ 0 w 184"/>
              <a:gd name="T11" fmla="*/ 0 h 224"/>
              <a:gd name="T12" fmla="*/ 120 w 184"/>
              <a:gd name="T13" fmla="*/ 0 h 224"/>
              <a:gd name="T14" fmla="*/ 104 w 184"/>
              <a:gd name="T15" fmla="*/ 84 h 224"/>
              <a:gd name="T16" fmla="*/ 64 w 184"/>
              <a:gd name="T17" fmla="*/ 84 h 224"/>
              <a:gd name="T18" fmla="*/ 64 w 184"/>
              <a:gd name="T19" fmla="*/ 172 h 224"/>
              <a:gd name="T20" fmla="*/ 72 w 184"/>
              <a:gd name="T21" fmla="*/ 172 h 224"/>
              <a:gd name="T22" fmla="*/ 72 w 184"/>
              <a:gd name="T23" fmla="*/ 132 h 224"/>
              <a:gd name="T24" fmla="*/ 104 w 184"/>
              <a:gd name="T25" fmla="*/ 132 h 224"/>
              <a:gd name="T26" fmla="*/ 105 w 184"/>
              <a:gd name="T27" fmla="*/ 132 h 224"/>
              <a:gd name="T28" fmla="*/ 128 w 184"/>
              <a:gd name="T29" fmla="*/ 108 h 224"/>
              <a:gd name="T30" fmla="*/ 104 w 184"/>
              <a:gd name="T31" fmla="*/ 84 h 224"/>
              <a:gd name="T32" fmla="*/ 104 w 184"/>
              <a:gd name="T33" fmla="*/ 92 h 224"/>
              <a:gd name="T34" fmla="*/ 120 w 184"/>
              <a:gd name="T35" fmla="*/ 108 h 224"/>
              <a:gd name="T36" fmla="*/ 104 w 184"/>
              <a:gd name="T37" fmla="*/ 124 h 224"/>
              <a:gd name="T38" fmla="*/ 104 w 184"/>
              <a:gd name="T39" fmla="*/ 124 h 224"/>
              <a:gd name="T40" fmla="*/ 72 w 184"/>
              <a:gd name="T41" fmla="*/ 124 h 224"/>
              <a:gd name="T42" fmla="*/ 72 w 184"/>
              <a:gd name="T43" fmla="*/ 92 h 224"/>
              <a:gd name="T44" fmla="*/ 104 w 184"/>
              <a:gd name="T45" fmla="*/ 92 h 224"/>
              <a:gd name="T46" fmla="*/ 180 w 184"/>
              <a:gd name="T47" fmla="*/ 56 h 224"/>
              <a:gd name="T48" fmla="*/ 128 w 184"/>
              <a:gd name="T49" fmla="*/ 56 h 224"/>
              <a:gd name="T50" fmla="*/ 128 w 184"/>
              <a:gd name="T51" fmla="*/ 4 h 224"/>
              <a:gd name="T52" fmla="*/ 180 w 184"/>
              <a:gd name="T53" fmla="*/ 56 h 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84" h="224">
                <a:moveTo>
                  <a:pt x="120" y="0"/>
                </a:moveTo>
                <a:cubicBezTo>
                  <a:pt x="120" y="64"/>
                  <a:pt x="120" y="64"/>
                  <a:pt x="120" y="64"/>
                </a:cubicBezTo>
                <a:cubicBezTo>
                  <a:pt x="184" y="64"/>
                  <a:pt x="184" y="64"/>
                  <a:pt x="184" y="64"/>
                </a:cubicBezTo>
                <a:cubicBezTo>
                  <a:pt x="184" y="224"/>
                  <a:pt x="184" y="224"/>
                  <a:pt x="184" y="224"/>
                </a:cubicBezTo>
                <a:cubicBezTo>
                  <a:pt x="0" y="224"/>
                  <a:pt x="0" y="224"/>
                  <a:pt x="0" y="224"/>
                </a:cubicBezTo>
                <a:cubicBezTo>
                  <a:pt x="0" y="0"/>
                  <a:pt x="0" y="0"/>
                  <a:pt x="0" y="0"/>
                </a:cubicBezTo>
                <a:lnTo>
                  <a:pt x="120" y="0"/>
                </a:lnTo>
                <a:close/>
                <a:moveTo>
                  <a:pt x="104" y="84"/>
                </a:moveTo>
                <a:cubicBezTo>
                  <a:pt x="64" y="84"/>
                  <a:pt x="64" y="84"/>
                  <a:pt x="64" y="84"/>
                </a:cubicBezTo>
                <a:cubicBezTo>
                  <a:pt x="64" y="172"/>
                  <a:pt x="64" y="172"/>
                  <a:pt x="64" y="172"/>
                </a:cubicBezTo>
                <a:cubicBezTo>
                  <a:pt x="72" y="172"/>
                  <a:pt x="72" y="172"/>
                  <a:pt x="72" y="172"/>
                </a:cubicBezTo>
                <a:cubicBezTo>
                  <a:pt x="72" y="132"/>
                  <a:pt x="72" y="132"/>
                  <a:pt x="72" y="132"/>
                </a:cubicBezTo>
                <a:cubicBezTo>
                  <a:pt x="104" y="132"/>
                  <a:pt x="104" y="132"/>
                  <a:pt x="104" y="132"/>
                </a:cubicBezTo>
                <a:cubicBezTo>
                  <a:pt x="105" y="132"/>
                  <a:pt x="105" y="132"/>
                  <a:pt x="105" y="132"/>
                </a:cubicBezTo>
                <a:cubicBezTo>
                  <a:pt x="118" y="132"/>
                  <a:pt x="128" y="121"/>
                  <a:pt x="128" y="108"/>
                </a:cubicBezTo>
                <a:cubicBezTo>
                  <a:pt x="128" y="95"/>
                  <a:pt x="117" y="84"/>
                  <a:pt x="104" y="84"/>
                </a:cubicBezTo>
                <a:close/>
                <a:moveTo>
                  <a:pt x="104" y="92"/>
                </a:moveTo>
                <a:cubicBezTo>
                  <a:pt x="113" y="92"/>
                  <a:pt x="120" y="99"/>
                  <a:pt x="120" y="108"/>
                </a:cubicBezTo>
                <a:cubicBezTo>
                  <a:pt x="120" y="117"/>
                  <a:pt x="113" y="124"/>
                  <a:pt x="104" y="124"/>
                </a:cubicBezTo>
                <a:cubicBezTo>
                  <a:pt x="104" y="124"/>
                  <a:pt x="104" y="124"/>
                  <a:pt x="104" y="124"/>
                </a:cubicBezTo>
                <a:cubicBezTo>
                  <a:pt x="72" y="124"/>
                  <a:pt x="72" y="124"/>
                  <a:pt x="72" y="124"/>
                </a:cubicBezTo>
                <a:cubicBezTo>
                  <a:pt x="72" y="92"/>
                  <a:pt x="72" y="92"/>
                  <a:pt x="72" y="92"/>
                </a:cubicBezTo>
                <a:lnTo>
                  <a:pt x="104" y="92"/>
                </a:lnTo>
                <a:close/>
                <a:moveTo>
                  <a:pt x="180" y="56"/>
                </a:moveTo>
                <a:cubicBezTo>
                  <a:pt x="128" y="56"/>
                  <a:pt x="128" y="56"/>
                  <a:pt x="128" y="56"/>
                </a:cubicBezTo>
                <a:cubicBezTo>
                  <a:pt x="128" y="4"/>
                  <a:pt x="128" y="4"/>
                  <a:pt x="128" y="4"/>
                </a:cubicBezTo>
                <a:lnTo>
                  <a:pt x="180" y="56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20" name="矩形 19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535945" y="2727883"/>
            <a:ext cx="4579121" cy="69308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1" name="任意多边形: 形状 20">
            <a:extLst>
              <a:ext uri="{FF2B5EF4-FFF2-40B4-BE49-F238E27FC236}">
                <a16:creationId xmlns:a16="http://schemas.microsoft.com/office/drawing/2014/main" id="{EEE4BB59-8F1E-4126-8BF8-3ED40DB7B427}"/>
              </a:ext>
            </a:extLst>
          </p:cNvPr>
          <p:cNvSpPr/>
          <p:nvPr/>
        </p:nvSpPr>
        <p:spPr>
          <a:xfrm>
            <a:off x="5086252" y="2934799"/>
            <a:ext cx="367553" cy="279257"/>
          </a:xfrm>
          <a:custGeom>
            <a:avLst/>
            <a:gdLst>
              <a:gd name="T0" fmla="*/ 224 w 224"/>
              <a:gd name="T1" fmla="*/ 0 h 168"/>
              <a:gd name="T2" fmla="*/ 224 w 224"/>
              <a:gd name="T3" fmla="*/ 168 h 168"/>
              <a:gd name="T4" fmla="*/ 0 w 224"/>
              <a:gd name="T5" fmla="*/ 168 h 168"/>
              <a:gd name="T6" fmla="*/ 0 w 224"/>
              <a:gd name="T7" fmla="*/ 0 h 168"/>
              <a:gd name="T8" fmla="*/ 224 w 224"/>
              <a:gd name="T9" fmla="*/ 0 h 168"/>
              <a:gd name="T10" fmla="*/ 158 w 224"/>
              <a:gd name="T11" fmla="*/ 72 h 168"/>
              <a:gd name="T12" fmla="*/ 104 w 224"/>
              <a:gd name="T13" fmla="*/ 143 h 168"/>
              <a:gd name="T14" fmla="*/ 58 w 224"/>
              <a:gd name="T15" fmla="*/ 99 h 168"/>
              <a:gd name="T16" fmla="*/ 8 w 224"/>
              <a:gd name="T17" fmla="*/ 160 h 168"/>
              <a:gd name="T18" fmla="*/ 216 w 224"/>
              <a:gd name="T19" fmla="*/ 160 h 168"/>
              <a:gd name="T20" fmla="*/ 158 w 224"/>
              <a:gd name="T21" fmla="*/ 72 h 168"/>
              <a:gd name="T22" fmla="*/ 40 w 224"/>
              <a:gd name="T23" fmla="*/ 24 h 168"/>
              <a:gd name="T24" fmla="*/ 24 w 224"/>
              <a:gd name="T25" fmla="*/ 40 h 168"/>
              <a:gd name="T26" fmla="*/ 40 w 224"/>
              <a:gd name="T27" fmla="*/ 56 h 168"/>
              <a:gd name="T28" fmla="*/ 56 w 224"/>
              <a:gd name="T29" fmla="*/ 40 h 168"/>
              <a:gd name="T30" fmla="*/ 40 w 224"/>
              <a:gd name="T31" fmla="*/ 24 h 1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24" h="168">
                <a:moveTo>
                  <a:pt x="224" y="0"/>
                </a:moveTo>
                <a:cubicBezTo>
                  <a:pt x="224" y="168"/>
                  <a:pt x="224" y="168"/>
                  <a:pt x="224" y="168"/>
                </a:cubicBezTo>
                <a:cubicBezTo>
                  <a:pt x="0" y="168"/>
                  <a:pt x="0" y="168"/>
                  <a:pt x="0" y="168"/>
                </a:cubicBezTo>
                <a:cubicBezTo>
                  <a:pt x="0" y="0"/>
                  <a:pt x="0" y="0"/>
                  <a:pt x="0" y="0"/>
                </a:cubicBezTo>
                <a:lnTo>
                  <a:pt x="224" y="0"/>
                </a:lnTo>
                <a:close/>
                <a:moveTo>
                  <a:pt x="158" y="72"/>
                </a:moveTo>
                <a:cubicBezTo>
                  <a:pt x="104" y="143"/>
                  <a:pt x="104" y="143"/>
                  <a:pt x="104" y="143"/>
                </a:cubicBezTo>
                <a:cubicBezTo>
                  <a:pt x="58" y="99"/>
                  <a:pt x="58" y="99"/>
                  <a:pt x="58" y="99"/>
                </a:cubicBezTo>
                <a:cubicBezTo>
                  <a:pt x="8" y="160"/>
                  <a:pt x="8" y="160"/>
                  <a:pt x="8" y="160"/>
                </a:cubicBezTo>
                <a:cubicBezTo>
                  <a:pt x="216" y="160"/>
                  <a:pt x="216" y="160"/>
                  <a:pt x="216" y="160"/>
                </a:cubicBezTo>
                <a:lnTo>
                  <a:pt x="158" y="72"/>
                </a:lnTo>
                <a:close/>
                <a:moveTo>
                  <a:pt x="40" y="24"/>
                </a:moveTo>
                <a:cubicBezTo>
                  <a:pt x="31" y="24"/>
                  <a:pt x="24" y="31"/>
                  <a:pt x="24" y="40"/>
                </a:cubicBezTo>
                <a:cubicBezTo>
                  <a:pt x="24" y="49"/>
                  <a:pt x="31" y="56"/>
                  <a:pt x="40" y="56"/>
                </a:cubicBezTo>
                <a:cubicBezTo>
                  <a:pt x="49" y="56"/>
                  <a:pt x="56" y="49"/>
                  <a:pt x="56" y="40"/>
                </a:cubicBezTo>
                <a:cubicBezTo>
                  <a:pt x="56" y="31"/>
                  <a:pt x="49" y="24"/>
                  <a:pt x="40" y="24"/>
                </a:cubicBez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70000" lnSpcReduction="2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8" name="矩形 17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535945" y="3843431"/>
            <a:ext cx="4579121" cy="69308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3" name="任意多边形: 形状 22">
            <a:extLst>
              <a:ext uri="{FF2B5EF4-FFF2-40B4-BE49-F238E27FC236}">
                <a16:creationId xmlns:a16="http://schemas.microsoft.com/office/drawing/2014/main" id="{E8479506-749C-4CF5-9DCE-23ACA06C5F0D}"/>
              </a:ext>
            </a:extLst>
          </p:cNvPr>
          <p:cNvSpPr/>
          <p:nvPr/>
        </p:nvSpPr>
        <p:spPr>
          <a:xfrm>
            <a:off x="5098641" y="4006200"/>
            <a:ext cx="342774" cy="367553"/>
          </a:xfrm>
          <a:custGeom>
            <a:avLst/>
            <a:gdLst>
              <a:gd name="T0" fmla="*/ 168 w 208"/>
              <a:gd name="T1" fmla="*/ 0 h 220"/>
              <a:gd name="T2" fmla="*/ 168 w 208"/>
              <a:gd name="T3" fmla="*/ 68 h 220"/>
              <a:gd name="T4" fmla="*/ 108 w 208"/>
              <a:gd name="T5" fmla="*/ 68 h 220"/>
              <a:gd name="T6" fmla="*/ 108 w 208"/>
              <a:gd name="T7" fmla="*/ 120 h 220"/>
              <a:gd name="T8" fmla="*/ 192 w 208"/>
              <a:gd name="T9" fmla="*/ 120 h 220"/>
              <a:gd name="T10" fmla="*/ 192 w 208"/>
              <a:gd name="T11" fmla="*/ 180 h 220"/>
              <a:gd name="T12" fmla="*/ 208 w 208"/>
              <a:gd name="T13" fmla="*/ 180 h 220"/>
              <a:gd name="T14" fmla="*/ 208 w 208"/>
              <a:gd name="T15" fmla="*/ 220 h 220"/>
              <a:gd name="T16" fmla="*/ 168 w 208"/>
              <a:gd name="T17" fmla="*/ 220 h 220"/>
              <a:gd name="T18" fmla="*/ 168 w 208"/>
              <a:gd name="T19" fmla="*/ 180 h 220"/>
              <a:gd name="T20" fmla="*/ 184 w 208"/>
              <a:gd name="T21" fmla="*/ 180 h 220"/>
              <a:gd name="T22" fmla="*/ 184 w 208"/>
              <a:gd name="T23" fmla="*/ 128 h 220"/>
              <a:gd name="T24" fmla="*/ 108 w 208"/>
              <a:gd name="T25" fmla="*/ 128 h 220"/>
              <a:gd name="T26" fmla="*/ 108 w 208"/>
              <a:gd name="T27" fmla="*/ 180 h 220"/>
              <a:gd name="T28" fmla="*/ 124 w 208"/>
              <a:gd name="T29" fmla="*/ 180 h 220"/>
              <a:gd name="T30" fmla="*/ 124 w 208"/>
              <a:gd name="T31" fmla="*/ 220 h 220"/>
              <a:gd name="T32" fmla="*/ 84 w 208"/>
              <a:gd name="T33" fmla="*/ 220 h 220"/>
              <a:gd name="T34" fmla="*/ 84 w 208"/>
              <a:gd name="T35" fmla="*/ 180 h 220"/>
              <a:gd name="T36" fmla="*/ 100 w 208"/>
              <a:gd name="T37" fmla="*/ 180 h 220"/>
              <a:gd name="T38" fmla="*/ 100 w 208"/>
              <a:gd name="T39" fmla="*/ 128 h 220"/>
              <a:gd name="T40" fmla="*/ 24 w 208"/>
              <a:gd name="T41" fmla="*/ 128 h 220"/>
              <a:gd name="T42" fmla="*/ 24 w 208"/>
              <a:gd name="T43" fmla="*/ 180 h 220"/>
              <a:gd name="T44" fmla="*/ 40 w 208"/>
              <a:gd name="T45" fmla="*/ 180 h 220"/>
              <a:gd name="T46" fmla="*/ 40 w 208"/>
              <a:gd name="T47" fmla="*/ 220 h 220"/>
              <a:gd name="T48" fmla="*/ 0 w 208"/>
              <a:gd name="T49" fmla="*/ 220 h 220"/>
              <a:gd name="T50" fmla="*/ 0 w 208"/>
              <a:gd name="T51" fmla="*/ 180 h 220"/>
              <a:gd name="T52" fmla="*/ 16 w 208"/>
              <a:gd name="T53" fmla="*/ 180 h 220"/>
              <a:gd name="T54" fmla="*/ 16 w 208"/>
              <a:gd name="T55" fmla="*/ 120 h 220"/>
              <a:gd name="T56" fmla="*/ 100 w 208"/>
              <a:gd name="T57" fmla="*/ 120 h 220"/>
              <a:gd name="T58" fmla="*/ 100 w 208"/>
              <a:gd name="T59" fmla="*/ 68 h 220"/>
              <a:gd name="T60" fmla="*/ 40 w 208"/>
              <a:gd name="T61" fmla="*/ 68 h 220"/>
              <a:gd name="T62" fmla="*/ 40 w 208"/>
              <a:gd name="T63" fmla="*/ 0 h 220"/>
              <a:gd name="T64" fmla="*/ 168 w 208"/>
              <a:gd name="T65" fmla="*/ 0 h 220"/>
              <a:gd name="T66" fmla="*/ 62 w 208"/>
              <a:gd name="T67" fmla="*/ 40 h 220"/>
              <a:gd name="T68" fmla="*/ 56 w 208"/>
              <a:gd name="T69" fmla="*/ 46 h 220"/>
              <a:gd name="T70" fmla="*/ 62 w 208"/>
              <a:gd name="T71" fmla="*/ 52 h 220"/>
              <a:gd name="T72" fmla="*/ 68 w 208"/>
              <a:gd name="T73" fmla="*/ 46 h 220"/>
              <a:gd name="T74" fmla="*/ 62 w 208"/>
              <a:gd name="T75" fmla="*/ 4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08" h="220">
                <a:moveTo>
                  <a:pt x="168" y="0"/>
                </a:moveTo>
                <a:cubicBezTo>
                  <a:pt x="168" y="68"/>
                  <a:pt x="168" y="68"/>
                  <a:pt x="168" y="68"/>
                </a:cubicBezTo>
                <a:cubicBezTo>
                  <a:pt x="108" y="68"/>
                  <a:pt x="108" y="68"/>
                  <a:pt x="108" y="68"/>
                </a:cubicBezTo>
                <a:cubicBezTo>
                  <a:pt x="108" y="120"/>
                  <a:pt x="108" y="120"/>
                  <a:pt x="108" y="120"/>
                </a:cubicBezTo>
                <a:cubicBezTo>
                  <a:pt x="192" y="120"/>
                  <a:pt x="192" y="120"/>
                  <a:pt x="192" y="120"/>
                </a:cubicBezTo>
                <a:cubicBezTo>
                  <a:pt x="192" y="180"/>
                  <a:pt x="192" y="180"/>
                  <a:pt x="192" y="180"/>
                </a:cubicBezTo>
                <a:cubicBezTo>
                  <a:pt x="208" y="180"/>
                  <a:pt x="208" y="180"/>
                  <a:pt x="208" y="180"/>
                </a:cubicBezTo>
                <a:cubicBezTo>
                  <a:pt x="208" y="220"/>
                  <a:pt x="208" y="220"/>
                  <a:pt x="208" y="220"/>
                </a:cubicBezTo>
                <a:cubicBezTo>
                  <a:pt x="168" y="220"/>
                  <a:pt x="168" y="220"/>
                  <a:pt x="168" y="220"/>
                </a:cubicBezTo>
                <a:cubicBezTo>
                  <a:pt x="168" y="180"/>
                  <a:pt x="168" y="180"/>
                  <a:pt x="168" y="180"/>
                </a:cubicBezTo>
                <a:cubicBezTo>
                  <a:pt x="184" y="180"/>
                  <a:pt x="184" y="180"/>
                  <a:pt x="184" y="180"/>
                </a:cubicBezTo>
                <a:cubicBezTo>
                  <a:pt x="184" y="128"/>
                  <a:pt x="184" y="128"/>
                  <a:pt x="184" y="128"/>
                </a:cubicBezTo>
                <a:cubicBezTo>
                  <a:pt x="108" y="128"/>
                  <a:pt x="108" y="128"/>
                  <a:pt x="108" y="128"/>
                </a:cubicBezTo>
                <a:cubicBezTo>
                  <a:pt x="108" y="180"/>
                  <a:pt x="108" y="180"/>
                  <a:pt x="108" y="180"/>
                </a:cubicBezTo>
                <a:cubicBezTo>
                  <a:pt x="124" y="180"/>
                  <a:pt x="124" y="180"/>
                  <a:pt x="124" y="180"/>
                </a:cubicBezTo>
                <a:cubicBezTo>
                  <a:pt x="124" y="220"/>
                  <a:pt x="124" y="220"/>
                  <a:pt x="124" y="220"/>
                </a:cubicBezTo>
                <a:cubicBezTo>
                  <a:pt x="84" y="220"/>
                  <a:pt x="84" y="220"/>
                  <a:pt x="84" y="220"/>
                </a:cubicBezTo>
                <a:cubicBezTo>
                  <a:pt x="84" y="180"/>
                  <a:pt x="84" y="180"/>
                  <a:pt x="84" y="180"/>
                </a:cubicBezTo>
                <a:cubicBezTo>
                  <a:pt x="100" y="180"/>
                  <a:pt x="100" y="180"/>
                  <a:pt x="100" y="180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24" y="128"/>
                  <a:pt x="24" y="128"/>
                  <a:pt x="24" y="128"/>
                </a:cubicBezTo>
                <a:cubicBezTo>
                  <a:pt x="24" y="180"/>
                  <a:pt x="24" y="180"/>
                  <a:pt x="24" y="180"/>
                </a:cubicBezTo>
                <a:cubicBezTo>
                  <a:pt x="40" y="180"/>
                  <a:pt x="40" y="180"/>
                  <a:pt x="40" y="180"/>
                </a:cubicBezTo>
                <a:cubicBezTo>
                  <a:pt x="40" y="220"/>
                  <a:pt x="40" y="220"/>
                  <a:pt x="40" y="220"/>
                </a:cubicBezTo>
                <a:cubicBezTo>
                  <a:pt x="0" y="220"/>
                  <a:pt x="0" y="220"/>
                  <a:pt x="0" y="220"/>
                </a:cubicBezTo>
                <a:cubicBezTo>
                  <a:pt x="0" y="180"/>
                  <a:pt x="0" y="180"/>
                  <a:pt x="0" y="180"/>
                </a:cubicBezTo>
                <a:cubicBezTo>
                  <a:pt x="16" y="180"/>
                  <a:pt x="16" y="180"/>
                  <a:pt x="16" y="180"/>
                </a:cubicBezTo>
                <a:cubicBezTo>
                  <a:pt x="16" y="120"/>
                  <a:pt x="16" y="120"/>
                  <a:pt x="16" y="120"/>
                </a:cubicBezTo>
                <a:cubicBezTo>
                  <a:pt x="100" y="120"/>
                  <a:pt x="100" y="120"/>
                  <a:pt x="100" y="120"/>
                </a:cubicBezTo>
                <a:cubicBezTo>
                  <a:pt x="100" y="68"/>
                  <a:pt x="100" y="68"/>
                  <a:pt x="100" y="68"/>
                </a:cubicBezTo>
                <a:cubicBezTo>
                  <a:pt x="40" y="68"/>
                  <a:pt x="40" y="68"/>
                  <a:pt x="40" y="68"/>
                </a:cubicBezTo>
                <a:cubicBezTo>
                  <a:pt x="40" y="0"/>
                  <a:pt x="40" y="0"/>
                  <a:pt x="40" y="0"/>
                </a:cubicBezTo>
                <a:lnTo>
                  <a:pt x="168" y="0"/>
                </a:lnTo>
                <a:close/>
                <a:moveTo>
                  <a:pt x="62" y="40"/>
                </a:moveTo>
                <a:cubicBezTo>
                  <a:pt x="59" y="40"/>
                  <a:pt x="56" y="43"/>
                  <a:pt x="56" y="46"/>
                </a:cubicBezTo>
                <a:cubicBezTo>
                  <a:pt x="56" y="49"/>
                  <a:pt x="59" y="52"/>
                  <a:pt x="62" y="52"/>
                </a:cubicBezTo>
                <a:cubicBezTo>
                  <a:pt x="65" y="52"/>
                  <a:pt x="68" y="49"/>
                  <a:pt x="68" y="46"/>
                </a:cubicBezTo>
                <a:cubicBezTo>
                  <a:pt x="68" y="43"/>
                  <a:pt x="65" y="40"/>
                  <a:pt x="62" y="40"/>
                </a:cubicBez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6" name="矩形 15">
            <a:extLst>
              <a:ext uri="{FF2B5EF4-FFF2-40B4-BE49-F238E27FC236}">
                <a16:creationId xmlns:a16="http://schemas.microsoft.com/office/drawing/2014/main" id="{AC321F9B-F99D-44D6-95EE-4CF3F8A760F8}"/>
              </a:ext>
            </a:extLst>
          </p:cNvPr>
          <p:cNvSpPr/>
          <p:nvPr/>
        </p:nvSpPr>
        <p:spPr bwMode="auto">
          <a:xfrm>
            <a:off x="5535945" y="4958977"/>
            <a:ext cx="4579121" cy="69308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 anchorCtr="0">
            <a:norm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zh-CN" sz="1400" dirty="0">
                <a:cs typeface="+mn-ea"/>
                <a:sym typeface="+mn-lt"/>
              </a:rPr>
              <a:t>Copy paste fonts. Choose the only option to retain text……</a:t>
            </a:r>
          </a:p>
        </p:txBody>
      </p:sp>
      <p:sp>
        <p:nvSpPr>
          <p:cNvPr id="28" name="任意多边形: 形状 27">
            <a:extLst>
              <a:ext uri="{FF2B5EF4-FFF2-40B4-BE49-F238E27FC236}">
                <a16:creationId xmlns:a16="http://schemas.microsoft.com/office/drawing/2014/main" id="{CB47E98C-0557-4AF2-87EE-EC4A38D99A15}"/>
              </a:ext>
            </a:extLst>
          </p:cNvPr>
          <p:cNvSpPr/>
          <p:nvPr/>
        </p:nvSpPr>
        <p:spPr>
          <a:xfrm>
            <a:off x="5086252" y="5122773"/>
            <a:ext cx="367553" cy="365499"/>
          </a:xfrm>
          <a:custGeom>
            <a:avLst/>
            <a:gdLst>
              <a:gd name="T0" fmla="*/ 156 w 224"/>
              <a:gd name="T1" fmla="*/ 116 h 220"/>
              <a:gd name="T2" fmla="*/ 156 w 224"/>
              <a:gd name="T3" fmla="*/ 220 h 220"/>
              <a:gd name="T4" fmla="*/ 68 w 224"/>
              <a:gd name="T5" fmla="*/ 220 h 220"/>
              <a:gd name="T6" fmla="*/ 68 w 224"/>
              <a:gd name="T7" fmla="*/ 116 h 220"/>
              <a:gd name="T8" fmla="*/ 156 w 224"/>
              <a:gd name="T9" fmla="*/ 116 h 220"/>
              <a:gd name="T10" fmla="*/ 60 w 224"/>
              <a:gd name="T11" fmla="*/ 48 h 220"/>
              <a:gd name="T12" fmla="*/ 60 w 224"/>
              <a:gd name="T13" fmla="*/ 64 h 220"/>
              <a:gd name="T14" fmla="*/ 164 w 224"/>
              <a:gd name="T15" fmla="*/ 64 h 220"/>
              <a:gd name="T16" fmla="*/ 164 w 224"/>
              <a:gd name="T17" fmla="*/ 48 h 220"/>
              <a:gd name="T18" fmla="*/ 224 w 224"/>
              <a:gd name="T19" fmla="*/ 48 h 220"/>
              <a:gd name="T20" fmla="*/ 224 w 224"/>
              <a:gd name="T21" fmla="*/ 172 h 220"/>
              <a:gd name="T22" fmla="*/ 164 w 224"/>
              <a:gd name="T23" fmla="*/ 172 h 220"/>
              <a:gd name="T24" fmla="*/ 164 w 224"/>
              <a:gd name="T25" fmla="*/ 108 h 220"/>
              <a:gd name="T26" fmla="*/ 60 w 224"/>
              <a:gd name="T27" fmla="*/ 108 h 220"/>
              <a:gd name="T28" fmla="*/ 60 w 224"/>
              <a:gd name="T29" fmla="*/ 172 h 220"/>
              <a:gd name="T30" fmla="*/ 0 w 224"/>
              <a:gd name="T31" fmla="*/ 172 h 220"/>
              <a:gd name="T32" fmla="*/ 0 w 224"/>
              <a:gd name="T33" fmla="*/ 78 h 220"/>
              <a:gd name="T34" fmla="*/ 28 w 224"/>
              <a:gd name="T35" fmla="*/ 48 h 220"/>
              <a:gd name="T36" fmla="*/ 60 w 224"/>
              <a:gd name="T37" fmla="*/ 48 h 220"/>
              <a:gd name="T38" fmla="*/ 194 w 224"/>
              <a:gd name="T39" fmla="*/ 72 h 220"/>
              <a:gd name="T40" fmla="*/ 188 w 224"/>
              <a:gd name="T41" fmla="*/ 78 h 220"/>
              <a:gd name="T42" fmla="*/ 194 w 224"/>
              <a:gd name="T43" fmla="*/ 84 h 220"/>
              <a:gd name="T44" fmla="*/ 200 w 224"/>
              <a:gd name="T45" fmla="*/ 78 h 220"/>
              <a:gd name="T46" fmla="*/ 194 w 224"/>
              <a:gd name="T47" fmla="*/ 72 h 220"/>
              <a:gd name="T48" fmla="*/ 156 w 224"/>
              <a:gd name="T49" fmla="*/ 0 h 220"/>
              <a:gd name="T50" fmla="*/ 156 w 224"/>
              <a:gd name="T51" fmla="*/ 56 h 220"/>
              <a:gd name="T52" fmla="*/ 68 w 224"/>
              <a:gd name="T53" fmla="*/ 56 h 220"/>
              <a:gd name="T54" fmla="*/ 68 w 224"/>
              <a:gd name="T55" fmla="*/ 0 h 220"/>
              <a:gd name="T56" fmla="*/ 156 w 224"/>
              <a:gd name="T57" fmla="*/ 0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224" h="220">
                <a:moveTo>
                  <a:pt x="156" y="116"/>
                </a:moveTo>
                <a:cubicBezTo>
                  <a:pt x="156" y="220"/>
                  <a:pt x="156" y="220"/>
                  <a:pt x="156" y="220"/>
                </a:cubicBezTo>
                <a:cubicBezTo>
                  <a:pt x="68" y="220"/>
                  <a:pt x="68" y="220"/>
                  <a:pt x="68" y="220"/>
                </a:cubicBezTo>
                <a:cubicBezTo>
                  <a:pt x="68" y="116"/>
                  <a:pt x="68" y="116"/>
                  <a:pt x="68" y="116"/>
                </a:cubicBezTo>
                <a:lnTo>
                  <a:pt x="156" y="116"/>
                </a:lnTo>
                <a:close/>
                <a:moveTo>
                  <a:pt x="60" y="48"/>
                </a:moveTo>
                <a:cubicBezTo>
                  <a:pt x="60" y="64"/>
                  <a:pt x="60" y="64"/>
                  <a:pt x="60" y="64"/>
                </a:cubicBezTo>
                <a:cubicBezTo>
                  <a:pt x="164" y="64"/>
                  <a:pt x="164" y="64"/>
                  <a:pt x="164" y="64"/>
                </a:cubicBezTo>
                <a:cubicBezTo>
                  <a:pt x="164" y="48"/>
                  <a:pt x="164" y="48"/>
                  <a:pt x="164" y="48"/>
                </a:cubicBezTo>
                <a:cubicBezTo>
                  <a:pt x="224" y="48"/>
                  <a:pt x="224" y="48"/>
                  <a:pt x="224" y="48"/>
                </a:cubicBezTo>
                <a:cubicBezTo>
                  <a:pt x="224" y="172"/>
                  <a:pt x="224" y="172"/>
                  <a:pt x="224" y="172"/>
                </a:cubicBezTo>
                <a:cubicBezTo>
                  <a:pt x="164" y="172"/>
                  <a:pt x="164" y="172"/>
                  <a:pt x="164" y="172"/>
                </a:cubicBezTo>
                <a:cubicBezTo>
                  <a:pt x="164" y="108"/>
                  <a:pt x="164" y="108"/>
                  <a:pt x="164" y="108"/>
                </a:cubicBezTo>
                <a:cubicBezTo>
                  <a:pt x="60" y="108"/>
                  <a:pt x="60" y="108"/>
                  <a:pt x="60" y="108"/>
                </a:cubicBezTo>
                <a:cubicBezTo>
                  <a:pt x="60" y="172"/>
                  <a:pt x="60" y="172"/>
                  <a:pt x="60" y="172"/>
                </a:cubicBezTo>
                <a:cubicBezTo>
                  <a:pt x="0" y="172"/>
                  <a:pt x="0" y="172"/>
                  <a:pt x="0" y="172"/>
                </a:cubicBezTo>
                <a:cubicBezTo>
                  <a:pt x="0" y="78"/>
                  <a:pt x="0" y="78"/>
                  <a:pt x="0" y="78"/>
                </a:cubicBezTo>
                <a:cubicBezTo>
                  <a:pt x="28" y="48"/>
                  <a:pt x="28" y="48"/>
                  <a:pt x="28" y="48"/>
                </a:cubicBezTo>
                <a:lnTo>
                  <a:pt x="60" y="48"/>
                </a:lnTo>
                <a:close/>
                <a:moveTo>
                  <a:pt x="194" y="72"/>
                </a:moveTo>
                <a:cubicBezTo>
                  <a:pt x="191" y="72"/>
                  <a:pt x="188" y="75"/>
                  <a:pt x="188" y="78"/>
                </a:cubicBezTo>
                <a:cubicBezTo>
                  <a:pt x="188" y="81"/>
                  <a:pt x="191" y="84"/>
                  <a:pt x="194" y="84"/>
                </a:cubicBezTo>
                <a:cubicBezTo>
                  <a:pt x="197" y="84"/>
                  <a:pt x="200" y="81"/>
                  <a:pt x="200" y="78"/>
                </a:cubicBezTo>
                <a:cubicBezTo>
                  <a:pt x="200" y="75"/>
                  <a:pt x="197" y="72"/>
                  <a:pt x="194" y="72"/>
                </a:cubicBezTo>
                <a:close/>
                <a:moveTo>
                  <a:pt x="156" y="0"/>
                </a:moveTo>
                <a:cubicBezTo>
                  <a:pt x="156" y="56"/>
                  <a:pt x="156" y="56"/>
                  <a:pt x="156" y="56"/>
                </a:cubicBezTo>
                <a:cubicBezTo>
                  <a:pt x="68" y="56"/>
                  <a:pt x="68" y="56"/>
                  <a:pt x="68" y="56"/>
                </a:cubicBezTo>
                <a:cubicBezTo>
                  <a:pt x="68" y="0"/>
                  <a:pt x="68" y="0"/>
                  <a:pt x="68" y="0"/>
                </a:cubicBezTo>
                <a:lnTo>
                  <a:pt x="156" y="0"/>
                </a:lnTo>
                <a:close/>
              </a:path>
            </a:pathLst>
          </a:cu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2500" lnSpcReduction="10000"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54"/>
            <a:endParaRPr lang="zh-CN" altLang="en-US" sz="2000" b="1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15" name="椭圆 14">
            <a:extLst>
              <a:ext uri="{FF2B5EF4-FFF2-40B4-BE49-F238E27FC236}">
                <a16:creationId xmlns:a16="http://schemas.microsoft.com/office/drawing/2014/main" id="{752F8E5E-2D2C-4B3B-AD1D-F75D232C46C1}"/>
              </a:ext>
            </a:extLst>
          </p:cNvPr>
          <p:cNvSpPr/>
          <p:nvPr/>
        </p:nvSpPr>
        <p:spPr>
          <a:xfrm>
            <a:off x="2988214" y="3004898"/>
            <a:ext cx="1254602" cy="1254604"/>
          </a:xfrm>
          <a:prstGeom prst="ellipse">
            <a:avLst/>
          </a:prstGeom>
          <a:solidFill>
            <a:schemeClr val="bg1"/>
          </a:solidFill>
          <a:ln w="38100">
            <a:solidFill>
              <a:schemeClr val="accent2"/>
            </a:solidFill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r>
              <a:rPr lang="en-US" altLang="zh-CN" sz="1600" dirty="0">
                <a:solidFill>
                  <a:schemeClr val="tx1"/>
                </a:solidFill>
                <a:cs typeface="+mn-ea"/>
                <a:sym typeface="+mn-lt"/>
              </a:rPr>
              <a:t>…text</a:t>
            </a:r>
            <a:endParaRPr lang="zh-CN" altLang="en-US" sz="1600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753264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 TOOLS.GUIDESSETTING" val="{&quot;Id&quot;:&quot;2d4375ee-8516-45e0-8956-45702a61a9b6&quot;,&quot;Name&quot;:&quot;iSlide&quot;,&quot;HeaderHeight&quot;:15.0,&quot;FooterHeight&quot;:9.0000000000000036,&quot;SideMargin&quot;:5.4999999999999982,&quot;TopMargin&quot;:0.0,&quot;BottomMargin&quot;:0.0,&quot;IntervalMargin&quot;:1.3999999999999997}"/>
  <p:tag name="ISLIDE.GUIDESSETTING" val="{&quot;Id&quot;:&quot;GuidesStyle_Normal&quot;,&quot;Name&quot;:&quot;正常&quot;,&quot;HeaderHeight&quot;:15.0,&quot;FooterHeight&quot;:9.0,&quot;SideMargin&quot;:5.5,&quot;TopMargin&quot;:0.0,&quot;BottomMargin&quot;:0.0,&quot;IntervalMargin&quot;:1.5}"/>
  <p:tag name="ISLIDE.THEME" val="225bf695-daa2-4759-97b7-6398e4bba18c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7;#438767;#438768;#438764;#438765;#438770;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62;#438744;#438746;#438767;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71;#438769;#438770;#438767;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70;#438767;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0;#438767;#438766;#438771;#438769;#438770;#438768;#438766;#438765;#438763;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67;#438765;#438763;#438771;#438766;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68;#438765;#438771;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70;#438767;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9;#438768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355335b-1297-47fc-9c70-eec96c9b04f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9;#438770;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7;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69;#438770;#438767;#438765;#438764;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9;#438770;#438768;#438767;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Smkff3fSzGMOuItfjj3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355335b-1297-47fc-9c70-eec96c9b04f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355335b-1297-47fc-9c70-eec96c9b04f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#186220;#186256;#186220;#186256;#186263;#186176;#217362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S0wzOvQ8a50SA42PU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VECTOR" val="b355335b-1297-47fc-9c70-eec96c9b04f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71;#438769;#438768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ICON" val="#438767;#438768;#438764;#438771;"/>
</p:tagLst>
</file>

<file path=ppt/theme/theme1.xml><?xml version="1.0" encoding="utf-8"?>
<a:theme xmlns:a="http://schemas.openxmlformats.org/drawingml/2006/main" name="主题5">
  <a:themeElements>
    <a:clrScheme name="上海信托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18B4E1"/>
      </a:accent1>
      <a:accent2>
        <a:srgbClr val="2D3945"/>
      </a:accent2>
      <a:accent3>
        <a:srgbClr val="646464"/>
      </a:accent3>
      <a:accent4>
        <a:srgbClr val="7F7F7F"/>
      </a:accent4>
      <a:accent5>
        <a:srgbClr val="A5A5A5"/>
      </a:accent5>
      <a:accent6>
        <a:srgbClr val="C9C9C9"/>
      </a:accent6>
      <a:hlink>
        <a:srgbClr val="4472C4"/>
      </a:hlink>
      <a:folHlink>
        <a:srgbClr val="BFBFBF"/>
      </a:folHlink>
    </a:clrScheme>
    <a:fontScheme name="30hk13t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上海信托">
    <a:dk1>
      <a:srgbClr val="000000"/>
    </a:dk1>
    <a:lt1>
      <a:srgbClr val="FFFFFF"/>
    </a:lt1>
    <a:dk2>
      <a:srgbClr val="768394"/>
    </a:dk2>
    <a:lt2>
      <a:srgbClr val="F0F0F0"/>
    </a:lt2>
    <a:accent1>
      <a:srgbClr val="18B4E1"/>
    </a:accent1>
    <a:accent2>
      <a:srgbClr val="2D3945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上海信托">
    <a:dk1>
      <a:srgbClr val="000000"/>
    </a:dk1>
    <a:lt1>
      <a:srgbClr val="FFFFFF"/>
    </a:lt1>
    <a:dk2>
      <a:srgbClr val="768394"/>
    </a:dk2>
    <a:lt2>
      <a:srgbClr val="F0F0F0"/>
    </a:lt2>
    <a:accent1>
      <a:srgbClr val="18B4E1"/>
    </a:accent1>
    <a:accent2>
      <a:srgbClr val="2D3945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上海信托">
    <a:dk1>
      <a:srgbClr val="000000"/>
    </a:dk1>
    <a:lt1>
      <a:srgbClr val="FFFFFF"/>
    </a:lt1>
    <a:dk2>
      <a:srgbClr val="768394"/>
    </a:dk2>
    <a:lt2>
      <a:srgbClr val="F0F0F0"/>
    </a:lt2>
    <a:accent1>
      <a:srgbClr val="18B4E1"/>
    </a:accent1>
    <a:accent2>
      <a:srgbClr val="2D3945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ppt/theme/themeOverride4.xml><?xml version="1.0" encoding="utf-8"?>
<a:themeOverride xmlns:a="http://schemas.openxmlformats.org/drawingml/2006/main">
  <a:clrScheme name="上海信托">
    <a:dk1>
      <a:srgbClr val="000000"/>
    </a:dk1>
    <a:lt1>
      <a:srgbClr val="FFFFFF"/>
    </a:lt1>
    <a:dk2>
      <a:srgbClr val="768394"/>
    </a:dk2>
    <a:lt2>
      <a:srgbClr val="F0F0F0"/>
    </a:lt2>
    <a:accent1>
      <a:srgbClr val="18B4E1"/>
    </a:accent1>
    <a:accent2>
      <a:srgbClr val="2D3945"/>
    </a:accent2>
    <a:accent3>
      <a:srgbClr val="646464"/>
    </a:accent3>
    <a:accent4>
      <a:srgbClr val="7F7F7F"/>
    </a:accent4>
    <a:accent5>
      <a:srgbClr val="A5A5A5"/>
    </a:accent5>
    <a:accent6>
      <a:srgbClr val="C9C9C9"/>
    </a:accent6>
    <a:hlink>
      <a:srgbClr val="4472C4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1455</TotalTime>
  <Words>1957</Words>
  <Application>Microsoft Office PowerPoint</Application>
  <PresentationFormat>宽屏</PresentationFormat>
  <Paragraphs>387</Paragraphs>
  <Slides>26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6</vt:i4>
      </vt:variant>
    </vt:vector>
  </HeadingPairs>
  <TitlesOfParts>
    <vt:vector size="32" baseType="lpstr">
      <vt:lpstr>等线</vt:lpstr>
      <vt:lpstr>微软雅黑</vt:lpstr>
      <vt:lpstr>Arial</vt:lpstr>
      <vt:lpstr>Calibri</vt:lpstr>
      <vt:lpstr>主题5</vt:lpstr>
      <vt:lpstr>think-cell Slide</vt:lpstr>
      <vt:lpstr>广西师范大学 汇报答辩通用PPT模板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THANKS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张 紫怡</cp:lastModifiedBy>
  <cp:revision>130</cp:revision>
  <cp:lastPrinted>2017-11-14T16:00:00Z</cp:lastPrinted>
  <dcterms:created xsi:type="dcterms:W3CDTF">2017-11-14T16:00:00Z</dcterms:created>
  <dcterms:modified xsi:type="dcterms:W3CDTF">2022-09-13T06:1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</Properties>
</file>